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352.xml" ContentType="application/vnd.openxmlformats-officedocument.presentationml.tags+xml"/>
  <Override PartName="/ppt/notesSlides/notesSlide2.xml" ContentType="application/vnd.openxmlformats-officedocument.presentationml.notesSlide+xml"/>
  <Override PartName="/ppt/tags/tag35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54.xml" ContentType="application/vnd.openxmlformats-officedocument.presentationml.tags+xml"/>
  <Override PartName="/ppt/notesSlides/notesSlide6.xml" ContentType="application/vnd.openxmlformats-officedocument.presentationml.notesSlide+xml"/>
  <Override PartName="/ppt/tags/tag355.xml" ContentType="application/vnd.openxmlformats-officedocument.presentationml.tags+xml"/>
  <Override PartName="/ppt/notesSlides/notesSlide7.xml" ContentType="application/vnd.openxmlformats-officedocument.presentationml.notesSlide+xml"/>
  <Override PartName="/ppt/tags/tag356.xml" ContentType="application/vnd.openxmlformats-officedocument.presentationml.tags+xml"/>
  <Override PartName="/ppt/notesSlides/notesSlide8.xml" ContentType="application/vnd.openxmlformats-officedocument.presentationml.notesSlide+xml"/>
  <Override PartName="/ppt/tags/tag357.xml" ContentType="application/vnd.openxmlformats-officedocument.presentationml.tags+xml"/>
  <Override PartName="/ppt/notesSlides/notesSlide9.xml" ContentType="application/vnd.openxmlformats-officedocument.presentationml.notesSlide+xml"/>
  <Override PartName="/ppt/tags/tag358.xml" ContentType="application/vnd.openxmlformats-officedocument.presentationml.tags+xml"/>
  <Override PartName="/ppt/notesSlides/notesSlide10.xml" ContentType="application/vnd.openxmlformats-officedocument.presentationml.notesSlide+xml"/>
  <Override PartName="/ppt/tags/tag359.xml" ContentType="application/vnd.openxmlformats-officedocument.presentationml.tags+xml"/>
  <Override PartName="/ppt/notesSlides/notesSlide11.xml" ContentType="application/vnd.openxmlformats-officedocument.presentationml.notesSlide+xml"/>
  <Override PartName="/ppt/tags/tag360.xml" ContentType="application/vnd.openxmlformats-officedocument.presentationml.tags+xml"/>
  <Override PartName="/ppt/notesSlides/notesSlide12.xml" ContentType="application/vnd.openxmlformats-officedocument.presentationml.notesSlide+xml"/>
  <Override PartName="/ppt/tags/tag361.xml" ContentType="application/vnd.openxmlformats-officedocument.presentationml.tags+xml"/>
  <Override PartName="/ppt/notesSlides/notesSlide13.xml" ContentType="application/vnd.openxmlformats-officedocument.presentationml.notesSlide+xml"/>
  <Override PartName="/ppt/tags/tag362.xml" ContentType="application/vnd.openxmlformats-officedocument.presentationml.tags+xml"/>
  <Override PartName="/ppt/notesSlides/notesSlide14.xml" ContentType="application/vnd.openxmlformats-officedocument.presentationml.notesSlide+xml"/>
  <Override PartName="/ppt/tags/tag363.xml" ContentType="application/vnd.openxmlformats-officedocument.presentationml.tags+xml"/>
  <Override PartName="/ppt/notesSlides/notesSlide15.xml" ContentType="application/vnd.openxmlformats-officedocument.presentationml.notesSlide+xml"/>
  <Override PartName="/ppt/tags/tag364.xml" ContentType="application/vnd.openxmlformats-officedocument.presentationml.tags+xml"/>
  <Override PartName="/ppt/notesSlides/notesSlide16.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notesSlides/notesSlide17.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5438" r:id="rId5"/>
    <p:sldMasterId id="2147485443" r:id="rId6"/>
    <p:sldMasterId id="2147485460" r:id="rId7"/>
    <p:sldMasterId id="2147485477" r:id="rId8"/>
    <p:sldMasterId id="2147485493" r:id="rId9"/>
  </p:sldMasterIdLst>
  <p:notesMasterIdLst>
    <p:notesMasterId r:id="rId32"/>
  </p:notesMasterIdLst>
  <p:handoutMasterIdLst>
    <p:handoutMasterId r:id="rId33"/>
  </p:handoutMasterIdLst>
  <p:sldIdLst>
    <p:sldId id="2147480353" r:id="rId10"/>
    <p:sldId id="2147483483" r:id="rId11"/>
    <p:sldId id="2147483463" r:id="rId12"/>
    <p:sldId id="260" r:id="rId13"/>
    <p:sldId id="2147483465" r:id="rId14"/>
    <p:sldId id="2147483476" r:id="rId15"/>
    <p:sldId id="2147483482" r:id="rId16"/>
    <p:sldId id="2147483480" r:id="rId17"/>
    <p:sldId id="332" r:id="rId18"/>
    <p:sldId id="2147483469" r:id="rId19"/>
    <p:sldId id="263" r:id="rId20"/>
    <p:sldId id="2147482077" r:id="rId21"/>
    <p:sldId id="2147482079" r:id="rId22"/>
    <p:sldId id="2147479266" r:id="rId23"/>
    <p:sldId id="2147477971" r:id="rId24"/>
    <p:sldId id="2147477972" r:id="rId25"/>
    <p:sldId id="2147477970" r:id="rId26"/>
    <p:sldId id="2147474556" r:id="rId27"/>
    <p:sldId id="2147479271" r:id="rId28"/>
    <p:sldId id="2147479272" r:id="rId29"/>
    <p:sldId id="2147483462" r:id="rId30"/>
    <p:sldId id="2147483484" r:id="rId31"/>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tart" id="{17D091F8-F588-4CE7-9482-D5F850C07C3E}">
          <p14:sldIdLst>
            <p14:sldId id="2147480353"/>
          </p14:sldIdLst>
        </p14:section>
        <p14:section name="Start" id="{68FBA8E1-861A-4167-A3B5-9B8D93D960B9}">
          <p14:sldIdLst>
            <p14:sldId id="2147483483"/>
            <p14:sldId id="2147483463"/>
            <p14:sldId id="260"/>
            <p14:sldId id="2147483465"/>
            <p14:sldId id="2147483476"/>
            <p14:sldId id="2147483482"/>
            <p14:sldId id="2147483480"/>
            <p14:sldId id="332"/>
            <p14:sldId id="2147483469"/>
            <p14:sldId id="263"/>
            <p14:sldId id="2147482077"/>
            <p14:sldId id="2147482079"/>
            <p14:sldId id="2147479266"/>
            <p14:sldId id="2147477971"/>
            <p14:sldId id="2147477972"/>
            <p14:sldId id="2147477970"/>
            <p14:sldId id="2147474556"/>
            <p14:sldId id="2147479271"/>
            <p14:sldId id="2147479272"/>
            <p14:sldId id="2147483462"/>
            <p14:sldId id="2147483484"/>
          </p14:sldIdLst>
        </p14:section>
      </p14:sectionLst>
    </p:ext>
    <p:ext uri="{EFAFB233-063F-42B5-8137-9DF3F51BA10A}">
      <p15:sldGuideLst xmlns:p15="http://schemas.microsoft.com/office/powerpoint/2012/main">
        <p15:guide id="1" pos="3840" userDrawn="1">
          <p15:clr>
            <a:srgbClr val="A4A3A4"/>
          </p15:clr>
        </p15:guide>
        <p15:guide id="2" orient="horz" pos="1944" userDrawn="1">
          <p15:clr>
            <a:srgbClr val="A4A3A4"/>
          </p15:clr>
        </p15:guide>
        <p15:guide id="3" pos="3976" userDrawn="1">
          <p15:clr>
            <a:srgbClr val="A4A3A4"/>
          </p15:clr>
        </p15:guide>
        <p15:guide id="4" pos="3699" userDrawn="1">
          <p15:clr>
            <a:srgbClr val="A4A3A4"/>
          </p15:clr>
        </p15:guide>
        <p15:guide id="5" orient="horz" pos="2342" userDrawn="1">
          <p15:clr>
            <a:srgbClr val="A4A3A4"/>
          </p15:clr>
        </p15:guide>
        <p15:guide id="6" orient="horz" pos="100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4A2AF10-D1C4-680F-4CBC-460DE2EA23E2}" name="Vetter, Jagger (DI SW P&amp;O TA&amp;R AMS PRG STU)" initials="VJ(SPTAPS" userId="S::jagger.vetter@siemens.com::cd394eed-22fb-4bdb-88b4-ff9fe2743cd9" providerId="AD"/>
  <p188:author id="{59F7B94E-4B00-36DB-3EEF-CA0CDBBE3CB5}" name="Bechmann, Ruth (DI PA S MK I)" initials="BI" userId="S::ruth.bechmann@siemens.com::f7e87d8c-3697-451c-a333-e4b66514c26c" providerId="AD"/>
  <p188:author id="{4CA74751-6377-F151-C226-DA67EF84002F}" name="Luedecke, Andrea (DI PA CM)" initials="LA(PC" userId="S::andrea.luedecke@siemens.com::d06abc4d-0cfc-4849-aedb-1cba97d781f9" providerId="AD"/>
  <p188:author id="{343CA966-A26A-B22C-A6D6-502A737C9319}" name="Schuster, Annette (IN CM&amp;MK PM)" initials="" userId="S::annette.schuster@siemens.com::8a97acda-6529-4d54-a0cd-ee86a5deacaf" providerId="AD"/>
  <p188:author id="{F0BDD0C4-5682-DF81-14B3-DF61168F3535}" name="Korosteleva, Olga (DI SW ST&amp;MK ISME ISG GTM IM2)" initials="KO(SSIIGI" userId="S::olga.korosteleva@siemens.com::1fb9573b-e262-4075-a91f-6192ac5de604" providerId="AD"/>
  <p188:author id="{2538CDD5-D8D4-E48F-7184-B83BB745C2E7}" name="Keldenich, Manuel (DI PA S MK PV)" initials="KP" userId="S::manuel.keldenich@siemens.com::5b4c4162-f395-48a4-acd8-d0b7b9587873" providerId="AD"/>
  <p188:author id="{EF8F22E0-EB19-8121-EDB1-7D8C03893026}" name="Gottsauner, Birgit (DI PA S NXT)" initials="GN" userId="S::birgit.gottsauner@siemens.com::1c71bc93-625c-418c-ad89-a60f66dcf0a7" providerId="AD"/>
  <p188:author id="{96B319E9-8C58-EE05-058B-56949DBC41B1}" name="Krieglmeier, Dominic (DI PA S NXT)" initials="KD(PSN" userId="S::dominic.krieglmeier@siemens.com::e8c38593-1720-4f2e-8d60-98a666f574f1" providerId="AD"/>
  <p188:author id="{49C056F3-499D-273E-6124-3FBE70200F99}" name="Winter, Meike (DI PA CM 2)" initials="W2" userId="S::meike.winter@siemens.com::76d2401f-3aae-4540-b52f-c2415ab911c6" providerId="AD"/>
  <p188:author id="{95E7FCF4-2B66-E0EF-6107-BC00990A7FCF}" name="Proske-Dinh, Donata (DI PA S MK I)" initials="PI" userId="S::donata.proske-dinh@siemens.com::40a69c73-3aba-4f88-b733-c3a285662f5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 id="2" name="Goodwin, Sabine (DI SW SUE)" initials="GS(SS" lastIdx="12" clrIdx="1">
    <p:extLst>
      <p:ext uri="{19B8F6BF-5375-455C-9EA6-DF929625EA0E}">
        <p15:presenceInfo xmlns:p15="http://schemas.microsoft.com/office/powerpoint/2012/main" userId="S::sabine.goodwin@siemens.com::3004c6e2-5747-4134-97b7-39a3fb607702" providerId="AD"/>
      </p:ext>
    </p:extLst>
  </p:cmAuthor>
  <p:cmAuthor id="3" name="Adamo, Samantha (DI SW SUE)" initials="AS(SS" lastIdx="2" clrIdx="2">
    <p:extLst>
      <p:ext uri="{19B8F6BF-5375-455C-9EA6-DF929625EA0E}">
        <p15:presenceInfo xmlns:p15="http://schemas.microsoft.com/office/powerpoint/2012/main" userId="S::samantha.adamo@siemens.com::b9ee514d-ed2b-41fd-8afc-7e90a0dd1af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28"/>
    <a:srgbClr val="00E6DC"/>
    <a:srgbClr val="00FFB9"/>
    <a:srgbClr val="03FFBA"/>
    <a:srgbClr val="3333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196807-5C57-45E4-84F2-494BBD9DAA35}" v="718" dt="2024-06-07T09:26:10.712"/>
    <p1510:client id="{8363EF6F-0404-A2BA-8906-1C420F519456}" v="30" dt="2024-06-06T12:22:52.851"/>
    <p1510:client id="{D7341162-2A7A-FE27-0041-39AFA6EB9F86}" v="14" dt="2024-06-06T12:37:36.174"/>
    <p1510:client id="{F9573CB6-6E19-4AE1-9AC4-13FF39D8E20C}" v="146" dt="2024-06-06T16:34:34.003"/>
  </p1510:revLst>
</p1510:revInfo>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7" d="100"/>
          <a:sy n="97" d="100"/>
        </p:scale>
        <p:origin x="82" y="1027"/>
      </p:cViewPr>
      <p:guideLst>
        <p:guide pos="3840"/>
        <p:guide orient="horz" pos="1944"/>
        <p:guide pos="3976"/>
        <p:guide pos="3699"/>
        <p:guide orient="horz" pos="2342"/>
        <p:guide orient="horz" pos="100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ableStyles" Target="tableStyles.xml"/><Relationship Id="rId21" Type="http://schemas.openxmlformats.org/officeDocument/2006/relationships/slide" Target="slides/slide12.xml"/><Relationship Id="rId34" Type="http://schemas.openxmlformats.org/officeDocument/2006/relationships/tags" Target="tags/tag1.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handoutMaster" Target="handoutMasters/handout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yers, Irina (DI CM&amp;MK ST&amp;B)" userId="S::irina.byers@siemens.com::c4804133-f4a2-4dfa-aebf-50bcba4f7380" providerId="AD" clId="Web-{F4E7AB3E-E464-806B-0691-9D76E9A3A83D}"/>
    <pc:docChg chg="modSld">
      <pc:chgData name="Byers, Irina (DI CM&amp;MK ST&amp;B)" userId="S::irina.byers@siemens.com::c4804133-f4a2-4dfa-aebf-50bcba4f7380" providerId="AD" clId="Web-{F4E7AB3E-E464-806B-0691-9D76E9A3A83D}" dt="2024-05-31T19:22:37.914" v="1" actId="1076"/>
      <pc:docMkLst>
        <pc:docMk/>
      </pc:docMkLst>
      <pc:sldChg chg="modSp">
        <pc:chgData name="Byers, Irina (DI CM&amp;MK ST&amp;B)" userId="S::irina.byers@siemens.com::c4804133-f4a2-4dfa-aebf-50bcba4f7380" providerId="AD" clId="Web-{F4E7AB3E-E464-806B-0691-9D76E9A3A83D}" dt="2024-05-31T19:22:37.914" v="1" actId="1076"/>
        <pc:sldMkLst>
          <pc:docMk/>
          <pc:sldMk cId="2496441358" sldId="332"/>
        </pc:sldMkLst>
        <pc:grpChg chg="mod">
          <ac:chgData name="Byers, Irina (DI CM&amp;MK ST&amp;B)" userId="S::irina.byers@siemens.com::c4804133-f4a2-4dfa-aebf-50bcba4f7380" providerId="AD" clId="Web-{F4E7AB3E-E464-806B-0691-9D76E9A3A83D}" dt="2024-05-31T19:22:37.914" v="1" actId="1076"/>
          <ac:grpSpMkLst>
            <pc:docMk/>
            <pc:sldMk cId="2496441358" sldId="332"/>
            <ac:grpSpMk id="14" creationId="{A34893E6-7FEC-4FDF-81DC-9F7FE2E53F76}"/>
          </ac:grpSpMkLst>
        </pc:grpChg>
      </pc:sldChg>
    </pc:docChg>
  </pc:docChgLst>
  <pc:docChgLst>
    <pc:chgData name="Kroesmann, Christoph (DI CM IP PR)" userId="82a53625-a635-43fc-bf38-2dc352b564fc" providerId="ADAL" clId="{79543596-82A4-4503-BD21-C796E58526DE}"/>
    <pc:docChg chg="modSld">
      <pc:chgData name="Kroesmann, Christoph (DI CM IP PR)" userId="82a53625-a635-43fc-bf38-2dc352b564fc" providerId="ADAL" clId="{79543596-82A4-4503-BD21-C796E58526DE}" dt="2024-05-29T13:28:47.502" v="3" actId="20577"/>
      <pc:docMkLst>
        <pc:docMk/>
      </pc:docMkLst>
      <pc:sldChg chg="modSp mod">
        <pc:chgData name="Kroesmann, Christoph (DI CM IP PR)" userId="82a53625-a635-43fc-bf38-2dc352b564fc" providerId="ADAL" clId="{79543596-82A4-4503-BD21-C796E58526DE}" dt="2024-05-29T13:28:47.502" v="3" actId="20577"/>
        <pc:sldMkLst>
          <pc:docMk/>
          <pc:sldMk cId="3125289050" sldId="2147483457"/>
        </pc:sldMkLst>
        <pc:spChg chg="mod">
          <ac:chgData name="Kroesmann, Christoph (DI CM IP PR)" userId="82a53625-a635-43fc-bf38-2dc352b564fc" providerId="ADAL" clId="{79543596-82A4-4503-BD21-C796E58526DE}" dt="2024-05-29T13:28:47.502" v="3" actId="20577"/>
          <ac:spMkLst>
            <pc:docMk/>
            <pc:sldMk cId="3125289050" sldId="2147483457"/>
            <ac:spMk id="5" creationId="{1396226A-D326-445D-5427-D3BCC0EA45FA}"/>
          </ac:spMkLst>
        </pc:spChg>
      </pc:sldChg>
    </pc:docChg>
  </pc:docChgLst>
  <pc:docChgLst>
    <pc:chgData name="Kroesmann, Christoph (DI CM&amp;MK IP PR)" userId="82a53625-a635-43fc-bf38-2dc352b564fc" providerId="ADAL" clId="{F9573CB6-6E19-4AE1-9AC4-13FF39D8E20C}"/>
    <pc:docChg chg="undo custSel delSld modSld sldOrd addSection modSection">
      <pc:chgData name="Kroesmann, Christoph (DI CM&amp;MK IP PR)" userId="82a53625-a635-43fc-bf38-2dc352b564fc" providerId="ADAL" clId="{F9573CB6-6E19-4AE1-9AC4-13FF39D8E20C}" dt="2024-06-06T16:25:57.066" v="161" actId="20577"/>
      <pc:docMkLst>
        <pc:docMk/>
      </pc:docMkLst>
      <pc:sldChg chg="modNotesTx">
        <pc:chgData name="Kroesmann, Christoph (DI CM&amp;MK IP PR)" userId="82a53625-a635-43fc-bf38-2dc352b564fc" providerId="ADAL" clId="{F9573CB6-6E19-4AE1-9AC4-13FF39D8E20C}" dt="2024-06-04T16:35:48.247" v="69" actId="20577"/>
        <pc:sldMkLst>
          <pc:docMk/>
          <pc:sldMk cId="4034978469" sldId="263"/>
        </pc:sldMkLst>
      </pc:sldChg>
      <pc:sldChg chg="modAnim">
        <pc:chgData name="Kroesmann, Christoph (DI CM&amp;MK IP PR)" userId="82a53625-a635-43fc-bf38-2dc352b564fc" providerId="ADAL" clId="{F9573CB6-6E19-4AE1-9AC4-13FF39D8E20C}" dt="2024-06-06T15:17:32.588" v="118"/>
        <pc:sldMkLst>
          <pc:docMk/>
          <pc:sldMk cId="2496441358" sldId="332"/>
        </pc:sldMkLst>
      </pc:sldChg>
      <pc:sldChg chg="del">
        <pc:chgData name="Kroesmann, Christoph (DI CM&amp;MK IP PR)" userId="82a53625-a635-43fc-bf38-2dc352b564fc" providerId="ADAL" clId="{F9573CB6-6E19-4AE1-9AC4-13FF39D8E20C}" dt="2024-06-06T16:20:20.458" v="126" actId="47"/>
        <pc:sldMkLst>
          <pc:docMk/>
          <pc:sldMk cId="3145148728" sldId="1332"/>
        </pc:sldMkLst>
      </pc:sldChg>
      <pc:sldChg chg="modSp mod ord">
        <pc:chgData name="Kroesmann, Christoph (DI CM&amp;MK IP PR)" userId="82a53625-a635-43fc-bf38-2dc352b564fc" providerId="ADAL" clId="{F9573CB6-6E19-4AE1-9AC4-13FF39D8E20C}" dt="2024-06-06T11:46:49.305" v="90" actId="20577"/>
        <pc:sldMkLst>
          <pc:docMk/>
          <pc:sldMk cId="1419805229" sldId="2147480353"/>
        </pc:sldMkLst>
        <pc:spChg chg="mod">
          <ac:chgData name="Kroesmann, Christoph (DI CM&amp;MK IP PR)" userId="82a53625-a635-43fc-bf38-2dc352b564fc" providerId="ADAL" clId="{F9573CB6-6E19-4AE1-9AC4-13FF39D8E20C}" dt="2024-06-06T11:46:49.305" v="90" actId="20577"/>
          <ac:spMkLst>
            <pc:docMk/>
            <pc:sldMk cId="1419805229" sldId="2147480353"/>
            <ac:spMk id="6" creationId="{ADE535BD-011B-45AA-0323-34A8E3F10037}"/>
          </ac:spMkLst>
        </pc:spChg>
      </pc:sldChg>
      <pc:sldChg chg="modAnim modNotesTx">
        <pc:chgData name="Kroesmann, Christoph (DI CM&amp;MK IP PR)" userId="82a53625-a635-43fc-bf38-2dc352b564fc" providerId="ADAL" clId="{F9573CB6-6E19-4AE1-9AC4-13FF39D8E20C}" dt="2024-06-06T15:35:35.851" v="121"/>
        <pc:sldMkLst>
          <pc:docMk/>
          <pc:sldMk cId="1903040946" sldId="2147482077"/>
        </pc:sldMkLst>
      </pc:sldChg>
      <pc:sldChg chg="modNotesTx">
        <pc:chgData name="Kroesmann, Christoph (DI CM&amp;MK IP PR)" userId="82a53625-a635-43fc-bf38-2dc352b564fc" providerId="ADAL" clId="{F9573CB6-6E19-4AE1-9AC4-13FF39D8E20C}" dt="2024-06-06T09:26:57.103" v="76" actId="20577"/>
        <pc:sldMkLst>
          <pc:docMk/>
          <pc:sldMk cId="743801589" sldId="2147483452"/>
        </pc:sldMkLst>
      </pc:sldChg>
      <pc:sldChg chg="addSp delSp mod">
        <pc:chgData name="Kroesmann, Christoph (DI CM&amp;MK IP PR)" userId="82a53625-a635-43fc-bf38-2dc352b564fc" providerId="ADAL" clId="{F9573CB6-6E19-4AE1-9AC4-13FF39D8E20C}" dt="2024-06-06T11:45:34.377" v="78" actId="22"/>
        <pc:sldMkLst>
          <pc:docMk/>
          <pc:sldMk cId="965640219" sldId="2147483462"/>
        </pc:sldMkLst>
        <pc:spChg chg="add del">
          <ac:chgData name="Kroesmann, Christoph (DI CM&amp;MK IP PR)" userId="82a53625-a635-43fc-bf38-2dc352b564fc" providerId="ADAL" clId="{F9573CB6-6E19-4AE1-9AC4-13FF39D8E20C}" dt="2024-06-06T11:45:34.377" v="78" actId="22"/>
          <ac:spMkLst>
            <pc:docMk/>
            <pc:sldMk cId="965640219" sldId="2147483462"/>
            <ac:spMk id="7" creationId="{F594CD3E-83CB-EA83-E6B2-CD6B55822ABD}"/>
          </ac:spMkLst>
        </pc:spChg>
      </pc:sldChg>
      <pc:sldChg chg="modAnim">
        <pc:chgData name="Kroesmann, Christoph (DI CM&amp;MK IP PR)" userId="82a53625-a635-43fc-bf38-2dc352b564fc" providerId="ADAL" clId="{F9573CB6-6E19-4AE1-9AC4-13FF39D8E20C}" dt="2024-06-06T15:12:53.202" v="112"/>
        <pc:sldMkLst>
          <pc:docMk/>
          <pc:sldMk cId="2705715164" sldId="2147483465"/>
        </pc:sldMkLst>
      </pc:sldChg>
      <pc:sldChg chg="modAnim modNotesTx">
        <pc:chgData name="Kroesmann, Christoph (DI CM&amp;MK IP PR)" userId="82a53625-a635-43fc-bf38-2dc352b564fc" providerId="ADAL" clId="{F9573CB6-6E19-4AE1-9AC4-13FF39D8E20C}" dt="2024-06-06T16:25:57.066" v="161" actId="20577"/>
        <pc:sldMkLst>
          <pc:docMk/>
          <pc:sldMk cId="2772639810" sldId="2147483469"/>
        </pc:sldMkLst>
      </pc:sldChg>
      <pc:sldChg chg="del">
        <pc:chgData name="Kroesmann, Christoph (DI CM&amp;MK IP PR)" userId="82a53625-a635-43fc-bf38-2dc352b564fc" providerId="ADAL" clId="{F9573CB6-6E19-4AE1-9AC4-13FF39D8E20C}" dt="2024-06-06T16:20:10.382" v="125" actId="47"/>
        <pc:sldMkLst>
          <pc:docMk/>
          <pc:sldMk cId="1289333715" sldId="2147483473"/>
        </pc:sldMkLst>
      </pc:sldChg>
      <pc:sldChg chg="modSp mod">
        <pc:chgData name="Kroesmann, Christoph (DI CM&amp;MK IP PR)" userId="82a53625-a635-43fc-bf38-2dc352b564fc" providerId="ADAL" clId="{F9573CB6-6E19-4AE1-9AC4-13FF39D8E20C}" dt="2024-06-04T14:46:51.943" v="54" actId="20577"/>
        <pc:sldMkLst>
          <pc:docMk/>
          <pc:sldMk cId="1975133700" sldId="2147483474"/>
        </pc:sldMkLst>
        <pc:spChg chg="mod">
          <ac:chgData name="Kroesmann, Christoph (DI CM&amp;MK IP PR)" userId="82a53625-a635-43fc-bf38-2dc352b564fc" providerId="ADAL" clId="{F9573CB6-6E19-4AE1-9AC4-13FF39D8E20C}" dt="2024-06-04T14:46:51.943" v="54" actId="20577"/>
          <ac:spMkLst>
            <pc:docMk/>
            <pc:sldMk cId="1975133700" sldId="2147483474"/>
            <ac:spMk id="15" creationId="{51B8710C-4341-66C1-E2E8-A5DB2D26F454}"/>
          </ac:spMkLst>
        </pc:spChg>
      </pc:sldChg>
      <pc:sldChg chg="modSp mod modTransition modAnim">
        <pc:chgData name="Kroesmann, Christoph (DI CM&amp;MK IP PR)" userId="82a53625-a635-43fc-bf38-2dc352b564fc" providerId="ADAL" clId="{F9573CB6-6E19-4AE1-9AC4-13FF39D8E20C}" dt="2024-06-06T15:34:20.472" v="120"/>
        <pc:sldMkLst>
          <pc:docMk/>
          <pc:sldMk cId="1703045622" sldId="2147483476"/>
        </pc:sldMkLst>
        <pc:spChg chg="mod">
          <ac:chgData name="Kroesmann, Christoph (DI CM&amp;MK IP PR)" userId="82a53625-a635-43fc-bf38-2dc352b564fc" providerId="ADAL" clId="{F9573CB6-6E19-4AE1-9AC4-13FF39D8E20C}" dt="2024-06-04T14:44:28.790" v="16" actId="14100"/>
          <ac:spMkLst>
            <pc:docMk/>
            <pc:sldMk cId="1703045622" sldId="2147483476"/>
            <ac:spMk id="14" creationId="{9B32521C-0B92-C806-2562-76640BF6AEFF}"/>
          </ac:spMkLst>
        </pc:spChg>
        <pc:picChg chg="mod ord">
          <ac:chgData name="Kroesmann, Christoph (DI CM&amp;MK IP PR)" userId="82a53625-a635-43fc-bf38-2dc352b564fc" providerId="ADAL" clId="{F9573CB6-6E19-4AE1-9AC4-13FF39D8E20C}" dt="2024-06-06T13:50:11.395" v="110" actId="1036"/>
          <ac:picMkLst>
            <pc:docMk/>
            <pc:sldMk cId="1703045622" sldId="2147483476"/>
            <ac:picMk id="8" creationId="{617BBA29-0D47-F3EB-DEC1-3855AEE9507F}"/>
          </ac:picMkLst>
        </pc:picChg>
      </pc:sldChg>
      <pc:sldChg chg="modAnim">
        <pc:chgData name="Kroesmann, Christoph (DI CM&amp;MK IP PR)" userId="82a53625-a635-43fc-bf38-2dc352b564fc" providerId="ADAL" clId="{F9573CB6-6E19-4AE1-9AC4-13FF39D8E20C}" dt="2024-06-06T15:16:18.279" v="117"/>
        <pc:sldMkLst>
          <pc:docMk/>
          <pc:sldMk cId="2963004598" sldId="2147483480"/>
        </pc:sldMkLst>
      </pc:sldChg>
      <pc:sldChg chg="modTransition modAnim">
        <pc:chgData name="Kroesmann, Christoph (DI CM&amp;MK IP PR)" userId="82a53625-a635-43fc-bf38-2dc352b564fc" providerId="ADAL" clId="{F9573CB6-6E19-4AE1-9AC4-13FF39D8E20C}" dt="2024-06-06T15:39:45.332" v="124"/>
        <pc:sldMkLst>
          <pc:docMk/>
          <pc:sldMk cId="822978218" sldId="2147483482"/>
        </pc:sldMkLst>
      </pc:sldChg>
    </pc:docChg>
  </pc:docChgLst>
  <pc:docChgLst>
    <pc:chgData name="Kroesmann, Christoph (DI CM IP PR)" userId="82a53625-a635-43fc-bf38-2dc352b564fc" providerId="ADAL" clId="{F9573CB6-6E19-4AE1-9AC4-13FF39D8E20C}"/>
    <pc:docChg chg="delSld modSld modSection">
      <pc:chgData name="Kroesmann, Christoph (DI CM IP PR)" userId="82a53625-a635-43fc-bf38-2dc352b564fc" providerId="ADAL" clId="{F9573CB6-6E19-4AE1-9AC4-13FF39D8E20C}" dt="2024-06-04T08:01:49.962" v="4" actId="1076"/>
      <pc:docMkLst>
        <pc:docMk/>
      </pc:docMkLst>
      <pc:sldChg chg="mod modShow">
        <pc:chgData name="Kroesmann, Christoph (DI CM IP PR)" userId="82a53625-a635-43fc-bf38-2dc352b564fc" providerId="ADAL" clId="{F9573CB6-6E19-4AE1-9AC4-13FF39D8E20C}" dt="2024-06-03T07:02:48.224" v="1" actId="729"/>
        <pc:sldMkLst>
          <pc:docMk/>
          <pc:sldMk cId="3747202261" sldId="258"/>
        </pc:sldMkLst>
      </pc:sldChg>
      <pc:sldChg chg="mod modShow">
        <pc:chgData name="Kroesmann, Christoph (DI CM IP PR)" userId="82a53625-a635-43fc-bf38-2dc352b564fc" providerId="ADAL" clId="{F9573CB6-6E19-4AE1-9AC4-13FF39D8E20C}" dt="2024-06-03T07:02:59.125" v="3" actId="729"/>
        <pc:sldMkLst>
          <pc:docMk/>
          <pc:sldMk cId="4080730745" sldId="262"/>
        </pc:sldMkLst>
      </pc:sldChg>
      <pc:sldChg chg="modSp mod modShow">
        <pc:chgData name="Kroesmann, Christoph (DI CM IP PR)" userId="82a53625-a635-43fc-bf38-2dc352b564fc" providerId="ADAL" clId="{F9573CB6-6E19-4AE1-9AC4-13FF39D8E20C}" dt="2024-06-04T08:01:49.962" v="4" actId="1076"/>
        <pc:sldMkLst>
          <pc:docMk/>
          <pc:sldMk cId="1949905817" sldId="2147476393"/>
        </pc:sldMkLst>
        <pc:spChg chg="mod">
          <ac:chgData name="Kroesmann, Christoph (DI CM IP PR)" userId="82a53625-a635-43fc-bf38-2dc352b564fc" providerId="ADAL" clId="{F9573CB6-6E19-4AE1-9AC4-13FF39D8E20C}" dt="2024-06-04T08:01:49.962" v="4" actId="1076"/>
          <ac:spMkLst>
            <pc:docMk/>
            <pc:sldMk cId="1949905817" sldId="2147476393"/>
            <ac:spMk id="3" creationId="{463D2A70-A49D-99C6-4C72-17F8EF2CB1DD}"/>
          </ac:spMkLst>
        </pc:spChg>
      </pc:sldChg>
      <pc:sldChg chg="del">
        <pc:chgData name="Kroesmann, Christoph (DI CM IP PR)" userId="82a53625-a635-43fc-bf38-2dc352b564fc" providerId="ADAL" clId="{F9573CB6-6E19-4AE1-9AC4-13FF39D8E20C}" dt="2024-06-03T07:02:22.222" v="0" actId="47"/>
        <pc:sldMkLst>
          <pc:docMk/>
          <pc:sldMk cId="3125289050" sldId="2147483457"/>
        </pc:sldMkLst>
      </pc:sldChg>
    </pc:docChg>
  </pc:docChgLst>
  <pc:docChgLst>
    <pc:chgData name="Winter, Meike (DI PA CM 2)" userId="S::meike.winter@siemens.com::76d2401f-3aae-4540-b52f-c2415ab911c6" providerId="AD" clId="Web-{D7341162-2A7A-FE27-0041-39AFA6EB9F86}"/>
    <pc:docChg chg="addSld delSld modSld modSection">
      <pc:chgData name="Winter, Meike (DI PA CM 2)" userId="S::meike.winter@siemens.com::76d2401f-3aae-4540-b52f-c2415ab911c6" providerId="AD" clId="Web-{D7341162-2A7A-FE27-0041-39AFA6EB9F86}" dt="2024-06-06T12:37:36.174" v="13"/>
      <pc:docMkLst>
        <pc:docMk/>
      </pc:docMkLst>
      <pc:sldChg chg="del">
        <pc:chgData name="Winter, Meike (DI PA CM 2)" userId="S::meike.winter@siemens.com::76d2401f-3aae-4540-b52f-c2415ab911c6" providerId="AD" clId="Web-{D7341162-2A7A-FE27-0041-39AFA6EB9F86}" dt="2024-06-06T12:34:43.383" v="1"/>
        <pc:sldMkLst>
          <pc:docMk/>
          <pc:sldMk cId="1975133700" sldId="2147483474"/>
        </pc:sldMkLst>
      </pc:sldChg>
      <pc:sldChg chg="del">
        <pc:chgData name="Winter, Meike (DI PA CM 2)" userId="S::meike.winter@siemens.com::76d2401f-3aae-4540-b52f-c2415ab911c6" providerId="AD" clId="Web-{D7341162-2A7A-FE27-0041-39AFA6EB9F86}" dt="2024-06-06T12:34:27.601" v="0"/>
        <pc:sldMkLst>
          <pc:docMk/>
          <pc:sldMk cId="3745636678" sldId="2147483481"/>
        </pc:sldMkLst>
      </pc:sldChg>
      <pc:sldChg chg="addSp delSp modSp add replId delAnim">
        <pc:chgData name="Winter, Meike (DI PA CM 2)" userId="S::meike.winter@siemens.com::76d2401f-3aae-4540-b52f-c2415ab911c6" providerId="AD" clId="Web-{D7341162-2A7A-FE27-0041-39AFA6EB9F86}" dt="2024-06-06T12:37:36.174" v="13"/>
        <pc:sldMkLst>
          <pc:docMk/>
          <pc:sldMk cId="4152775923" sldId="2147483481"/>
        </pc:sldMkLst>
        <pc:spChg chg="del">
          <ac:chgData name="Winter, Meike (DI PA CM 2)" userId="S::meike.winter@siemens.com::76d2401f-3aae-4540-b52f-c2415ab911c6" providerId="AD" clId="Web-{D7341162-2A7A-FE27-0041-39AFA6EB9F86}" dt="2024-06-06T12:36:14.591" v="3"/>
          <ac:spMkLst>
            <pc:docMk/>
            <pc:sldMk cId="4152775923" sldId="2147483481"/>
            <ac:spMk id="2" creationId="{3AA9827E-ABA2-70DC-DD8F-5CE1E0EBA945}"/>
          </ac:spMkLst>
        </pc:spChg>
        <pc:spChg chg="del">
          <ac:chgData name="Winter, Meike (DI PA CM 2)" userId="S::meike.winter@siemens.com::76d2401f-3aae-4540-b52f-c2415ab911c6" providerId="AD" clId="Web-{D7341162-2A7A-FE27-0041-39AFA6EB9F86}" dt="2024-06-06T12:36:17.716" v="4"/>
          <ac:spMkLst>
            <pc:docMk/>
            <pc:sldMk cId="4152775923" sldId="2147483481"/>
            <ac:spMk id="9" creationId="{1192559B-7EB7-469A-BC41-8FE2AC9E39F4}"/>
          </ac:spMkLst>
        </pc:spChg>
        <pc:spChg chg="add mod">
          <ac:chgData name="Winter, Meike (DI PA CM 2)" userId="S::meike.winter@siemens.com::76d2401f-3aae-4540-b52f-c2415ab911c6" providerId="AD" clId="Web-{D7341162-2A7A-FE27-0041-39AFA6EB9F86}" dt="2024-06-06T12:36:14.591" v="3"/>
          <ac:spMkLst>
            <pc:docMk/>
            <pc:sldMk cId="4152775923" sldId="2147483481"/>
            <ac:spMk id="10" creationId="{8766B277-6BD0-C846-523B-214DD4BF176D}"/>
          </ac:spMkLst>
        </pc:spChg>
        <pc:spChg chg="del">
          <ac:chgData name="Winter, Meike (DI PA CM 2)" userId="S::meike.winter@siemens.com::76d2401f-3aae-4540-b52f-c2415ab911c6" providerId="AD" clId="Web-{D7341162-2A7A-FE27-0041-39AFA6EB9F86}" dt="2024-06-06T12:36:18.216" v="7"/>
          <ac:spMkLst>
            <pc:docMk/>
            <pc:sldMk cId="4152775923" sldId="2147483481"/>
            <ac:spMk id="18" creationId="{3154C7BC-8514-E0FB-951C-5DCCE8D6595F}"/>
          </ac:spMkLst>
        </pc:spChg>
        <pc:grpChg chg="del">
          <ac:chgData name="Winter, Meike (DI PA CM 2)" userId="S::meike.winter@siemens.com::76d2401f-3aae-4540-b52f-c2415ab911c6" providerId="AD" clId="Web-{D7341162-2A7A-FE27-0041-39AFA6EB9F86}" dt="2024-06-06T12:36:22.904" v="8"/>
          <ac:grpSpMkLst>
            <pc:docMk/>
            <pc:sldMk cId="4152775923" sldId="2147483481"/>
            <ac:grpSpMk id="19" creationId="{5C2B2FDF-F5F4-E404-59F2-8DECA5C233DE}"/>
          </ac:grpSpMkLst>
        </pc:grpChg>
        <pc:picChg chg="del">
          <ac:chgData name="Winter, Meike (DI PA CM 2)" userId="S::meike.winter@siemens.com::76d2401f-3aae-4540-b52f-c2415ab911c6" providerId="AD" clId="Web-{D7341162-2A7A-FE27-0041-39AFA6EB9F86}" dt="2024-06-06T12:36:18.169" v="6"/>
          <ac:picMkLst>
            <pc:docMk/>
            <pc:sldMk cId="4152775923" sldId="2147483481"/>
            <ac:picMk id="5" creationId="{5CB66D07-9A31-9BEA-3A53-AA9D2FA302A5}"/>
          </ac:picMkLst>
        </pc:picChg>
        <pc:picChg chg="del mod">
          <ac:chgData name="Winter, Meike (DI PA CM 2)" userId="S::meike.winter@siemens.com::76d2401f-3aae-4540-b52f-c2415ab911c6" providerId="AD" clId="Web-{D7341162-2A7A-FE27-0041-39AFA6EB9F86}" dt="2024-06-06T12:37:36.174" v="13"/>
          <ac:picMkLst>
            <pc:docMk/>
            <pc:sldMk cId="4152775923" sldId="2147483481"/>
            <ac:picMk id="6" creationId="{27426BD8-B295-992F-A173-E4C4C4E49AE5}"/>
          </ac:picMkLst>
        </pc:picChg>
        <pc:picChg chg="del">
          <ac:chgData name="Winter, Meike (DI PA CM 2)" userId="S::meike.winter@siemens.com::76d2401f-3aae-4540-b52f-c2415ab911c6" providerId="AD" clId="Web-{D7341162-2A7A-FE27-0041-39AFA6EB9F86}" dt="2024-06-06T12:36:18.076" v="5"/>
          <ac:picMkLst>
            <pc:docMk/>
            <pc:sldMk cId="4152775923" sldId="2147483481"/>
            <ac:picMk id="8" creationId="{617BBA29-0D47-F3EB-DEC1-3855AEE9507F}"/>
          </ac:picMkLst>
        </pc:picChg>
        <pc:picChg chg="del">
          <ac:chgData name="Winter, Meike (DI PA CM 2)" userId="S::meike.winter@siemens.com::76d2401f-3aae-4540-b52f-c2415ab911c6" providerId="AD" clId="Web-{D7341162-2A7A-FE27-0041-39AFA6EB9F86}" dt="2024-06-06T12:36:22.935" v="9"/>
          <ac:picMkLst>
            <pc:docMk/>
            <pc:sldMk cId="4152775923" sldId="2147483481"/>
            <ac:picMk id="1026" creationId="{D178D830-67CC-D8A2-9E0D-C6749B0D7BEF}"/>
          </ac:picMkLst>
        </pc:picChg>
      </pc:sldChg>
      <pc:sldChg chg="add del">
        <pc:chgData name="Winter, Meike (DI PA CM 2)" userId="S::meike.winter@siemens.com::76d2401f-3aae-4540-b52f-c2415ab911c6" providerId="AD" clId="Web-{D7341162-2A7A-FE27-0041-39AFA6EB9F86}" dt="2024-06-06T12:37:16.845" v="12"/>
        <pc:sldMkLst>
          <pc:docMk/>
          <pc:sldMk cId="3867361967" sldId="2147483482"/>
        </pc:sldMkLst>
      </pc:sldChg>
    </pc:docChg>
  </pc:docChgLst>
  <pc:docChgLst>
    <pc:chgData name="Luedecke, Andrea (DI PA CM)" userId="d06abc4d-0cfc-4849-aedb-1cba97d781f9" providerId="ADAL" clId="{50196807-5C57-45E4-84F2-494BBD9DAA35}"/>
    <pc:docChg chg="undo custSel addSld delSld modSld sldOrd delMainMaster delSection modSection">
      <pc:chgData name="Luedecke, Andrea (DI PA CM)" userId="d06abc4d-0cfc-4849-aedb-1cba97d781f9" providerId="ADAL" clId="{50196807-5C57-45E4-84F2-494BBD9DAA35}" dt="2024-06-07T09:26:10.712" v="1580" actId="732"/>
      <pc:docMkLst>
        <pc:docMk/>
      </pc:docMkLst>
      <pc:sldChg chg="addSp delSp modSp add del mod ord">
        <pc:chgData name="Luedecke, Andrea (DI PA CM)" userId="d06abc4d-0cfc-4849-aedb-1cba97d781f9" providerId="ADAL" clId="{50196807-5C57-45E4-84F2-494BBD9DAA35}" dt="2024-06-04T10:19:44.842" v="245" actId="47"/>
        <pc:sldMkLst>
          <pc:docMk/>
          <pc:sldMk cId="1878230912" sldId="257"/>
        </pc:sldMkLst>
        <pc:spChg chg="add mod">
          <ac:chgData name="Luedecke, Andrea (DI PA CM)" userId="d06abc4d-0cfc-4849-aedb-1cba97d781f9" providerId="ADAL" clId="{50196807-5C57-45E4-84F2-494BBD9DAA35}" dt="2024-06-04T10:10:06.574" v="133" actId="14100"/>
          <ac:spMkLst>
            <pc:docMk/>
            <pc:sldMk cId="1878230912" sldId="257"/>
            <ac:spMk id="2" creationId="{52962BFC-4BAF-276D-0F45-1E4F39F1F7BF}"/>
          </ac:spMkLst>
        </pc:spChg>
        <pc:spChg chg="del">
          <ac:chgData name="Luedecke, Andrea (DI PA CM)" userId="d06abc4d-0cfc-4849-aedb-1cba97d781f9" providerId="ADAL" clId="{50196807-5C57-45E4-84F2-494BBD9DAA35}" dt="2024-06-04T10:08:38.278" v="100" actId="478"/>
          <ac:spMkLst>
            <pc:docMk/>
            <pc:sldMk cId="1878230912" sldId="257"/>
            <ac:spMk id="8" creationId="{C7A46718-D7AE-8A0B-8267-D10077C50E45}"/>
          </ac:spMkLst>
        </pc:spChg>
        <pc:spChg chg="add mod">
          <ac:chgData name="Luedecke, Andrea (DI PA CM)" userId="d06abc4d-0cfc-4849-aedb-1cba97d781f9" providerId="ADAL" clId="{50196807-5C57-45E4-84F2-494BBD9DAA35}" dt="2024-06-04T10:08:38.278" v="100" actId="478"/>
          <ac:spMkLst>
            <pc:docMk/>
            <pc:sldMk cId="1878230912" sldId="257"/>
            <ac:spMk id="9" creationId="{90D0683B-0B04-6744-1847-7680BFF2C509}"/>
          </ac:spMkLst>
        </pc:spChg>
        <pc:picChg chg="mod modCrop">
          <ac:chgData name="Luedecke, Andrea (DI PA CM)" userId="d06abc4d-0cfc-4849-aedb-1cba97d781f9" providerId="ADAL" clId="{50196807-5C57-45E4-84F2-494BBD9DAA35}" dt="2024-06-04T10:09:14.183" v="122" actId="18131"/>
          <ac:picMkLst>
            <pc:docMk/>
            <pc:sldMk cId="1878230912" sldId="257"/>
            <ac:picMk id="7" creationId="{9D37CE16-03C4-E52D-7374-23BEB7636C68}"/>
          </ac:picMkLst>
        </pc:picChg>
      </pc:sldChg>
      <pc:sldChg chg="modTransition">
        <pc:chgData name="Luedecke, Andrea (DI PA CM)" userId="d06abc4d-0cfc-4849-aedb-1cba97d781f9" providerId="ADAL" clId="{50196807-5C57-45E4-84F2-494BBD9DAA35}" dt="2024-06-04T11:04:30.218" v="354"/>
        <pc:sldMkLst>
          <pc:docMk/>
          <pc:sldMk cId="3747202261" sldId="258"/>
        </pc:sldMkLst>
      </pc:sldChg>
      <pc:sldChg chg="addSp delSp modSp mod modTransition modAnim">
        <pc:chgData name="Luedecke, Andrea (DI PA CM)" userId="d06abc4d-0cfc-4849-aedb-1cba97d781f9" providerId="ADAL" clId="{50196807-5C57-45E4-84F2-494BBD9DAA35}" dt="2024-06-06T16:45:05.664" v="1533"/>
        <pc:sldMkLst>
          <pc:docMk/>
          <pc:sldMk cId="2458465722" sldId="260"/>
        </pc:sldMkLst>
        <pc:spChg chg="add mod">
          <ac:chgData name="Luedecke, Andrea (DI PA CM)" userId="d06abc4d-0cfc-4849-aedb-1cba97d781f9" providerId="ADAL" clId="{50196807-5C57-45E4-84F2-494BBD9DAA35}" dt="2024-06-06T16:30:31.936" v="1253"/>
          <ac:spMkLst>
            <pc:docMk/>
            <pc:sldMk cId="2458465722" sldId="260"/>
            <ac:spMk id="2" creationId="{5FCD9684-322F-58C3-F1C2-EF404B17F1CF}"/>
          </ac:spMkLst>
        </pc:spChg>
        <pc:spChg chg="del">
          <ac:chgData name="Luedecke, Andrea (DI PA CM)" userId="d06abc4d-0cfc-4849-aedb-1cba97d781f9" providerId="ADAL" clId="{50196807-5C57-45E4-84F2-494BBD9DAA35}" dt="2024-06-06T13:53:23.609" v="1098" actId="478"/>
          <ac:spMkLst>
            <pc:docMk/>
            <pc:sldMk cId="2458465722" sldId="260"/>
            <ac:spMk id="3" creationId="{E1AFCE74-60AC-10D4-1E51-18EE5317043D}"/>
          </ac:spMkLst>
        </pc:spChg>
        <pc:spChg chg="mod">
          <ac:chgData name="Luedecke, Andrea (DI PA CM)" userId="d06abc4d-0cfc-4849-aedb-1cba97d781f9" providerId="ADAL" clId="{50196807-5C57-45E4-84F2-494BBD9DAA35}" dt="2024-06-06T16:30:31.936" v="1253"/>
          <ac:spMkLst>
            <pc:docMk/>
            <pc:sldMk cId="2458465722" sldId="260"/>
            <ac:spMk id="4" creationId="{E9B0414F-23DD-85D1-5D2D-31C7AA2F5DAC}"/>
          </ac:spMkLst>
        </pc:spChg>
      </pc:sldChg>
      <pc:sldChg chg="modSp del mod">
        <pc:chgData name="Luedecke, Andrea (DI PA CM)" userId="d06abc4d-0cfc-4849-aedb-1cba97d781f9" providerId="ADAL" clId="{50196807-5C57-45E4-84F2-494BBD9DAA35}" dt="2024-06-04T10:46:44.941" v="256" actId="47"/>
        <pc:sldMkLst>
          <pc:docMk/>
          <pc:sldMk cId="4080730745" sldId="262"/>
        </pc:sldMkLst>
        <pc:spChg chg="mod">
          <ac:chgData name="Luedecke, Andrea (DI PA CM)" userId="d06abc4d-0cfc-4849-aedb-1cba97d781f9" providerId="ADAL" clId="{50196807-5C57-45E4-84F2-494BBD9DAA35}" dt="2024-06-04T10:46:41.223" v="255" actId="1076"/>
          <ac:spMkLst>
            <pc:docMk/>
            <pc:sldMk cId="4080730745" sldId="262"/>
            <ac:spMk id="4" creationId="{01A9E5B6-D1BC-7939-E98C-CE7BE6CC64E5}"/>
          </ac:spMkLst>
        </pc:spChg>
      </pc:sldChg>
      <pc:sldChg chg="ord modTransition">
        <pc:chgData name="Luedecke, Andrea (DI PA CM)" userId="d06abc4d-0cfc-4849-aedb-1cba97d781f9" providerId="ADAL" clId="{50196807-5C57-45E4-84F2-494BBD9DAA35}" dt="2024-06-04T11:04:30.218" v="354"/>
        <pc:sldMkLst>
          <pc:docMk/>
          <pc:sldMk cId="4034978469" sldId="263"/>
        </pc:sldMkLst>
      </pc:sldChg>
      <pc:sldChg chg="add del mod modShow">
        <pc:chgData name="Luedecke, Andrea (DI PA CM)" userId="d06abc4d-0cfc-4849-aedb-1cba97d781f9" providerId="ADAL" clId="{50196807-5C57-45E4-84F2-494BBD9DAA35}" dt="2024-06-04T11:00:55.079" v="330" actId="47"/>
        <pc:sldMkLst>
          <pc:docMk/>
          <pc:sldMk cId="2640227252" sldId="278"/>
        </pc:sldMkLst>
      </pc:sldChg>
      <pc:sldChg chg="addSp delSp modSp mod ord modTransition modNotesTx">
        <pc:chgData name="Luedecke, Andrea (DI PA CM)" userId="d06abc4d-0cfc-4849-aedb-1cba97d781f9" providerId="ADAL" clId="{50196807-5C57-45E4-84F2-494BBD9DAA35}" dt="2024-06-06T16:30:48.266" v="1337"/>
        <pc:sldMkLst>
          <pc:docMk/>
          <pc:sldMk cId="2496441358" sldId="332"/>
        </pc:sldMkLst>
        <pc:spChg chg="add del mod">
          <ac:chgData name="Luedecke, Andrea (DI PA CM)" userId="d06abc4d-0cfc-4849-aedb-1cba97d781f9" providerId="ADAL" clId="{50196807-5C57-45E4-84F2-494BBD9DAA35}" dt="2024-06-06T13:53:59.272" v="1108" actId="478"/>
          <ac:spMkLst>
            <pc:docMk/>
            <pc:sldMk cId="2496441358" sldId="332"/>
            <ac:spMk id="2" creationId="{14277011-F2CC-9C62-CFF0-59B1CA0AEA2A}"/>
          </ac:spMkLst>
        </pc:spChg>
        <pc:spChg chg="add mod">
          <ac:chgData name="Luedecke, Andrea (DI PA CM)" userId="d06abc4d-0cfc-4849-aedb-1cba97d781f9" providerId="ADAL" clId="{50196807-5C57-45E4-84F2-494BBD9DAA35}" dt="2024-06-06T13:54:04.419" v="1112"/>
          <ac:spMkLst>
            <pc:docMk/>
            <pc:sldMk cId="2496441358" sldId="332"/>
            <ac:spMk id="3" creationId="{71D6CDF6-3DA2-B480-9022-016AC6D88360}"/>
          </ac:spMkLst>
        </pc:spChg>
        <pc:spChg chg="add mod">
          <ac:chgData name="Luedecke, Andrea (DI PA CM)" userId="d06abc4d-0cfc-4849-aedb-1cba97d781f9" providerId="ADAL" clId="{50196807-5C57-45E4-84F2-494BBD9DAA35}" dt="2024-06-06T13:54:04.449" v="1113"/>
          <ac:spMkLst>
            <pc:docMk/>
            <pc:sldMk cId="2496441358" sldId="332"/>
            <ac:spMk id="4" creationId="{1CCF37F2-9C03-4A0D-B53D-2AA0AFEBB8A7}"/>
          </ac:spMkLst>
        </pc:spChg>
        <pc:spChg chg="mod">
          <ac:chgData name="Luedecke, Andrea (DI PA CM)" userId="d06abc4d-0cfc-4849-aedb-1cba97d781f9" providerId="ADAL" clId="{50196807-5C57-45E4-84F2-494BBD9DAA35}" dt="2024-06-06T13:28:38.940" v="1000" actId="6549"/>
          <ac:spMkLst>
            <pc:docMk/>
            <pc:sldMk cId="2496441358" sldId="332"/>
            <ac:spMk id="9" creationId="{0B13008E-1321-5ACD-6D6B-E18C998EEEDB}"/>
          </ac:spMkLst>
        </pc:spChg>
        <pc:spChg chg="del">
          <ac:chgData name="Luedecke, Andrea (DI PA CM)" userId="d06abc4d-0cfc-4849-aedb-1cba97d781f9" providerId="ADAL" clId="{50196807-5C57-45E4-84F2-494BBD9DAA35}" dt="2024-06-06T13:53:50.325" v="1106" actId="478"/>
          <ac:spMkLst>
            <pc:docMk/>
            <pc:sldMk cId="2496441358" sldId="332"/>
            <ac:spMk id="18" creationId="{B358F85B-C967-4BAF-487F-54B850C4D979}"/>
          </ac:spMkLst>
        </pc:spChg>
        <pc:spChg chg="mod">
          <ac:chgData name="Luedecke, Andrea (DI PA CM)" userId="d06abc4d-0cfc-4849-aedb-1cba97d781f9" providerId="ADAL" clId="{50196807-5C57-45E4-84F2-494BBD9DAA35}" dt="2024-06-06T16:30:48.266" v="1337"/>
          <ac:spMkLst>
            <pc:docMk/>
            <pc:sldMk cId="2496441358" sldId="332"/>
            <ac:spMk id="19" creationId="{4647465B-FBD7-040E-211C-A7BC053EE638}"/>
          </ac:spMkLst>
        </pc:spChg>
        <pc:picChg chg="mod">
          <ac:chgData name="Luedecke, Andrea (DI PA CM)" userId="d06abc4d-0cfc-4849-aedb-1cba97d781f9" providerId="ADAL" clId="{50196807-5C57-45E4-84F2-494BBD9DAA35}" dt="2024-06-04T10:11:07.184" v="141" actId="1076"/>
          <ac:picMkLst>
            <pc:docMk/>
            <pc:sldMk cId="2496441358" sldId="332"/>
            <ac:picMk id="5" creationId="{DED94BC9-1D87-6818-65CE-61EA0A430BE3}"/>
          </ac:picMkLst>
        </pc:picChg>
      </pc:sldChg>
      <pc:sldChg chg="mod ord modShow">
        <pc:chgData name="Luedecke, Andrea (DI PA CM)" userId="d06abc4d-0cfc-4849-aedb-1cba97d781f9" providerId="ADAL" clId="{50196807-5C57-45E4-84F2-494BBD9DAA35}" dt="2024-06-04T11:03:37.812" v="352" actId="729"/>
        <pc:sldMkLst>
          <pc:docMk/>
          <pc:sldMk cId="3145148728" sldId="1332"/>
        </pc:sldMkLst>
      </pc:sldChg>
      <pc:sldChg chg="del">
        <pc:chgData name="Luedecke, Andrea (DI PA CM)" userId="d06abc4d-0cfc-4849-aedb-1cba97d781f9" providerId="ADAL" clId="{50196807-5C57-45E4-84F2-494BBD9DAA35}" dt="2024-06-04T10:42:02.252" v="248" actId="47"/>
        <pc:sldMkLst>
          <pc:docMk/>
          <pc:sldMk cId="2072657460" sldId="2147474062"/>
        </pc:sldMkLst>
      </pc:sldChg>
      <pc:sldChg chg="del ord">
        <pc:chgData name="Luedecke, Andrea (DI PA CM)" userId="d06abc4d-0cfc-4849-aedb-1cba97d781f9" providerId="ADAL" clId="{50196807-5C57-45E4-84F2-494BBD9DAA35}" dt="2024-06-04T11:00:17.210" v="327" actId="47"/>
        <pc:sldMkLst>
          <pc:docMk/>
          <pc:sldMk cId="2671242563" sldId="2147474737"/>
        </pc:sldMkLst>
      </pc:sldChg>
      <pc:sldChg chg="del">
        <pc:chgData name="Luedecke, Andrea (DI PA CM)" userId="d06abc4d-0cfc-4849-aedb-1cba97d781f9" providerId="ADAL" clId="{50196807-5C57-45E4-84F2-494BBD9DAA35}" dt="2024-06-04T10:43:34.602" v="250" actId="47"/>
        <pc:sldMkLst>
          <pc:docMk/>
          <pc:sldMk cId="1949905817" sldId="2147476393"/>
        </pc:sldMkLst>
      </pc:sldChg>
      <pc:sldChg chg="del ord">
        <pc:chgData name="Luedecke, Andrea (DI PA CM)" userId="d06abc4d-0cfc-4849-aedb-1cba97d781f9" providerId="ADAL" clId="{50196807-5C57-45E4-84F2-494BBD9DAA35}" dt="2024-06-04T11:00:18.057" v="328" actId="47"/>
        <pc:sldMkLst>
          <pc:docMk/>
          <pc:sldMk cId="332930158" sldId="2147478438"/>
        </pc:sldMkLst>
      </pc:sldChg>
      <pc:sldChg chg="addSp delSp modSp add del mod ord">
        <pc:chgData name="Luedecke, Andrea (DI PA CM)" userId="d06abc4d-0cfc-4849-aedb-1cba97d781f9" providerId="ADAL" clId="{50196807-5C57-45E4-84F2-494BBD9DAA35}" dt="2024-06-04T10:48:57.301" v="259" actId="47"/>
        <pc:sldMkLst>
          <pc:docMk/>
          <pc:sldMk cId="1413411471" sldId="2147481224"/>
        </pc:sldMkLst>
        <pc:spChg chg="add del">
          <ac:chgData name="Luedecke, Andrea (DI PA CM)" userId="d06abc4d-0cfc-4849-aedb-1cba97d781f9" providerId="ADAL" clId="{50196807-5C57-45E4-84F2-494BBD9DAA35}" dt="2024-06-04T10:04:06.456" v="37" actId="22"/>
          <ac:spMkLst>
            <pc:docMk/>
            <pc:sldMk cId="1413411471" sldId="2147481224"/>
            <ac:spMk id="5" creationId="{9E691395-3116-CDC5-B5F3-5856E1FD9188}"/>
          </ac:spMkLst>
        </pc:spChg>
        <pc:spChg chg="add mod">
          <ac:chgData name="Luedecke, Andrea (DI PA CM)" userId="d06abc4d-0cfc-4849-aedb-1cba97d781f9" providerId="ADAL" clId="{50196807-5C57-45E4-84F2-494BBD9DAA35}" dt="2024-06-04T10:05:29.749" v="85" actId="20577"/>
          <ac:spMkLst>
            <pc:docMk/>
            <pc:sldMk cId="1413411471" sldId="2147481224"/>
            <ac:spMk id="7" creationId="{19DAD3FD-3575-D532-C81B-F2FE9F5544D3}"/>
          </ac:spMkLst>
        </pc:spChg>
      </pc:sldChg>
      <pc:sldChg chg="addSp delSp modSp mod modTransition modNotesTx">
        <pc:chgData name="Luedecke, Andrea (DI PA CM)" userId="d06abc4d-0cfc-4849-aedb-1cba97d781f9" providerId="ADAL" clId="{50196807-5C57-45E4-84F2-494BBD9DAA35}" dt="2024-06-06T16:30:49.560" v="1338"/>
        <pc:sldMkLst>
          <pc:docMk/>
          <pc:sldMk cId="1903040946" sldId="2147482077"/>
        </pc:sldMkLst>
        <pc:spChg chg="mod">
          <ac:chgData name="Luedecke, Andrea (DI PA CM)" userId="d06abc4d-0cfc-4849-aedb-1cba97d781f9" providerId="ADAL" clId="{50196807-5C57-45E4-84F2-494BBD9DAA35}" dt="2024-06-06T16:30:49.560" v="1338"/>
          <ac:spMkLst>
            <pc:docMk/>
            <pc:sldMk cId="1903040946" sldId="2147482077"/>
            <ac:spMk id="4" creationId="{652E6682-E4D4-F8CF-90C8-9BAE03454DEE}"/>
          </ac:spMkLst>
        </pc:spChg>
        <pc:spChg chg="add mod">
          <ac:chgData name="Luedecke, Andrea (DI PA CM)" userId="d06abc4d-0cfc-4849-aedb-1cba97d781f9" providerId="ADAL" clId="{50196807-5C57-45E4-84F2-494BBD9DAA35}" dt="2024-06-06T16:30:49.560" v="1338"/>
          <ac:spMkLst>
            <pc:docMk/>
            <pc:sldMk cId="1903040946" sldId="2147482077"/>
            <ac:spMk id="5" creationId="{DC5B6A63-0CEA-4225-267F-D1AB30ECF1DA}"/>
          </ac:spMkLst>
        </pc:spChg>
        <pc:spChg chg="del">
          <ac:chgData name="Luedecke, Andrea (DI PA CM)" userId="d06abc4d-0cfc-4849-aedb-1cba97d781f9" providerId="ADAL" clId="{50196807-5C57-45E4-84F2-494BBD9DAA35}" dt="2024-06-06T13:54:27.693" v="1118" actId="478"/>
          <ac:spMkLst>
            <pc:docMk/>
            <pc:sldMk cId="1903040946" sldId="2147482077"/>
            <ac:spMk id="12" creationId="{FB1F04DB-1865-4F31-8D16-9E1684E79960}"/>
          </ac:spMkLst>
        </pc:spChg>
      </pc:sldChg>
      <pc:sldChg chg="addSp delSp modSp mod modTransition modAnim">
        <pc:chgData name="Luedecke, Andrea (DI PA CM)" userId="d06abc4d-0cfc-4849-aedb-1cba97d781f9" providerId="ADAL" clId="{50196807-5C57-45E4-84F2-494BBD9DAA35}" dt="2024-06-06T16:46:07.340" v="1542"/>
        <pc:sldMkLst>
          <pc:docMk/>
          <pc:sldMk cId="968701388" sldId="2147482079"/>
        </pc:sldMkLst>
        <pc:spChg chg="mod">
          <ac:chgData name="Luedecke, Andrea (DI PA CM)" userId="d06abc4d-0cfc-4849-aedb-1cba97d781f9" providerId="ADAL" clId="{50196807-5C57-45E4-84F2-494BBD9DAA35}" dt="2024-06-06T16:30:49.560" v="1338"/>
          <ac:spMkLst>
            <pc:docMk/>
            <pc:sldMk cId="968701388" sldId="2147482079"/>
            <ac:spMk id="2" creationId="{FD70B5AD-CC46-CADE-564E-1F2488FDA385}"/>
          </ac:spMkLst>
        </pc:spChg>
        <pc:spChg chg="del">
          <ac:chgData name="Luedecke, Andrea (DI PA CM)" userId="d06abc4d-0cfc-4849-aedb-1cba97d781f9" providerId="ADAL" clId="{50196807-5C57-45E4-84F2-494BBD9DAA35}" dt="2024-06-06T13:54:34.352" v="1120" actId="478"/>
          <ac:spMkLst>
            <pc:docMk/>
            <pc:sldMk cId="968701388" sldId="2147482079"/>
            <ac:spMk id="3" creationId="{8493153D-12DB-8942-ACCE-4BE8FC3BBE9C}"/>
          </ac:spMkLst>
        </pc:spChg>
        <pc:spChg chg="add mod">
          <ac:chgData name="Luedecke, Andrea (DI PA CM)" userId="d06abc4d-0cfc-4849-aedb-1cba97d781f9" providerId="ADAL" clId="{50196807-5C57-45E4-84F2-494BBD9DAA35}" dt="2024-06-06T16:30:49.560" v="1338"/>
          <ac:spMkLst>
            <pc:docMk/>
            <pc:sldMk cId="968701388" sldId="2147482079"/>
            <ac:spMk id="4" creationId="{69E80A55-D31E-A3E5-1AE2-3FD9152A24E5}"/>
          </ac:spMkLst>
        </pc:spChg>
        <pc:spChg chg="mod">
          <ac:chgData name="Luedecke, Andrea (DI PA CM)" userId="d06abc4d-0cfc-4849-aedb-1cba97d781f9" providerId="ADAL" clId="{50196807-5C57-45E4-84F2-494BBD9DAA35}" dt="2024-06-06T16:30:49.560" v="1338"/>
          <ac:spMkLst>
            <pc:docMk/>
            <pc:sldMk cId="968701388" sldId="2147482079"/>
            <ac:spMk id="6" creationId="{718AFC48-E9BC-8B0D-E596-EF5D8EF947E7}"/>
          </ac:spMkLst>
        </pc:spChg>
      </pc:sldChg>
      <pc:sldChg chg="del">
        <pc:chgData name="Luedecke, Andrea (DI PA CM)" userId="d06abc4d-0cfc-4849-aedb-1cba97d781f9" providerId="ADAL" clId="{50196807-5C57-45E4-84F2-494BBD9DAA35}" dt="2024-06-04T10:42:53.241" v="249" actId="47"/>
        <pc:sldMkLst>
          <pc:docMk/>
          <pc:sldMk cId="3405905672" sldId="2147483269"/>
        </pc:sldMkLst>
      </pc:sldChg>
      <pc:sldChg chg="addSp delSp modSp mod modTransition">
        <pc:chgData name="Luedecke, Andrea (DI PA CM)" userId="d06abc4d-0cfc-4849-aedb-1cba97d781f9" providerId="ADAL" clId="{50196807-5C57-45E4-84F2-494BBD9DAA35}" dt="2024-06-06T13:55:10.357" v="1127"/>
        <pc:sldMkLst>
          <pc:docMk/>
          <pc:sldMk cId="743801589" sldId="2147483452"/>
        </pc:sldMkLst>
        <pc:spChg chg="add del mod">
          <ac:chgData name="Luedecke, Andrea (DI PA CM)" userId="d06abc4d-0cfc-4849-aedb-1cba97d781f9" providerId="ADAL" clId="{50196807-5C57-45E4-84F2-494BBD9DAA35}" dt="2024-06-06T13:54:41.001" v="1123" actId="478"/>
          <ac:spMkLst>
            <pc:docMk/>
            <pc:sldMk cId="743801589" sldId="2147483452"/>
            <ac:spMk id="2" creationId="{7FE101DC-7E3E-78AF-A7BC-E767AEC906D3}"/>
          </ac:spMkLst>
        </pc:spChg>
        <pc:spChg chg="add mod">
          <ac:chgData name="Luedecke, Andrea (DI PA CM)" userId="d06abc4d-0cfc-4849-aedb-1cba97d781f9" providerId="ADAL" clId="{50196807-5C57-45E4-84F2-494BBD9DAA35}" dt="2024-06-06T13:55:10.357" v="1127"/>
          <ac:spMkLst>
            <pc:docMk/>
            <pc:sldMk cId="743801589" sldId="2147483452"/>
            <ac:spMk id="5" creationId="{BCB7905C-3FB3-D561-8590-A1425A7B7040}"/>
          </ac:spMkLst>
        </pc:spChg>
        <pc:spChg chg="mod">
          <ac:chgData name="Luedecke, Andrea (DI PA CM)" userId="d06abc4d-0cfc-4849-aedb-1cba97d781f9" providerId="ADAL" clId="{50196807-5C57-45E4-84F2-494BBD9DAA35}" dt="2024-06-06T13:23:10.801" v="901" actId="14100"/>
          <ac:spMkLst>
            <pc:docMk/>
            <pc:sldMk cId="743801589" sldId="2147483452"/>
            <ac:spMk id="9" creationId="{92DB81C8-95AC-8312-F794-BB2299833D67}"/>
          </ac:spMkLst>
        </pc:spChg>
      </pc:sldChg>
      <pc:sldChg chg="del">
        <pc:chgData name="Luedecke, Andrea (DI PA CM)" userId="d06abc4d-0cfc-4849-aedb-1cba97d781f9" providerId="ADAL" clId="{50196807-5C57-45E4-84F2-494BBD9DAA35}" dt="2024-06-04T11:02:59.539" v="345" actId="47"/>
        <pc:sldMkLst>
          <pc:docMk/>
          <pc:sldMk cId="2204945138" sldId="2147483454"/>
        </pc:sldMkLst>
      </pc:sldChg>
      <pc:sldChg chg="add del">
        <pc:chgData name="Luedecke, Andrea (DI PA CM)" userId="d06abc4d-0cfc-4849-aedb-1cba97d781f9" providerId="ADAL" clId="{50196807-5C57-45E4-84F2-494BBD9DAA35}" dt="2024-06-04T10:03:19.906" v="35" actId="47"/>
        <pc:sldMkLst>
          <pc:docMk/>
          <pc:sldMk cId="384845413" sldId="2147483458"/>
        </pc:sldMkLst>
      </pc:sldChg>
      <pc:sldChg chg="del mod modShow">
        <pc:chgData name="Luedecke, Andrea (DI PA CM)" userId="d06abc4d-0cfc-4849-aedb-1cba97d781f9" providerId="ADAL" clId="{50196807-5C57-45E4-84F2-494BBD9DAA35}" dt="2024-06-04T10:43:48.796" v="251" actId="47"/>
        <pc:sldMkLst>
          <pc:docMk/>
          <pc:sldMk cId="276816055" sldId="2147483460"/>
        </pc:sldMkLst>
      </pc:sldChg>
      <pc:sldChg chg="del">
        <pc:chgData name="Luedecke, Andrea (DI PA CM)" userId="d06abc4d-0cfc-4849-aedb-1cba97d781f9" providerId="ADAL" clId="{50196807-5C57-45E4-84F2-494BBD9DAA35}" dt="2024-06-04T10:41:48.665" v="247" actId="47"/>
        <pc:sldMkLst>
          <pc:docMk/>
          <pc:sldMk cId="3415850287" sldId="2147483461"/>
        </pc:sldMkLst>
      </pc:sldChg>
      <pc:sldChg chg="addSp delSp modSp add del mod modTransition">
        <pc:chgData name="Luedecke, Andrea (DI PA CM)" userId="d06abc4d-0cfc-4849-aedb-1cba97d781f9" providerId="ADAL" clId="{50196807-5C57-45E4-84F2-494BBD9DAA35}" dt="2024-06-06T16:34:00.365" v="1350" actId="478"/>
        <pc:sldMkLst>
          <pc:docMk/>
          <pc:sldMk cId="965640219" sldId="2147483462"/>
        </pc:sldMkLst>
        <pc:spChg chg="del">
          <ac:chgData name="Luedecke, Andrea (DI PA CM)" userId="d06abc4d-0cfc-4849-aedb-1cba97d781f9" providerId="ADAL" clId="{50196807-5C57-45E4-84F2-494BBD9DAA35}" dt="2024-06-06T16:33:52.375" v="1348" actId="478"/>
          <ac:spMkLst>
            <pc:docMk/>
            <pc:sldMk cId="965640219" sldId="2147483462"/>
            <ac:spMk id="2" creationId="{A70DF9B4-81C6-5FED-31BB-445466F234D0}"/>
          </ac:spMkLst>
        </pc:spChg>
        <pc:spChg chg="del">
          <ac:chgData name="Luedecke, Andrea (DI PA CM)" userId="d06abc4d-0cfc-4849-aedb-1cba97d781f9" providerId="ADAL" clId="{50196807-5C57-45E4-84F2-494BBD9DAA35}" dt="2024-06-06T16:33:57.812" v="1349" actId="478"/>
          <ac:spMkLst>
            <pc:docMk/>
            <pc:sldMk cId="965640219" sldId="2147483462"/>
            <ac:spMk id="6" creationId="{B1437859-3C8E-7426-2EA2-41D15A19962E}"/>
          </ac:spMkLst>
        </pc:spChg>
        <pc:spChg chg="add del mod">
          <ac:chgData name="Luedecke, Andrea (DI PA CM)" userId="d06abc4d-0cfc-4849-aedb-1cba97d781f9" providerId="ADAL" clId="{50196807-5C57-45E4-84F2-494BBD9DAA35}" dt="2024-06-06T16:34:00.365" v="1350" actId="478"/>
          <ac:spMkLst>
            <pc:docMk/>
            <pc:sldMk cId="965640219" sldId="2147483462"/>
            <ac:spMk id="7" creationId="{8FD02005-BD7B-78F7-ECBD-33658EEB3BA8}"/>
          </ac:spMkLst>
        </pc:spChg>
      </pc:sldChg>
      <pc:sldChg chg="modSp mod modTransition modAnim">
        <pc:chgData name="Luedecke, Andrea (DI PA CM)" userId="d06abc4d-0cfc-4849-aedb-1cba97d781f9" providerId="ADAL" clId="{50196807-5C57-45E4-84F2-494BBD9DAA35}" dt="2024-06-06T16:45:16.525" v="1534"/>
        <pc:sldMkLst>
          <pc:docMk/>
          <pc:sldMk cId="3223252861" sldId="2147483463"/>
        </pc:sldMkLst>
        <pc:spChg chg="mod">
          <ac:chgData name="Luedecke, Andrea (DI PA CM)" userId="d06abc4d-0cfc-4849-aedb-1cba97d781f9" providerId="ADAL" clId="{50196807-5C57-45E4-84F2-494BBD9DAA35}" dt="2024-06-06T16:30:31.936" v="1253"/>
          <ac:spMkLst>
            <pc:docMk/>
            <pc:sldMk cId="3223252861" sldId="2147483463"/>
            <ac:spMk id="2" creationId="{C0AF3930-36E8-051F-018C-4471C08F9E89}"/>
          </ac:spMkLst>
        </pc:spChg>
        <pc:spChg chg="mod">
          <ac:chgData name="Luedecke, Andrea (DI PA CM)" userId="d06abc4d-0cfc-4849-aedb-1cba97d781f9" providerId="ADAL" clId="{50196807-5C57-45E4-84F2-494BBD9DAA35}" dt="2024-06-06T16:30:31.936" v="1253"/>
          <ac:spMkLst>
            <pc:docMk/>
            <pc:sldMk cId="3223252861" sldId="2147483463"/>
            <ac:spMk id="4" creationId="{AEBCBD54-8EA6-1AE6-B075-6407EA8EFE9B}"/>
          </ac:spMkLst>
        </pc:spChg>
        <pc:spChg chg="mod">
          <ac:chgData name="Luedecke, Andrea (DI PA CM)" userId="d06abc4d-0cfc-4849-aedb-1cba97d781f9" providerId="ADAL" clId="{50196807-5C57-45E4-84F2-494BBD9DAA35}" dt="2024-06-06T16:30:31.936" v="1253"/>
          <ac:spMkLst>
            <pc:docMk/>
            <pc:sldMk cId="3223252861" sldId="2147483463"/>
            <ac:spMk id="58" creationId="{6CA26D9B-2DEA-0801-DAD3-7F8A5673C752}"/>
          </ac:spMkLst>
        </pc:spChg>
      </pc:sldChg>
      <pc:sldChg chg="del">
        <pc:chgData name="Luedecke, Andrea (DI PA CM)" userId="d06abc4d-0cfc-4849-aedb-1cba97d781f9" providerId="ADAL" clId="{50196807-5C57-45E4-84F2-494BBD9DAA35}" dt="2024-06-04T11:00:35.213" v="329" actId="47"/>
        <pc:sldMkLst>
          <pc:docMk/>
          <pc:sldMk cId="1837274132" sldId="2147483464"/>
        </pc:sldMkLst>
      </pc:sldChg>
      <pc:sldChg chg="addSp delSp modSp mod modTransition modNotesTx">
        <pc:chgData name="Luedecke, Andrea (DI PA CM)" userId="d06abc4d-0cfc-4849-aedb-1cba97d781f9" providerId="ADAL" clId="{50196807-5C57-45E4-84F2-494BBD9DAA35}" dt="2024-06-07T09:26:10.712" v="1580" actId="732"/>
        <pc:sldMkLst>
          <pc:docMk/>
          <pc:sldMk cId="2705715164" sldId="2147483465"/>
        </pc:sldMkLst>
        <pc:spChg chg="del">
          <ac:chgData name="Luedecke, Andrea (DI PA CM)" userId="d06abc4d-0cfc-4849-aedb-1cba97d781f9" providerId="ADAL" clId="{50196807-5C57-45E4-84F2-494BBD9DAA35}" dt="2024-06-06T13:53:30.073" v="1100" actId="478"/>
          <ac:spMkLst>
            <pc:docMk/>
            <pc:sldMk cId="2705715164" sldId="2147483465"/>
            <ac:spMk id="3" creationId="{89A8DAAA-21D4-69DD-733C-A2F80361DCB1}"/>
          </ac:spMkLst>
        </pc:spChg>
        <pc:spChg chg="mod">
          <ac:chgData name="Luedecke, Andrea (DI PA CM)" userId="d06abc4d-0cfc-4849-aedb-1cba97d781f9" providerId="ADAL" clId="{50196807-5C57-45E4-84F2-494BBD9DAA35}" dt="2024-06-06T16:30:06.823" v="1165"/>
          <ac:spMkLst>
            <pc:docMk/>
            <pc:sldMk cId="2705715164" sldId="2147483465"/>
            <ac:spMk id="4" creationId="{830FD194-93E1-B059-E5D6-FC5B5347C82D}"/>
          </ac:spMkLst>
        </pc:spChg>
        <pc:spChg chg="add mod">
          <ac:chgData name="Luedecke, Andrea (DI PA CM)" userId="d06abc4d-0cfc-4849-aedb-1cba97d781f9" providerId="ADAL" clId="{50196807-5C57-45E4-84F2-494BBD9DAA35}" dt="2024-06-06T16:30:06.823" v="1165"/>
          <ac:spMkLst>
            <pc:docMk/>
            <pc:sldMk cId="2705715164" sldId="2147483465"/>
            <ac:spMk id="5" creationId="{007F9811-DF58-A1ED-5A67-9BDF5C34D8C7}"/>
          </ac:spMkLst>
        </pc:spChg>
        <pc:spChg chg="mod">
          <ac:chgData name="Luedecke, Andrea (DI PA CM)" userId="d06abc4d-0cfc-4849-aedb-1cba97d781f9" providerId="ADAL" clId="{50196807-5C57-45E4-84F2-494BBD9DAA35}" dt="2024-06-07T09:22:40.648" v="1569" actId="20577"/>
          <ac:spMkLst>
            <pc:docMk/>
            <pc:sldMk cId="2705715164" sldId="2147483465"/>
            <ac:spMk id="10" creationId="{C0CF1D99-EB81-9D83-07DE-567AE91C14DC}"/>
          </ac:spMkLst>
        </pc:spChg>
        <pc:picChg chg="add mod">
          <ac:chgData name="Luedecke, Andrea (DI PA CM)" userId="d06abc4d-0cfc-4849-aedb-1cba97d781f9" providerId="ADAL" clId="{50196807-5C57-45E4-84F2-494BBD9DAA35}" dt="2024-06-06T16:52:12.669" v="1555" actId="555"/>
          <ac:picMkLst>
            <pc:docMk/>
            <pc:sldMk cId="2705715164" sldId="2147483465"/>
            <ac:picMk id="3" creationId="{DA0A6834-CE4E-F3AE-CD35-1BA8E310B04F}"/>
          </ac:picMkLst>
        </pc:picChg>
        <pc:picChg chg="del mod">
          <ac:chgData name="Luedecke, Andrea (DI PA CM)" userId="d06abc4d-0cfc-4849-aedb-1cba97d781f9" providerId="ADAL" clId="{50196807-5C57-45E4-84F2-494BBD9DAA35}" dt="2024-06-07T09:25:58.574" v="1578" actId="478"/>
          <ac:picMkLst>
            <pc:docMk/>
            <pc:sldMk cId="2705715164" sldId="2147483465"/>
            <ac:picMk id="6" creationId="{27426BD8-B295-992F-A173-E4C4C4E49AE5}"/>
          </ac:picMkLst>
        </pc:picChg>
        <pc:picChg chg="add mod ord modCrop">
          <ac:chgData name="Luedecke, Andrea (DI PA CM)" userId="d06abc4d-0cfc-4849-aedb-1cba97d781f9" providerId="ADAL" clId="{50196807-5C57-45E4-84F2-494BBD9DAA35}" dt="2024-06-07T09:26:10.712" v="1580" actId="732"/>
          <ac:picMkLst>
            <pc:docMk/>
            <pc:sldMk cId="2705715164" sldId="2147483465"/>
            <ac:picMk id="8" creationId="{73C5972C-4C13-BB75-5E89-5A70A6BFF23A}"/>
          </ac:picMkLst>
        </pc:picChg>
        <pc:picChg chg="mod">
          <ac:chgData name="Luedecke, Andrea (DI PA CM)" userId="d06abc4d-0cfc-4849-aedb-1cba97d781f9" providerId="ADAL" clId="{50196807-5C57-45E4-84F2-494BBD9DAA35}" dt="2024-06-06T16:52:12.669" v="1555" actId="555"/>
          <ac:picMkLst>
            <pc:docMk/>
            <pc:sldMk cId="2705715164" sldId="2147483465"/>
            <ac:picMk id="12" creationId="{BC34D8E6-4CA4-76B0-FB22-3CDD3E9BF52A}"/>
          </ac:picMkLst>
        </pc:picChg>
        <pc:picChg chg="del">
          <ac:chgData name="Luedecke, Andrea (DI PA CM)" userId="d06abc4d-0cfc-4849-aedb-1cba97d781f9" providerId="ADAL" clId="{50196807-5C57-45E4-84F2-494BBD9DAA35}" dt="2024-06-06T16:51:35.902" v="1553" actId="478"/>
          <ac:picMkLst>
            <pc:docMk/>
            <pc:sldMk cId="2705715164" sldId="2147483465"/>
            <ac:picMk id="1026" creationId="{D178D830-67CC-D8A2-9E0D-C6749B0D7BEF}"/>
          </ac:picMkLst>
        </pc:picChg>
      </pc:sldChg>
      <pc:sldChg chg="modSp del mod">
        <pc:chgData name="Luedecke, Andrea (DI PA CM)" userId="d06abc4d-0cfc-4849-aedb-1cba97d781f9" providerId="ADAL" clId="{50196807-5C57-45E4-84F2-494BBD9DAA35}" dt="2024-06-04T10:50:07.149" v="295" actId="47"/>
        <pc:sldMkLst>
          <pc:docMk/>
          <pc:sldMk cId="48004048" sldId="2147483467"/>
        </pc:sldMkLst>
        <pc:spChg chg="mod">
          <ac:chgData name="Luedecke, Andrea (DI PA CM)" userId="d06abc4d-0cfc-4849-aedb-1cba97d781f9" providerId="ADAL" clId="{50196807-5C57-45E4-84F2-494BBD9DAA35}" dt="2024-06-04T10:10:38.960" v="135" actId="1076"/>
          <ac:spMkLst>
            <pc:docMk/>
            <pc:sldMk cId="48004048" sldId="2147483467"/>
            <ac:spMk id="13" creationId="{9FF9F59D-CFA6-5E19-6E8E-E1F4287B1028}"/>
          </ac:spMkLst>
        </pc:spChg>
      </pc:sldChg>
      <pc:sldChg chg="addSp delSp modSp mod ord modTransition modAnim chgLayout modNotesTx">
        <pc:chgData name="Luedecke, Andrea (DI PA CM)" userId="d06abc4d-0cfc-4849-aedb-1cba97d781f9" providerId="ADAL" clId="{50196807-5C57-45E4-84F2-494BBD9DAA35}" dt="2024-06-06T16:30:48.266" v="1337"/>
        <pc:sldMkLst>
          <pc:docMk/>
          <pc:sldMk cId="2772639810" sldId="2147483469"/>
        </pc:sldMkLst>
        <pc:spChg chg="add mod">
          <ac:chgData name="Luedecke, Andrea (DI PA CM)" userId="d06abc4d-0cfc-4849-aedb-1cba97d781f9" providerId="ADAL" clId="{50196807-5C57-45E4-84F2-494BBD9DAA35}" dt="2024-06-06T13:54:12.263" v="1115"/>
          <ac:spMkLst>
            <pc:docMk/>
            <pc:sldMk cId="2772639810" sldId="2147483469"/>
            <ac:spMk id="2" creationId="{59BA10EE-3DD6-F857-8016-9523BCF82757}"/>
          </ac:spMkLst>
        </pc:spChg>
        <pc:spChg chg="add del mod">
          <ac:chgData name="Luedecke, Andrea (DI PA CM)" userId="d06abc4d-0cfc-4849-aedb-1cba97d781f9" providerId="ADAL" clId="{50196807-5C57-45E4-84F2-494BBD9DAA35}" dt="2024-06-06T13:55:50.945" v="1132" actId="478"/>
          <ac:spMkLst>
            <pc:docMk/>
            <pc:sldMk cId="2772639810" sldId="2147483469"/>
            <ac:spMk id="3" creationId="{36E8A067-E07A-025C-5AB8-8B6301EC042B}"/>
          </ac:spMkLst>
        </pc:spChg>
        <pc:spChg chg="add del mod">
          <ac:chgData name="Luedecke, Andrea (DI PA CM)" userId="d06abc4d-0cfc-4849-aedb-1cba97d781f9" providerId="ADAL" clId="{50196807-5C57-45E4-84F2-494BBD9DAA35}" dt="2024-06-06T16:27:24.112" v="1160" actId="478"/>
          <ac:spMkLst>
            <pc:docMk/>
            <pc:sldMk cId="2772639810" sldId="2147483469"/>
            <ac:spMk id="3" creationId="{5EE34785-39E0-D39A-99B4-98E8226346A5}"/>
          </ac:spMkLst>
        </pc:spChg>
        <pc:spChg chg="add del mod">
          <ac:chgData name="Luedecke, Andrea (DI PA CM)" userId="d06abc4d-0cfc-4849-aedb-1cba97d781f9" providerId="ADAL" clId="{50196807-5C57-45E4-84F2-494BBD9DAA35}" dt="2024-06-06T13:54:18.793" v="1117" actId="478"/>
          <ac:spMkLst>
            <pc:docMk/>
            <pc:sldMk cId="2772639810" sldId="2147483469"/>
            <ac:spMk id="4" creationId="{CC490DF2-2695-8A48-2AE3-18C341994BD6}"/>
          </ac:spMkLst>
        </pc:spChg>
        <pc:spChg chg="add del mod">
          <ac:chgData name="Luedecke, Andrea (DI PA CM)" userId="d06abc4d-0cfc-4849-aedb-1cba97d781f9" providerId="ADAL" clId="{50196807-5C57-45E4-84F2-494BBD9DAA35}" dt="2024-06-06T16:27:37.167" v="1162" actId="478"/>
          <ac:spMkLst>
            <pc:docMk/>
            <pc:sldMk cId="2772639810" sldId="2147483469"/>
            <ac:spMk id="5" creationId="{3CB8E8E2-3DE8-2899-AAE2-358BCCBA6BCE}"/>
          </ac:spMkLst>
        </pc:spChg>
        <pc:spChg chg="add del mod">
          <ac:chgData name="Luedecke, Andrea (DI PA CM)" userId="d06abc4d-0cfc-4849-aedb-1cba97d781f9" providerId="ADAL" clId="{50196807-5C57-45E4-84F2-494BBD9DAA35}" dt="2024-06-04T11:30:08.646" v="422"/>
          <ac:spMkLst>
            <pc:docMk/>
            <pc:sldMk cId="2772639810" sldId="2147483469"/>
            <ac:spMk id="5" creationId="{8B74EECB-854D-993C-886E-F40B21A000DD}"/>
          </ac:spMkLst>
        </pc:spChg>
        <pc:spChg chg="add mod">
          <ac:chgData name="Luedecke, Andrea (DI PA CM)" userId="d06abc4d-0cfc-4849-aedb-1cba97d781f9" providerId="ADAL" clId="{50196807-5C57-45E4-84F2-494BBD9DAA35}" dt="2024-06-06T13:55:27.913" v="1129"/>
          <ac:spMkLst>
            <pc:docMk/>
            <pc:sldMk cId="2772639810" sldId="2147483469"/>
            <ac:spMk id="5" creationId="{C69D9ACF-7F28-AAD8-2774-A99A36B1401B}"/>
          </ac:spMkLst>
        </pc:spChg>
        <pc:spChg chg="add del mod ord">
          <ac:chgData name="Luedecke, Andrea (DI PA CM)" userId="d06abc4d-0cfc-4849-aedb-1cba97d781f9" providerId="ADAL" clId="{50196807-5C57-45E4-84F2-494BBD9DAA35}" dt="2024-06-06T13:55:44.700" v="1131" actId="700"/>
          <ac:spMkLst>
            <pc:docMk/>
            <pc:sldMk cId="2772639810" sldId="2147483469"/>
            <ac:spMk id="6" creationId="{1ECA6267-026F-8E85-07E2-010152CD3D8B}"/>
          </ac:spMkLst>
        </pc:spChg>
        <pc:spChg chg="add del mod">
          <ac:chgData name="Luedecke, Andrea (DI PA CM)" userId="d06abc4d-0cfc-4849-aedb-1cba97d781f9" providerId="ADAL" clId="{50196807-5C57-45E4-84F2-494BBD9DAA35}" dt="2024-06-04T11:30:12.018" v="423" actId="478"/>
          <ac:spMkLst>
            <pc:docMk/>
            <pc:sldMk cId="2772639810" sldId="2147483469"/>
            <ac:spMk id="6" creationId="{5F362E65-B0E0-330F-853E-A70536B96F84}"/>
          </ac:spMkLst>
        </pc:spChg>
        <pc:spChg chg="add mod">
          <ac:chgData name="Luedecke, Andrea (DI PA CM)" userId="d06abc4d-0cfc-4849-aedb-1cba97d781f9" providerId="ADAL" clId="{50196807-5C57-45E4-84F2-494BBD9DAA35}" dt="2024-06-06T16:30:48.266" v="1337"/>
          <ac:spMkLst>
            <pc:docMk/>
            <pc:sldMk cId="2772639810" sldId="2147483469"/>
            <ac:spMk id="6" creationId="{806CBA38-B27B-16BE-0B6B-D5C10270A881}"/>
          </ac:spMkLst>
        </pc:spChg>
        <pc:spChg chg="add del mod">
          <ac:chgData name="Luedecke, Andrea (DI PA CM)" userId="d06abc4d-0cfc-4849-aedb-1cba97d781f9" providerId="ADAL" clId="{50196807-5C57-45E4-84F2-494BBD9DAA35}" dt="2024-06-06T13:57:05.963" v="1144" actId="478"/>
          <ac:spMkLst>
            <pc:docMk/>
            <pc:sldMk cId="2772639810" sldId="2147483469"/>
            <ac:spMk id="7" creationId="{1657DE21-8810-6F3E-0D02-431A7F54C603}"/>
          </ac:spMkLst>
        </pc:spChg>
        <pc:spChg chg="add mod">
          <ac:chgData name="Luedecke, Andrea (DI PA CM)" userId="d06abc4d-0cfc-4849-aedb-1cba97d781f9" providerId="ADAL" clId="{50196807-5C57-45E4-84F2-494BBD9DAA35}" dt="2024-06-06T16:27:57.404" v="1164"/>
          <ac:spMkLst>
            <pc:docMk/>
            <pc:sldMk cId="2772639810" sldId="2147483469"/>
            <ac:spMk id="7" creationId="{54ED6128-6147-C3F8-2089-5EC416C83338}"/>
          </ac:spMkLst>
        </pc:spChg>
        <pc:spChg chg="mod">
          <ac:chgData name="Luedecke, Andrea (DI PA CM)" userId="d06abc4d-0cfc-4849-aedb-1cba97d781f9" providerId="ADAL" clId="{50196807-5C57-45E4-84F2-494BBD9DAA35}" dt="2024-06-06T13:27:26.912" v="950" actId="1036"/>
          <ac:spMkLst>
            <pc:docMk/>
            <pc:sldMk cId="2772639810" sldId="2147483469"/>
            <ac:spMk id="9" creationId="{0B13008E-1321-5ACD-6D6B-E18C998EEEDB}"/>
          </ac:spMkLst>
        </pc:spChg>
        <pc:spChg chg="add del mod">
          <ac:chgData name="Luedecke, Andrea (DI PA CM)" userId="d06abc4d-0cfc-4849-aedb-1cba97d781f9" providerId="ADAL" clId="{50196807-5C57-45E4-84F2-494BBD9DAA35}" dt="2024-06-06T13:57:05.963" v="1144" actId="478"/>
          <ac:spMkLst>
            <pc:docMk/>
            <pc:sldMk cId="2772639810" sldId="2147483469"/>
            <ac:spMk id="10" creationId="{98F23DBD-AFCC-D197-7E42-B5985FA834FB}"/>
          </ac:spMkLst>
        </pc:spChg>
        <pc:spChg chg="del mod ord">
          <ac:chgData name="Luedecke, Andrea (DI PA CM)" userId="d06abc4d-0cfc-4849-aedb-1cba97d781f9" providerId="ADAL" clId="{50196807-5C57-45E4-84F2-494BBD9DAA35}" dt="2024-06-06T16:27:41.903" v="1163" actId="478"/>
          <ac:spMkLst>
            <pc:docMk/>
            <pc:sldMk cId="2772639810" sldId="2147483469"/>
            <ac:spMk id="18" creationId="{B358F85B-C967-4BAF-487F-54B850C4D979}"/>
          </ac:spMkLst>
        </pc:spChg>
        <pc:spChg chg="del mod ord">
          <ac:chgData name="Luedecke, Andrea (DI PA CM)" userId="d06abc4d-0cfc-4849-aedb-1cba97d781f9" providerId="ADAL" clId="{50196807-5C57-45E4-84F2-494BBD9DAA35}" dt="2024-06-06T13:57:05.963" v="1144" actId="478"/>
          <ac:spMkLst>
            <pc:docMk/>
            <pc:sldMk cId="2772639810" sldId="2147483469"/>
            <ac:spMk id="19" creationId="{4647465B-FBD7-040E-211C-A7BC053EE638}"/>
          </ac:spMkLst>
        </pc:spChg>
        <pc:picChg chg="del mod">
          <ac:chgData name="Luedecke, Andrea (DI PA CM)" userId="d06abc4d-0cfc-4849-aedb-1cba97d781f9" providerId="ADAL" clId="{50196807-5C57-45E4-84F2-494BBD9DAA35}" dt="2024-06-04T11:27:05.697" v="402" actId="478"/>
          <ac:picMkLst>
            <pc:docMk/>
            <pc:sldMk cId="2772639810" sldId="2147483469"/>
            <ac:picMk id="2" creationId="{52FC4598-74E8-592F-20B9-7C7471D0C4ED}"/>
          </ac:picMkLst>
        </pc:picChg>
        <pc:picChg chg="add del mod ord modCrop">
          <ac:chgData name="Luedecke, Andrea (DI PA CM)" userId="d06abc4d-0cfc-4849-aedb-1cba97d781f9" providerId="ADAL" clId="{50196807-5C57-45E4-84F2-494BBD9DAA35}" dt="2024-06-06T16:27:26.822" v="1161" actId="478"/>
          <ac:picMkLst>
            <pc:docMk/>
            <pc:sldMk cId="2772639810" sldId="2147483469"/>
            <ac:picMk id="8" creationId="{B4C19408-CE31-28DF-00A4-6489EB00DB49}"/>
          </ac:picMkLst>
        </pc:picChg>
        <pc:picChg chg="add del mod">
          <ac:chgData name="Luedecke, Andrea (DI PA CM)" userId="d06abc4d-0cfc-4849-aedb-1cba97d781f9" providerId="ADAL" clId="{50196807-5C57-45E4-84F2-494BBD9DAA35}" dt="2024-06-04T11:27:08.623" v="403" actId="478"/>
          <ac:picMkLst>
            <pc:docMk/>
            <pc:sldMk cId="2772639810" sldId="2147483469"/>
            <ac:picMk id="1026" creationId="{A332883E-3724-3708-7AD0-C58C0551AE35}"/>
          </ac:picMkLst>
        </pc:picChg>
        <pc:picChg chg="add mod">
          <ac:chgData name="Luedecke, Andrea (DI PA CM)" userId="d06abc4d-0cfc-4849-aedb-1cba97d781f9" providerId="ADAL" clId="{50196807-5C57-45E4-84F2-494BBD9DAA35}" dt="2024-06-06T16:27:14.142" v="1158" actId="167"/>
          <ac:picMkLst>
            <pc:docMk/>
            <pc:sldMk cId="2772639810" sldId="2147483469"/>
            <ac:picMk id="1026" creationId="{E2881A78-3680-E6A7-B89C-ADD499A1CF5C}"/>
          </ac:picMkLst>
        </pc:picChg>
      </pc:sldChg>
      <pc:sldChg chg="del">
        <pc:chgData name="Luedecke, Andrea (DI PA CM)" userId="d06abc4d-0cfc-4849-aedb-1cba97d781f9" providerId="ADAL" clId="{50196807-5C57-45E4-84F2-494BBD9DAA35}" dt="2024-06-04T11:00:59.729" v="331" actId="47"/>
        <pc:sldMkLst>
          <pc:docMk/>
          <pc:sldMk cId="3534932908" sldId="2147483470"/>
        </pc:sldMkLst>
      </pc:sldChg>
      <pc:sldChg chg="del">
        <pc:chgData name="Luedecke, Andrea (DI PA CM)" userId="d06abc4d-0cfc-4849-aedb-1cba97d781f9" providerId="ADAL" clId="{50196807-5C57-45E4-84F2-494BBD9DAA35}" dt="2024-06-04T11:01:01.050" v="332" actId="47"/>
        <pc:sldMkLst>
          <pc:docMk/>
          <pc:sldMk cId="1203650788" sldId="2147483471"/>
        </pc:sldMkLst>
      </pc:sldChg>
      <pc:sldChg chg="modSp new del mod">
        <pc:chgData name="Luedecke, Andrea (DI PA CM)" userId="d06abc4d-0cfc-4849-aedb-1cba97d781f9" providerId="ADAL" clId="{50196807-5C57-45E4-84F2-494BBD9DAA35}" dt="2024-06-04T10:53:01.629" v="320" actId="47"/>
        <pc:sldMkLst>
          <pc:docMk/>
          <pc:sldMk cId="554189315" sldId="2147483472"/>
        </pc:sldMkLst>
        <pc:spChg chg="mod">
          <ac:chgData name="Luedecke, Andrea (DI PA CM)" userId="d06abc4d-0cfc-4849-aedb-1cba97d781f9" providerId="ADAL" clId="{50196807-5C57-45E4-84F2-494BBD9DAA35}" dt="2024-06-04T10:52:56.352" v="319" actId="20577"/>
          <ac:spMkLst>
            <pc:docMk/>
            <pc:sldMk cId="554189315" sldId="2147483472"/>
            <ac:spMk id="2" creationId="{BB0E5382-8601-7F87-7F54-5BB85D3CED63}"/>
          </ac:spMkLst>
        </pc:spChg>
      </pc:sldChg>
      <pc:sldChg chg="new del">
        <pc:chgData name="Luedecke, Andrea (DI PA CM)" userId="d06abc4d-0cfc-4849-aedb-1cba97d781f9" providerId="ADAL" clId="{50196807-5C57-45E4-84F2-494BBD9DAA35}" dt="2024-06-04T09:57:24.959" v="27" actId="680"/>
        <pc:sldMkLst>
          <pc:docMk/>
          <pc:sldMk cId="2944317019" sldId="2147483472"/>
        </pc:sldMkLst>
      </pc:sldChg>
      <pc:sldChg chg="add mod ord modShow">
        <pc:chgData name="Luedecke, Andrea (DI PA CM)" userId="d06abc4d-0cfc-4849-aedb-1cba97d781f9" providerId="ADAL" clId="{50196807-5C57-45E4-84F2-494BBD9DAA35}" dt="2024-06-04T11:01:19.930" v="338"/>
        <pc:sldMkLst>
          <pc:docMk/>
          <pc:sldMk cId="1289333715" sldId="2147483473"/>
        </pc:sldMkLst>
      </pc:sldChg>
      <pc:sldChg chg="addSp delSp modSp add mod ord modTransition delAnim modAnim modNotesTx">
        <pc:chgData name="Luedecke, Andrea (DI PA CM)" userId="d06abc4d-0cfc-4849-aedb-1cba97d781f9" providerId="ADAL" clId="{50196807-5C57-45E4-84F2-494BBD9DAA35}" dt="2024-06-04T13:54:06.724" v="864" actId="478"/>
        <pc:sldMkLst>
          <pc:docMk/>
          <pc:sldMk cId="1975133700" sldId="2147483474"/>
        </pc:sldMkLst>
        <pc:spChg chg="mod">
          <ac:chgData name="Luedecke, Andrea (DI PA CM)" userId="d06abc4d-0cfc-4849-aedb-1cba97d781f9" providerId="ADAL" clId="{50196807-5C57-45E4-84F2-494BBD9DAA35}" dt="2024-06-04T10:49:43.480" v="294" actId="14100"/>
          <ac:spMkLst>
            <pc:docMk/>
            <pc:sldMk cId="1975133700" sldId="2147483474"/>
            <ac:spMk id="8" creationId="{D7B53E6D-3456-1B67-848D-5EBEDEEC32DB}"/>
          </ac:spMkLst>
        </pc:spChg>
        <pc:spChg chg="mod">
          <ac:chgData name="Luedecke, Andrea (DI PA CM)" userId="d06abc4d-0cfc-4849-aedb-1cba97d781f9" providerId="ADAL" clId="{50196807-5C57-45E4-84F2-494BBD9DAA35}" dt="2024-06-04T10:02:44.739" v="33" actId="6549"/>
          <ac:spMkLst>
            <pc:docMk/>
            <pc:sldMk cId="1975133700" sldId="2147483474"/>
            <ac:spMk id="15" creationId="{51B8710C-4341-66C1-E2E8-A5DB2D26F454}"/>
          </ac:spMkLst>
        </pc:spChg>
        <pc:spChg chg="mod">
          <ac:chgData name="Luedecke, Andrea (DI PA CM)" userId="d06abc4d-0cfc-4849-aedb-1cba97d781f9" providerId="ADAL" clId="{50196807-5C57-45E4-84F2-494BBD9DAA35}" dt="2024-06-04T10:49:23.548" v="291" actId="1038"/>
          <ac:spMkLst>
            <pc:docMk/>
            <pc:sldMk cId="1975133700" sldId="2147483474"/>
            <ac:spMk id="50" creationId="{ACFF2D66-BBA2-31F9-CAEC-EB5F8C62D281}"/>
          </ac:spMkLst>
        </pc:spChg>
        <pc:spChg chg="mod">
          <ac:chgData name="Luedecke, Andrea (DI PA CM)" userId="d06abc4d-0cfc-4849-aedb-1cba97d781f9" providerId="ADAL" clId="{50196807-5C57-45E4-84F2-494BBD9DAA35}" dt="2024-06-04T10:49:23.548" v="291" actId="1038"/>
          <ac:spMkLst>
            <pc:docMk/>
            <pc:sldMk cId="1975133700" sldId="2147483474"/>
            <ac:spMk id="51" creationId="{C32DA3BA-EF25-08E4-1F47-17D9FEB598C5}"/>
          </ac:spMkLst>
        </pc:spChg>
        <pc:spChg chg="mod">
          <ac:chgData name="Luedecke, Andrea (DI PA CM)" userId="d06abc4d-0cfc-4849-aedb-1cba97d781f9" providerId="ADAL" clId="{50196807-5C57-45E4-84F2-494BBD9DAA35}" dt="2024-06-04T10:49:23.548" v="291" actId="1038"/>
          <ac:spMkLst>
            <pc:docMk/>
            <pc:sldMk cId="1975133700" sldId="2147483474"/>
            <ac:spMk id="192" creationId="{72683632-6F46-8B16-54E6-2F757EA43F4C}"/>
          </ac:spMkLst>
        </pc:spChg>
        <pc:spChg chg="mod">
          <ac:chgData name="Luedecke, Andrea (DI PA CM)" userId="d06abc4d-0cfc-4849-aedb-1cba97d781f9" providerId="ADAL" clId="{50196807-5C57-45E4-84F2-494BBD9DAA35}" dt="2024-06-04T10:49:23.548" v="291" actId="1038"/>
          <ac:spMkLst>
            <pc:docMk/>
            <pc:sldMk cId="1975133700" sldId="2147483474"/>
            <ac:spMk id="194" creationId="{3195C7F3-1688-8ECA-6C2A-826C84F6DE27}"/>
          </ac:spMkLst>
        </pc:spChg>
        <pc:spChg chg="mod">
          <ac:chgData name="Luedecke, Andrea (DI PA CM)" userId="d06abc4d-0cfc-4849-aedb-1cba97d781f9" providerId="ADAL" clId="{50196807-5C57-45E4-84F2-494BBD9DAA35}" dt="2024-06-04T10:49:23.548" v="291" actId="1038"/>
          <ac:spMkLst>
            <pc:docMk/>
            <pc:sldMk cId="1975133700" sldId="2147483474"/>
            <ac:spMk id="195" creationId="{DE69C30E-12FE-A246-9058-9108B0360FE3}"/>
          </ac:spMkLst>
        </pc:spChg>
        <pc:spChg chg="mod">
          <ac:chgData name="Luedecke, Andrea (DI PA CM)" userId="d06abc4d-0cfc-4849-aedb-1cba97d781f9" providerId="ADAL" clId="{50196807-5C57-45E4-84F2-494BBD9DAA35}" dt="2024-06-04T10:49:23.548" v="291" actId="1038"/>
          <ac:spMkLst>
            <pc:docMk/>
            <pc:sldMk cId="1975133700" sldId="2147483474"/>
            <ac:spMk id="196" creationId="{A3919F8A-68EC-DF62-6120-CB17EE213609}"/>
          </ac:spMkLst>
        </pc:spChg>
        <pc:spChg chg="mod">
          <ac:chgData name="Luedecke, Andrea (DI PA CM)" userId="d06abc4d-0cfc-4849-aedb-1cba97d781f9" providerId="ADAL" clId="{50196807-5C57-45E4-84F2-494BBD9DAA35}" dt="2024-06-04T10:49:23.548" v="291" actId="1038"/>
          <ac:spMkLst>
            <pc:docMk/>
            <pc:sldMk cId="1975133700" sldId="2147483474"/>
            <ac:spMk id="197" creationId="{8F43BD7D-F892-EB06-3FB6-845AADE66F6A}"/>
          </ac:spMkLst>
        </pc:spChg>
        <pc:spChg chg="mod">
          <ac:chgData name="Luedecke, Andrea (DI PA CM)" userId="d06abc4d-0cfc-4849-aedb-1cba97d781f9" providerId="ADAL" clId="{50196807-5C57-45E4-84F2-494BBD9DAA35}" dt="2024-06-04T10:49:23.548" v="291" actId="1038"/>
          <ac:spMkLst>
            <pc:docMk/>
            <pc:sldMk cId="1975133700" sldId="2147483474"/>
            <ac:spMk id="198" creationId="{C0582443-0A85-615D-6AF9-2D958138B1CC}"/>
          </ac:spMkLst>
        </pc:spChg>
        <pc:spChg chg="mod">
          <ac:chgData name="Luedecke, Andrea (DI PA CM)" userId="d06abc4d-0cfc-4849-aedb-1cba97d781f9" providerId="ADAL" clId="{50196807-5C57-45E4-84F2-494BBD9DAA35}" dt="2024-06-04T10:49:23.548" v="291" actId="1038"/>
          <ac:spMkLst>
            <pc:docMk/>
            <pc:sldMk cId="1975133700" sldId="2147483474"/>
            <ac:spMk id="199" creationId="{1B9D9FFA-096C-D270-4389-3400A3E098E8}"/>
          </ac:spMkLst>
        </pc:spChg>
        <pc:spChg chg="mod">
          <ac:chgData name="Luedecke, Andrea (DI PA CM)" userId="d06abc4d-0cfc-4849-aedb-1cba97d781f9" providerId="ADAL" clId="{50196807-5C57-45E4-84F2-494BBD9DAA35}" dt="2024-06-04T10:49:23.548" v="291" actId="1038"/>
          <ac:spMkLst>
            <pc:docMk/>
            <pc:sldMk cId="1975133700" sldId="2147483474"/>
            <ac:spMk id="200" creationId="{15AABB6D-76DA-ED62-7D37-C62CEEABC21C}"/>
          </ac:spMkLst>
        </pc:spChg>
        <pc:spChg chg="mod">
          <ac:chgData name="Luedecke, Andrea (DI PA CM)" userId="d06abc4d-0cfc-4849-aedb-1cba97d781f9" providerId="ADAL" clId="{50196807-5C57-45E4-84F2-494BBD9DAA35}" dt="2024-06-04T10:49:23.548" v="291" actId="1038"/>
          <ac:spMkLst>
            <pc:docMk/>
            <pc:sldMk cId="1975133700" sldId="2147483474"/>
            <ac:spMk id="202" creationId="{F5D3F2BF-A286-2BEA-650E-B5215BC6762B}"/>
          </ac:spMkLst>
        </pc:spChg>
        <pc:spChg chg="mod">
          <ac:chgData name="Luedecke, Andrea (DI PA CM)" userId="d06abc4d-0cfc-4849-aedb-1cba97d781f9" providerId="ADAL" clId="{50196807-5C57-45E4-84F2-494BBD9DAA35}" dt="2024-06-04T10:49:23.548" v="291" actId="1038"/>
          <ac:spMkLst>
            <pc:docMk/>
            <pc:sldMk cId="1975133700" sldId="2147483474"/>
            <ac:spMk id="203" creationId="{6155494B-9135-6B3F-4B25-45A4CC362618}"/>
          </ac:spMkLst>
        </pc:spChg>
        <pc:spChg chg="mod">
          <ac:chgData name="Luedecke, Andrea (DI PA CM)" userId="d06abc4d-0cfc-4849-aedb-1cba97d781f9" providerId="ADAL" clId="{50196807-5C57-45E4-84F2-494BBD9DAA35}" dt="2024-06-04T10:49:23.548" v="291" actId="1038"/>
          <ac:spMkLst>
            <pc:docMk/>
            <pc:sldMk cId="1975133700" sldId="2147483474"/>
            <ac:spMk id="205" creationId="{955EFD2A-E757-571A-4FE9-8868BA2BCDBA}"/>
          </ac:spMkLst>
        </pc:spChg>
        <pc:spChg chg="mod">
          <ac:chgData name="Luedecke, Andrea (DI PA CM)" userId="d06abc4d-0cfc-4849-aedb-1cba97d781f9" providerId="ADAL" clId="{50196807-5C57-45E4-84F2-494BBD9DAA35}" dt="2024-06-04T10:49:23.548" v="291" actId="1038"/>
          <ac:spMkLst>
            <pc:docMk/>
            <pc:sldMk cId="1975133700" sldId="2147483474"/>
            <ac:spMk id="206" creationId="{D871976D-1F70-F32A-B12F-B05EC62F0A59}"/>
          </ac:spMkLst>
        </pc:spChg>
        <pc:spChg chg="mod">
          <ac:chgData name="Luedecke, Andrea (DI PA CM)" userId="d06abc4d-0cfc-4849-aedb-1cba97d781f9" providerId="ADAL" clId="{50196807-5C57-45E4-84F2-494BBD9DAA35}" dt="2024-06-04T10:49:23.548" v="291" actId="1038"/>
          <ac:spMkLst>
            <pc:docMk/>
            <pc:sldMk cId="1975133700" sldId="2147483474"/>
            <ac:spMk id="207" creationId="{EA535170-03BB-0611-AABA-DC39FB830B14}"/>
          </ac:spMkLst>
        </pc:spChg>
        <pc:spChg chg="mod">
          <ac:chgData name="Luedecke, Andrea (DI PA CM)" userId="d06abc4d-0cfc-4849-aedb-1cba97d781f9" providerId="ADAL" clId="{50196807-5C57-45E4-84F2-494BBD9DAA35}" dt="2024-06-04T10:49:23.548" v="291" actId="1038"/>
          <ac:spMkLst>
            <pc:docMk/>
            <pc:sldMk cId="1975133700" sldId="2147483474"/>
            <ac:spMk id="304" creationId="{B78EB205-268D-F5F8-2105-C2F61395F257}"/>
          </ac:spMkLst>
        </pc:spChg>
        <pc:spChg chg="mod">
          <ac:chgData name="Luedecke, Andrea (DI PA CM)" userId="d06abc4d-0cfc-4849-aedb-1cba97d781f9" providerId="ADAL" clId="{50196807-5C57-45E4-84F2-494BBD9DAA35}" dt="2024-06-04T10:49:23.548" v="291" actId="1038"/>
          <ac:spMkLst>
            <pc:docMk/>
            <pc:sldMk cId="1975133700" sldId="2147483474"/>
            <ac:spMk id="308" creationId="{40584D05-59DF-6287-2C80-F3F25B4B7CE8}"/>
          </ac:spMkLst>
        </pc:spChg>
        <pc:spChg chg="mod">
          <ac:chgData name="Luedecke, Andrea (DI PA CM)" userId="d06abc4d-0cfc-4849-aedb-1cba97d781f9" providerId="ADAL" clId="{50196807-5C57-45E4-84F2-494BBD9DAA35}" dt="2024-06-04T10:49:23.548" v="291" actId="1038"/>
          <ac:spMkLst>
            <pc:docMk/>
            <pc:sldMk cId="1975133700" sldId="2147483474"/>
            <ac:spMk id="309" creationId="{6B43CEBC-72AA-5D0B-3F11-DCC318855777}"/>
          </ac:spMkLst>
        </pc:spChg>
        <pc:spChg chg="mod">
          <ac:chgData name="Luedecke, Andrea (DI PA CM)" userId="d06abc4d-0cfc-4849-aedb-1cba97d781f9" providerId="ADAL" clId="{50196807-5C57-45E4-84F2-494BBD9DAA35}" dt="2024-06-04T10:49:23.548" v="291" actId="1038"/>
          <ac:spMkLst>
            <pc:docMk/>
            <pc:sldMk cId="1975133700" sldId="2147483474"/>
            <ac:spMk id="310" creationId="{26CBA2AF-93A6-545F-E2FC-1A35FFB82520}"/>
          </ac:spMkLst>
        </pc:spChg>
        <pc:spChg chg="mod">
          <ac:chgData name="Luedecke, Andrea (DI PA CM)" userId="d06abc4d-0cfc-4849-aedb-1cba97d781f9" providerId="ADAL" clId="{50196807-5C57-45E4-84F2-494BBD9DAA35}" dt="2024-06-04T10:49:23.548" v="291" actId="1038"/>
          <ac:spMkLst>
            <pc:docMk/>
            <pc:sldMk cId="1975133700" sldId="2147483474"/>
            <ac:spMk id="311" creationId="{5144C49B-1834-D8AA-1C48-765CDD4E4803}"/>
          </ac:spMkLst>
        </pc:spChg>
        <pc:spChg chg="mod">
          <ac:chgData name="Luedecke, Andrea (DI PA CM)" userId="d06abc4d-0cfc-4849-aedb-1cba97d781f9" providerId="ADAL" clId="{50196807-5C57-45E4-84F2-494BBD9DAA35}" dt="2024-06-04T10:49:23.548" v="291" actId="1038"/>
          <ac:spMkLst>
            <pc:docMk/>
            <pc:sldMk cId="1975133700" sldId="2147483474"/>
            <ac:spMk id="312" creationId="{8CB71E30-16FE-17EA-0BFE-66A0F769C1D9}"/>
          </ac:spMkLst>
        </pc:spChg>
        <pc:spChg chg="mod">
          <ac:chgData name="Luedecke, Andrea (DI PA CM)" userId="d06abc4d-0cfc-4849-aedb-1cba97d781f9" providerId="ADAL" clId="{50196807-5C57-45E4-84F2-494BBD9DAA35}" dt="2024-06-04T10:49:23.548" v="291" actId="1038"/>
          <ac:spMkLst>
            <pc:docMk/>
            <pc:sldMk cId="1975133700" sldId="2147483474"/>
            <ac:spMk id="313" creationId="{F93DD182-E149-4A4F-B271-507AEB19AB8D}"/>
          </ac:spMkLst>
        </pc:spChg>
        <pc:spChg chg="del">
          <ac:chgData name="Luedecke, Andrea (DI PA CM)" userId="d06abc4d-0cfc-4849-aedb-1cba97d781f9" providerId="ADAL" clId="{50196807-5C57-45E4-84F2-494BBD9DAA35}" dt="2024-06-04T10:49:32.125" v="292" actId="478"/>
          <ac:spMkLst>
            <pc:docMk/>
            <pc:sldMk cId="1975133700" sldId="2147483474"/>
            <ac:spMk id="321" creationId="{FFFBC7CA-BC6E-B345-4DDE-BF1AC7BFC254}"/>
          </ac:spMkLst>
        </pc:spChg>
        <pc:spChg chg="mod">
          <ac:chgData name="Luedecke, Andrea (DI PA CM)" userId="d06abc4d-0cfc-4849-aedb-1cba97d781f9" providerId="ADAL" clId="{50196807-5C57-45E4-84F2-494BBD9DAA35}" dt="2024-06-04T10:49:23.548" v="291" actId="1038"/>
          <ac:spMkLst>
            <pc:docMk/>
            <pc:sldMk cId="1975133700" sldId="2147483474"/>
            <ac:spMk id="323" creationId="{168D7B29-FDC7-1CA3-7CD2-ADEA55A08E51}"/>
          </ac:spMkLst>
        </pc:spChg>
        <pc:spChg chg="mod">
          <ac:chgData name="Luedecke, Andrea (DI PA CM)" userId="d06abc4d-0cfc-4849-aedb-1cba97d781f9" providerId="ADAL" clId="{50196807-5C57-45E4-84F2-494BBD9DAA35}" dt="2024-06-04T10:49:23.548" v="291" actId="1038"/>
          <ac:spMkLst>
            <pc:docMk/>
            <pc:sldMk cId="1975133700" sldId="2147483474"/>
            <ac:spMk id="324" creationId="{1CDA2B54-C7FD-42CA-51B8-425054C50D81}"/>
          </ac:spMkLst>
        </pc:spChg>
        <pc:spChg chg="mod">
          <ac:chgData name="Luedecke, Andrea (DI PA CM)" userId="d06abc4d-0cfc-4849-aedb-1cba97d781f9" providerId="ADAL" clId="{50196807-5C57-45E4-84F2-494BBD9DAA35}" dt="2024-06-04T10:49:23.548" v="291" actId="1038"/>
          <ac:spMkLst>
            <pc:docMk/>
            <pc:sldMk cId="1975133700" sldId="2147483474"/>
            <ac:spMk id="325" creationId="{13EC196A-F707-7A05-787C-60AFED7AFF66}"/>
          </ac:spMkLst>
        </pc:spChg>
        <pc:spChg chg="mod">
          <ac:chgData name="Luedecke, Andrea (DI PA CM)" userId="d06abc4d-0cfc-4849-aedb-1cba97d781f9" providerId="ADAL" clId="{50196807-5C57-45E4-84F2-494BBD9DAA35}" dt="2024-06-04T10:49:23.548" v="291" actId="1038"/>
          <ac:spMkLst>
            <pc:docMk/>
            <pc:sldMk cId="1975133700" sldId="2147483474"/>
            <ac:spMk id="326" creationId="{2CD785F2-3DAB-D062-6833-D4D6F67EE121}"/>
          </ac:spMkLst>
        </pc:spChg>
        <pc:spChg chg="mod">
          <ac:chgData name="Luedecke, Andrea (DI PA CM)" userId="d06abc4d-0cfc-4849-aedb-1cba97d781f9" providerId="ADAL" clId="{50196807-5C57-45E4-84F2-494BBD9DAA35}" dt="2024-06-04T10:49:23.548" v="291" actId="1038"/>
          <ac:spMkLst>
            <pc:docMk/>
            <pc:sldMk cId="1975133700" sldId="2147483474"/>
            <ac:spMk id="327" creationId="{60FFE97C-AF51-D506-0128-1B416A4EB017}"/>
          </ac:spMkLst>
        </pc:spChg>
        <pc:spChg chg="mod">
          <ac:chgData name="Luedecke, Andrea (DI PA CM)" userId="d06abc4d-0cfc-4849-aedb-1cba97d781f9" providerId="ADAL" clId="{50196807-5C57-45E4-84F2-494BBD9DAA35}" dt="2024-06-04T10:49:23.548" v="291" actId="1038"/>
          <ac:spMkLst>
            <pc:docMk/>
            <pc:sldMk cId="1975133700" sldId="2147483474"/>
            <ac:spMk id="328" creationId="{F4A51084-00F9-C8C7-3FEB-7178456C0571}"/>
          </ac:spMkLst>
        </pc:spChg>
        <pc:spChg chg="mod">
          <ac:chgData name="Luedecke, Andrea (DI PA CM)" userId="d06abc4d-0cfc-4849-aedb-1cba97d781f9" providerId="ADAL" clId="{50196807-5C57-45E4-84F2-494BBD9DAA35}" dt="2024-06-04T10:49:23.548" v="291" actId="1038"/>
          <ac:spMkLst>
            <pc:docMk/>
            <pc:sldMk cId="1975133700" sldId="2147483474"/>
            <ac:spMk id="330" creationId="{53B5C058-695D-7392-AC67-43D3FCF4E64A}"/>
          </ac:spMkLst>
        </pc:spChg>
        <pc:spChg chg="mod">
          <ac:chgData name="Luedecke, Andrea (DI PA CM)" userId="d06abc4d-0cfc-4849-aedb-1cba97d781f9" providerId="ADAL" clId="{50196807-5C57-45E4-84F2-494BBD9DAA35}" dt="2024-06-04T10:49:23.548" v="291" actId="1038"/>
          <ac:spMkLst>
            <pc:docMk/>
            <pc:sldMk cId="1975133700" sldId="2147483474"/>
            <ac:spMk id="331" creationId="{DB147FA7-1A5B-E38A-4E4D-B681F700C810}"/>
          </ac:spMkLst>
        </pc:spChg>
        <pc:spChg chg="mod">
          <ac:chgData name="Luedecke, Andrea (DI PA CM)" userId="d06abc4d-0cfc-4849-aedb-1cba97d781f9" providerId="ADAL" clId="{50196807-5C57-45E4-84F2-494BBD9DAA35}" dt="2024-06-04T10:49:23.548" v="291" actId="1038"/>
          <ac:spMkLst>
            <pc:docMk/>
            <pc:sldMk cId="1975133700" sldId="2147483474"/>
            <ac:spMk id="332" creationId="{AD0F5179-F656-E992-6B12-86D2C7BBA9D1}"/>
          </ac:spMkLst>
        </pc:spChg>
        <pc:spChg chg="mod">
          <ac:chgData name="Luedecke, Andrea (DI PA CM)" userId="d06abc4d-0cfc-4849-aedb-1cba97d781f9" providerId="ADAL" clId="{50196807-5C57-45E4-84F2-494BBD9DAA35}" dt="2024-06-04T10:49:23.548" v="291" actId="1038"/>
          <ac:spMkLst>
            <pc:docMk/>
            <pc:sldMk cId="1975133700" sldId="2147483474"/>
            <ac:spMk id="333" creationId="{3A95BA97-5461-CF7E-5FD6-F065B24F96DD}"/>
          </ac:spMkLst>
        </pc:spChg>
        <pc:spChg chg="mod">
          <ac:chgData name="Luedecke, Andrea (DI PA CM)" userId="d06abc4d-0cfc-4849-aedb-1cba97d781f9" providerId="ADAL" clId="{50196807-5C57-45E4-84F2-494BBD9DAA35}" dt="2024-06-04T10:49:23.548" v="291" actId="1038"/>
          <ac:spMkLst>
            <pc:docMk/>
            <pc:sldMk cId="1975133700" sldId="2147483474"/>
            <ac:spMk id="334" creationId="{6D13F238-64FE-F508-036F-4EAC54723127}"/>
          </ac:spMkLst>
        </pc:spChg>
        <pc:spChg chg="mod">
          <ac:chgData name="Luedecke, Andrea (DI PA CM)" userId="d06abc4d-0cfc-4849-aedb-1cba97d781f9" providerId="ADAL" clId="{50196807-5C57-45E4-84F2-494BBD9DAA35}" dt="2024-06-04T10:49:23.548" v="291" actId="1038"/>
          <ac:spMkLst>
            <pc:docMk/>
            <pc:sldMk cId="1975133700" sldId="2147483474"/>
            <ac:spMk id="335" creationId="{E8D412B2-56CD-D4BE-D249-85ECF9E353FB}"/>
          </ac:spMkLst>
        </pc:spChg>
        <pc:spChg chg="mod">
          <ac:chgData name="Luedecke, Andrea (DI PA CM)" userId="d06abc4d-0cfc-4849-aedb-1cba97d781f9" providerId="ADAL" clId="{50196807-5C57-45E4-84F2-494BBD9DAA35}" dt="2024-06-04T10:49:23.548" v="291" actId="1038"/>
          <ac:spMkLst>
            <pc:docMk/>
            <pc:sldMk cId="1975133700" sldId="2147483474"/>
            <ac:spMk id="342" creationId="{37294383-A734-8A2E-5E41-7858301474B1}"/>
          </ac:spMkLst>
        </pc:spChg>
        <pc:spChg chg="mod">
          <ac:chgData name="Luedecke, Andrea (DI PA CM)" userId="d06abc4d-0cfc-4849-aedb-1cba97d781f9" providerId="ADAL" clId="{50196807-5C57-45E4-84F2-494BBD9DAA35}" dt="2024-06-04T10:49:23.548" v="291" actId="1038"/>
          <ac:spMkLst>
            <pc:docMk/>
            <pc:sldMk cId="1975133700" sldId="2147483474"/>
            <ac:spMk id="345" creationId="{1CF03F8A-0AA2-064B-8D09-F0ECCD4E5B95}"/>
          </ac:spMkLst>
        </pc:spChg>
        <pc:spChg chg="mod">
          <ac:chgData name="Luedecke, Andrea (DI PA CM)" userId="d06abc4d-0cfc-4849-aedb-1cba97d781f9" providerId="ADAL" clId="{50196807-5C57-45E4-84F2-494BBD9DAA35}" dt="2024-06-04T10:49:23.548" v="291" actId="1038"/>
          <ac:spMkLst>
            <pc:docMk/>
            <pc:sldMk cId="1975133700" sldId="2147483474"/>
            <ac:spMk id="346" creationId="{02F94936-8CBE-BFC5-88B3-317F15F5A10C}"/>
          </ac:spMkLst>
        </pc:spChg>
        <pc:spChg chg="mod">
          <ac:chgData name="Luedecke, Andrea (DI PA CM)" userId="d06abc4d-0cfc-4849-aedb-1cba97d781f9" providerId="ADAL" clId="{50196807-5C57-45E4-84F2-494BBD9DAA35}" dt="2024-06-04T10:49:23.548" v="291" actId="1038"/>
          <ac:spMkLst>
            <pc:docMk/>
            <pc:sldMk cId="1975133700" sldId="2147483474"/>
            <ac:spMk id="347" creationId="{23777BF0-3077-BA1C-005A-BFC83BAB646B}"/>
          </ac:spMkLst>
        </pc:spChg>
        <pc:spChg chg="mod">
          <ac:chgData name="Luedecke, Andrea (DI PA CM)" userId="d06abc4d-0cfc-4849-aedb-1cba97d781f9" providerId="ADAL" clId="{50196807-5C57-45E4-84F2-494BBD9DAA35}" dt="2024-06-04T10:49:23.548" v="291" actId="1038"/>
          <ac:spMkLst>
            <pc:docMk/>
            <pc:sldMk cId="1975133700" sldId="2147483474"/>
            <ac:spMk id="348" creationId="{20DF74AD-4913-228C-C4E2-9116E5B30944}"/>
          </ac:spMkLst>
        </pc:spChg>
        <pc:spChg chg="mod">
          <ac:chgData name="Luedecke, Andrea (DI PA CM)" userId="d06abc4d-0cfc-4849-aedb-1cba97d781f9" providerId="ADAL" clId="{50196807-5C57-45E4-84F2-494BBD9DAA35}" dt="2024-06-04T10:49:23.548" v="291" actId="1038"/>
          <ac:spMkLst>
            <pc:docMk/>
            <pc:sldMk cId="1975133700" sldId="2147483474"/>
            <ac:spMk id="349" creationId="{57B9C13F-7D0B-F99C-A390-5B4DC50560B6}"/>
          </ac:spMkLst>
        </pc:spChg>
        <pc:spChg chg="mod">
          <ac:chgData name="Luedecke, Andrea (DI PA CM)" userId="d06abc4d-0cfc-4849-aedb-1cba97d781f9" providerId="ADAL" clId="{50196807-5C57-45E4-84F2-494BBD9DAA35}" dt="2024-06-04T10:49:23.548" v="291" actId="1038"/>
          <ac:spMkLst>
            <pc:docMk/>
            <pc:sldMk cId="1975133700" sldId="2147483474"/>
            <ac:spMk id="350" creationId="{465F3306-B622-9582-1A92-0B755ECB7EBB}"/>
          </ac:spMkLst>
        </pc:spChg>
        <pc:spChg chg="mod">
          <ac:chgData name="Luedecke, Andrea (DI PA CM)" userId="d06abc4d-0cfc-4849-aedb-1cba97d781f9" providerId="ADAL" clId="{50196807-5C57-45E4-84F2-494BBD9DAA35}" dt="2024-06-04T10:49:23.548" v="291" actId="1038"/>
          <ac:spMkLst>
            <pc:docMk/>
            <pc:sldMk cId="1975133700" sldId="2147483474"/>
            <ac:spMk id="351" creationId="{31B6E23F-2909-F72F-072A-E69019000337}"/>
          </ac:spMkLst>
        </pc:spChg>
        <pc:grpChg chg="mod">
          <ac:chgData name="Luedecke, Andrea (DI PA CM)" userId="d06abc4d-0cfc-4849-aedb-1cba97d781f9" providerId="ADAL" clId="{50196807-5C57-45E4-84F2-494BBD9DAA35}" dt="2024-06-04T10:49:23.548" v="291" actId="1038"/>
          <ac:grpSpMkLst>
            <pc:docMk/>
            <pc:sldMk cId="1975133700" sldId="2147483474"/>
            <ac:grpSpMk id="193" creationId="{ABFFCAC0-68E6-4D9B-B658-CFB329C8F62D}"/>
          </ac:grpSpMkLst>
        </pc:grpChg>
        <pc:grpChg chg="mod">
          <ac:chgData name="Luedecke, Andrea (DI PA CM)" userId="d06abc4d-0cfc-4849-aedb-1cba97d781f9" providerId="ADAL" clId="{50196807-5C57-45E4-84F2-494BBD9DAA35}" dt="2024-06-04T10:49:23.548" v="291" actId="1038"/>
          <ac:grpSpMkLst>
            <pc:docMk/>
            <pc:sldMk cId="1975133700" sldId="2147483474"/>
            <ac:grpSpMk id="201" creationId="{2C564246-90BC-ED69-6C5A-4DBCFC654C7A}"/>
          </ac:grpSpMkLst>
        </pc:grpChg>
        <pc:grpChg chg="del">
          <ac:chgData name="Luedecke, Andrea (DI PA CM)" userId="d06abc4d-0cfc-4849-aedb-1cba97d781f9" providerId="ADAL" clId="{50196807-5C57-45E4-84F2-494BBD9DAA35}" dt="2024-06-04T10:49:32.125" v="292" actId="478"/>
          <ac:grpSpMkLst>
            <pc:docMk/>
            <pc:sldMk cId="1975133700" sldId="2147483474"/>
            <ac:grpSpMk id="251" creationId="{1BA8B229-E561-ED9D-9981-D7C5C4B6290A}"/>
          </ac:grpSpMkLst>
        </pc:grpChg>
        <pc:grpChg chg="mod">
          <ac:chgData name="Luedecke, Andrea (DI PA CM)" userId="d06abc4d-0cfc-4849-aedb-1cba97d781f9" providerId="ADAL" clId="{50196807-5C57-45E4-84F2-494BBD9DAA35}" dt="2024-06-04T10:49:23.548" v="291" actId="1038"/>
          <ac:grpSpMkLst>
            <pc:docMk/>
            <pc:sldMk cId="1975133700" sldId="2147483474"/>
            <ac:grpSpMk id="307" creationId="{D9481DCC-FD00-03B7-D22F-B25861373584}"/>
          </ac:grpSpMkLst>
        </pc:grpChg>
        <pc:grpChg chg="del">
          <ac:chgData name="Luedecke, Andrea (DI PA CM)" userId="d06abc4d-0cfc-4849-aedb-1cba97d781f9" providerId="ADAL" clId="{50196807-5C57-45E4-84F2-494BBD9DAA35}" dt="2024-06-04T10:49:32.125" v="292" actId="478"/>
          <ac:grpSpMkLst>
            <pc:docMk/>
            <pc:sldMk cId="1975133700" sldId="2147483474"/>
            <ac:grpSpMk id="319" creationId="{F2876570-4CBA-2A0C-8145-4F0FBB203DE9}"/>
          </ac:grpSpMkLst>
        </pc:grpChg>
        <pc:grpChg chg="mod">
          <ac:chgData name="Luedecke, Andrea (DI PA CM)" userId="d06abc4d-0cfc-4849-aedb-1cba97d781f9" providerId="ADAL" clId="{50196807-5C57-45E4-84F2-494BBD9DAA35}" dt="2024-06-04T10:49:23.548" v="291" actId="1038"/>
          <ac:grpSpMkLst>
            <pc:docMk/>
            <pc:sldMk cId="1975133700" sldId="2147483474"/>
            <ac:grpSpMk id="344" creationId="{2269EFE6-313C-CE8F-D692-230F4A7E1DF9}"/>
          </ac:grpSpMkLst>
        </pc:grpChg>
        <pc:picChg chg="add del mod">
          <ac:chgData name="Luedecke, Andrea (DI PA CM)" userId="d06abc4d-0cfc-4849-aedb-1cba97d781f9" providerId="ADAL" clId="{50196807-5C57-45E4-84F2-494BBD9DAA35}" dt="2024-06-04T13:54:06.724" v="864" actId="478"/>
          <ac:picMkLst>
            <pc:docMk/>
            <pc:sldMk cId="1975133700" sldId="2147483474"/>
            <ac:picMk id="3" creationId="{2EB6FBDB-BF77-9975-26D3-31FC7C39797F}"/>
          </ac:picMkLst>
        </pc:picChg>
        <pc:picChg chg="del mod">
          <ac:chgData name="Luedecke, Andrea (DI PA CM)" userId="d06abc4d-0cfc-4849-aedb-1cba97d781f9" providerId="ADAL" clId="{50196807-5C57-45E4-84F2-494BBD9DAA35}" dt="2024-06-04T10:49:14.809" v="261" actId="478"/>
          <ac:picMkLst>
            <pc:docMk/>
            <pc:sldMk cId="1975133700" sldId="2147483474"/>
            <ac:picMk id="13" creationId="{B08C640B-D10A-527C-F9A8-033BDCD2B206}"/>
          </ac:picMkLst>
        </pc:picChg>
        <pc:picChg chg="mod">
          <ac:chgData name="Luedecke, Andrea (DI PA CM)" userId="d06abc4d-0cfc-4849-aedb-1cba97d781f9" providerId="ADAL" clId="{50196807-5C57-45E4-84F2-494BBD9DAA35}" dt="2024-06-04T10:49:23.548" v="291" actId="1038"/>
          <ac:picMkLst>
            <pc:docMk/>
            <pc:sldMk cId="1975133700" sldId="2147483474"/>
            <ac:picMk id="204" creationId="{39903018-D42D-A4C2-310F-75855749DF80}"/>
          </ac:picMkLst>
        </pc:picChg>
        <pc:picChg chg="del">
          <ac:chgData name="Luedecke, Andrea (DI PA CM)" userId="d06abc4d-0cfc-4849-aedb-1cba97d781f9" providerId="ADAL" clId="{50196807-5C57-45E4-84F2-494BBD9DAA35}" dt="2024-06-04T10:49:32.125" v="292" actId="478"/>
          <ac:picMkLst>
            <pc:docMk/>
            <pc:sldMk cId="1975133700" sldId="2147483474"/>
            <ac:picMk id="320" creationId="{D6568E72-82C3-82EF-1632-84ED89360A60}"/>
          </ac:picMkLst>
        </pc:picChg>
        <pc:cxnChg chg="mod">
          <ac:chgData name="Luedecke, Andrea (DI PA CM)" userId="d06abc4d-0cfc-4849-aedb-1cba97d781f9" providerId="ADAL" clId="{50196807-5C57-45E4-84F2-494BBD9DAA35}" dt="2024-06-04T10:49:23.548" v="291" actId="1038"/>
          <ac:cxnSpMkLst>
            <pc:docMk/>
            <pc:sldMk cId="1975133700" sldId="2147483474"/>
            <ac:cxnSpMk id="270" creationId="{CDE06C59-E746-7AD1-A102-C2344AC41D2B}"/>
          </ac:cxnSpMkLst>
        </pc:cxnChg>
        <pc:cxnChg chg="mod">
          <ac:chgData name="Luedecke, Andrea (DI PA CM)" userId="d06abc4d-0cfc-4849-aedb-1cba97d781f9" providerId="ADAL" clId="{50196807-5C57-45E4-84F2-494BBD9DAA35}" dt="2024-06-04T10:49:23.548" v="291" actId="1038"/>
          <ac:cxnSpMkLst>
            <pc:docMk/>
            <pc:sldMk cId="1975133700" sldId="2147483474"/>
            <ac:cxnSpMk id="329" creationId="{2839573D-5C3B-0049-10C4-0C7746B7CD17}"/>
          </ac:cxnSpMkLst>
        </pc:cxnChg>
        <pc:cxnChg chg="mod">
          <ac:chgData name="Luedecke, Andrea (DI PA CM)" userId="d06abc4d-0cfc-4849-aedb-1cba97d781f9" providerId="ADAL" clId="{50196807-5C57-45E4-84F2-494BBD9DAA35}" dt="2024-06-04T10:49:23.548" v="291" actId="1038"/>
          <ac:cxnSpMkLst>
            <pc:docMk/>
            <pc:sldMk cId="1975133700" sldId="2147483474"/>
            <ac:cxnSpMk id="336" creationId="{6D955F7C-10BF-816A-B01D-41B77B5B066C}"/>
          </ac:cxnSpMkLst>
        </pc:cxnChg>
        <pc:cxnChg chg="mod">
          <ac:chgData name="Luedecke, Andrea (DI PA CM)" userId="d06abc4d-0cfc-4849-aedb-1cba97d781f9" providerId="ADAL" clId="{50196807-5C57-45E4-84F2-494BBD9DAA35}" dt="2024-06-04T10:49:23.548" v="291" actId="1038"/>
          <ac:cxnSpMkLst>
            <pc:docMk/>
            <pc:sldMk cId="1975133700" sldId="2147483474"/>
            <ac:cxnSpMk id="337" creationId="{064F93EE-CE46-D5FC-AB57-9E1E6DE0E5B0}"/>
          </ac:cxnSpMkLst>
        </pc:cxnChg>
        <pc:cxnChg chg="mod">
          <ac:chgData name="Luedecke, Andrea (DI PA CM)" userId="d06abc4d-0cfc-4849-aedb-1cba97d781f9" providerId="ADAL" clId="{50196807-5C57-45E4-84F2-494BBD9DAA35}" dt="2024-06-04T10:49:23.548" v="291" actId="1038"/>
          <ac:cxnSpMkLst>
            <pc:docMk/>
            <pc:sldMk cId="1975133700" sldId="2147483474"/>
            <ac:cxnSpMk id="338" creationId="{BDC2CCB4-084B-8A53-DF41-295A94C6C1E6}"/>
          </ac:cxnSpMkLst>
        </pc:cxnChg>
        <pc:cxnChg chg="mod">
          <ac:chgData name="Luedecke, Andrea (DI PA CM)" userId="d06abc4d-0cfc-4849-aedb-1cba97d781f9" providerId="ADAL" clId="{50196807-5C57-45E4-84F2-494BBD9DAA35}" dt="2024-06-04T10:49:23.548" v="291" actId="1038"/>
          <ac:cxnSpMkLst>
            <pc:docMk/>
            <pc:sldMk cId="1975133700" sldId="2147483474"/>
            <ac:cxnSpMk id="339" creationId="{93995EFF-BAB8-792B-81AF-D3F3D6E923F4}"/>
          </ac:cxnSpMkLst>
        </pc:cxnChg>
        <pc:cxnChg chg="mod">
          <ac:chgData name="Luedecke, Andrea (DI PA CM)" userId="d06abc4d-0cfc-4849-aedb-1cba97d781f9" providerId="ADAL" clId="{50196807-5C57-45E4-84F2-494BBD9DAA35}" dt="2024-06-04T10:49:23.548" v="291" actId="1038"/>
          <ac:cxnSpMkLst>
            <pc:docMk/>
            <pc:sldMk cId="1975133700" sldId="2147483474"/>
            <ac:cxnSpMk id="340" creationId="{CD1236E3-A6D1-B44D-B23B-79C0366E8EBF}"/>
          </ac:cxnSpMkLst>
        </pc:cxnChg>
        <pc:cxnChg chg="mod">
          <ac:chgData name="Luedecke, Andrea (DI PA CM)" userId="d06abc4d-0cfc-4849-aedb-1cba97d781f9" providerId="ADAL" clId="{50196807-5C57-45E4-84F2-494BBD9DAA35}" dt="2024-06-04T10:49:23.548" v="291" actId="1038"/>
          <ac:cxnSpMkLst>
            <pc:docMk/>
            <pc:sldMk cId="1975133700" sldId="2147483474"/>
            <ac:cxnSpMk id="341" creationId="{7AEA553A-56A1-2E77-4E05-824F5C64412D}"/>
          </ac:cxnSpMkLst>
        </pc:cxnChg>
      </pc:sldChg>
      <pc:sldChg chg="addSp delSp modSp add del mod ord modAnim modShow">
        <pc:chgData name="Luedecke, Andrea (DI PA CM)" userId="d06abc4d-0cfc-4849-aedb-1cba97d781f9" providerId="ADAL" clId="{50196807-5C57-45E4-84F2-494BBD9DAA35}" dt="2024-06-04T11:03:04.934" v="346" actId="47"/>
        <pc:sldMkLst>
          <pc:docMk/>
          <pc:sldMk cId="932810777" sldId="2147483475"/>
        </pc:sldMkLst>
        <pc:spChg chg="mod">
          <ac:chgData name="Luedecke, Andrea (DI PA CM)" userId="d06abc4d-0cfc-4849-aedb-1cba97d781f9" providerId="ADAL" clId="{50196807-5C57-45E4-84F2-494BBD9DAA35}" dt="2024-06-04T10:17:24.816" v="232" actId="20577"/>
          <ac:spMkLst>
            <pc:docMk/>
            <pc:sldMk cId="932810777" sldId="2147483475"/>
            <ac:spMk id="9" creationId="{0B13008E-1321-5ACD-6D6B-E18C998EEEDB}"/>
          </ac:spMkLst>
        </pc:spChg>
        <pc:picChg chg="add mod ord modCrop">
          <ac:chgData name="Luedecke, Andrea (DI PA CM)" userId="d06abc4d-0cfc-4849-aedb-1cba97d781f9" providerId="ADAL" clId="{50196807-5C57-45E4-84F2-494BBD9DAA35}" dt="2024-06-04T10:19:33.314" v="244" actId="732"/>
          <ac:picMkLst>
            <pc:docMk/>
            <pc:sldMk cId="932810777" sldId="2147483475"/>
            <ac:picMk id="2" creationId="{5BBA102E-B5EF-4269-F8F7-A980881C23E7}"/>
          </ac:picMkLst>
        </pc:picChg>
        <pc:picChg chg="add del mod">
          <ac:chgData name="Luedecke, Andrea (DI PA CM)" userId="d06abc4d-0cfc-4849-aedb-1cba97d781f9" providerId="ADAL" clId="{50196807-5C57-45E4-84F2-494BBD9DAA35}" dt="2024-06-04T10:13:34.878" v="165" actId="478"/>
          <ac:picMkLst>
            <pc:docMk/>
            <pc:sldMk cId="932810777" sldId="2147483475"/>
            <ac:picMk id="5" creationId="{DED94BC9-1D87-6818-65CE-61EA0A430BE3}"/>
          </ac:picMkLst>
        </pc:picChg>
      </pc:sldChg>
      <pc:sldChg chg="add del setBg">
        <pc:chgData name="Luedecke, Andrea (DI PA CM)" userId="d06abc4d-0cfc-4849-aedb-1cba97d781f9" providerId="ADAL" clId="{50196807-5C57-45E4-84F2-494BBD9DAA35}" dt="2024-06-04T10:11:34.253" v="143"/>
        <pc:sldMkLst>
          <pc:docMk/>
          <pc:sldMk cId="1652298491" sldId="2147483475"/>
        </pc:sldMkLst>
      </pc:sldChg>
      <pc:sldChg chg="addSp delSp modSp add mod modTransition modNotesTx">
        <pc:chgData name="Luedecke, Andrea (DI PA CM)" userId="d06abc4d-0cfc-4849-aedb-1cba97d781f9" providerId="ADAL" clId="{50196807-5C57-45E4-84F2-494BBD9DAA35}" dt="2024-06-06T16:44:35.354" v="1531" actId="1036"/>
        <pc:sldMkLst>
          <pc:docMk/>
          <pc:sldMk cId="1703045622" sldId="2147483476"/>
        </pc:sldMkLst>
        <pc:spChg chg="mod">
          <ac:chgData name="Luedecke, Andrea (DI PA CM)" userId="d06abc4d-0cfc-4849-aedb-1cba97d781f9" providerId="ADAL" clId="{50196807-5C57-45E4-84F2-494BBD9DAA35}" dt="2024-06-06T13:20:17.596" v="877" actId="207"/>
          <ac:spMkLst>
            <pc:docMk/>
            <pc:sldMk cId="1703045622" sldId="2147483476"/>
            <ac:spMk id="2" creationId="{3AA9827E-ABA2-70DC-DD8F-5CE1E0EBA945}"/>
          </ac:spMkLst>
        </pc:spChg>
        <pc:spChg chg="del">
          <ac:chgData name="Luedecke, Andrea (DI PA CM)" userId="d06abc4d-0cfc-4849-aedb-1cba97d781f9" providerId="ADAL" clId="{50196807-5C57-45E4-84F2-494BBD9DAA35}" dt="2024-06-06T13:53:38.369" v="1102" actId="478"/>
          <ac:spMkLst>
            <pc:docMk/>
            <pc:sldMk cId="1703045622" sldId="2147483476"/>
            <ac:spMk id="3" creationId="{89A8DAAA-21D4-69DD-733C-A2F80361DCB1}"/>
          </ac:spMkLst>
        </pc:spChg>
        <pc:spChg chg="mod">
          <ac:chgData name="Luedecke, Andrea (DI PA CM)" userId="d06abc4d-0cfc-4849-aedb-1cba97d781f9" providerId="ADAL" clId="{50196807-5C57-45E4-84F2-494BBD9DAA35}" dt="2024-06-06T16:30:06.823" v="1165"/>
          <ac:spMkLst>
            <pc:docMk/>
            <pc:sldMk cId="1703045622" sldId="2147483476"/>
            <ac:spMk id="4" creationId="{830FD194-93E1-B059-E5D6-FC5B5347C82D}"/>
          </ac:spMkLst>
        </pc:spChg>
        <pc:spChg chg="add mod">
          <ac:chgData name="Luedecke, Andrea (DI PA CM)" userId="d06abc4d-0cfc-4849-aedb-1cba97d781f9" providerId="ADAL" clId="{50196807-5C57-45E4-84F2-494BBD9DAA35}" dt="2024-06-06T16:30:06.823" v="1165"/>
          <ac:spMkLst>
            <pc:docMk/>
            <pc:sldMk cId="1703045622" sldId="2147483476"/>
            <ac:spMk id="7" creationId="{8F699804-A6F4-238F-3209-578E5C749EFB}"/>
          </ac:spMkLst>
        </pc:spChg>
        <pc:spChg chg="del">
          <ac:chgData name="Luedecke, Andrea (DI PA CM)" userId="d06abc4d-0cfc-4849-aedb-1cba97d781f9" providerId="ADAL" clId="{50196807-5C57-45E4-84F2-494BBD9DAA35}" dt="2024-06-04T11:22:46.048" v="368" actId="478"/>
          <ac:spMkLst>
            <pc:docMk/>
            <pc:sldMk cId="1703045622" sldId="2147483476"/>
            <ac:spMk id="8" creationId="{1B6FBC9A-1422-0D28-9CB1-63F5204FD4FE}"/>
          </ac:spMkLst>
        </pc:spChg>
        <pc:spChg chg="mod">
          <ac:chgData name="Luedecke, Andrea (DI PA CM)" userId="d06abc4d-0cfc-4849-aedb-1cba97d781f9" providerId="ADAL" clId="{50196807-5C57-45E4-84F2-494BBD9DAA35}" dt="2024-06-04T11:23:16.114" v="376" actId="6549"/>
          <ac:spMkLst>
            <pc:docMk/>
            <pc:sldMk cId="1703045622" sldId="2147483476"/>
            <ac:spMk id="9" creationId="{1192559B-7EB7-469A-BC41-8FE2AC9E39F4}"/>
          </ac:spMkLst>
        </pc:spChg>
        <pc:spChg chg="del">
          <ac:chgData name="Luedecke, Andrea (DI PA CM)" userId="d06abc4d-0cfc-4849-aedb-1cba97d781f9" providerId="ADAL" clId="{50196807-5C57-45E4-84F2-494BBD9DAA35}" dt="2024-06-04T10:45:27.286" v="254" actId="478"/>
          <ac:spMkLst>
            <pc:docMk/>
            <pc:sldMk cId="1703045622" sldId="2147483476"/>
            <ac:spMk id="10" creationId="{C0CF1D99-EB81-9D83-07DE-567AE91C14DC}"/>
          </ac:spMkLst>
        </pc:spChg>
        <pc:spChg chg="del">
          <ac:chgData name="Luedecke, Andrea (DI PA CM)" userId="d06abc4d-0cfc-4849-aedb-1cba97d781f9" providerId="ADAL" clId="{50196807-5C57-45E4-84F2-494BBD9DAA35}" dt="2024-06-04T10:45:27.286" v="254" actId="478"/>
          <ac:spMkLst>
            <pc:docMk/>
            <pc:sldMk cId="1703045622" sldId="2147483476"/>
            <ac:spMk id="11" creationId="{C3B9B201-59F3-FE8D-8AFA-460A03B6677F}"/>
          </ac:spMkLst>
        </pc:spChg>
        <pc:spChg chg="add mod">
          <ac:chgData name="Luedecke, Andrea (DI PA CM)" userId="d06abc4d-0cfc-4849-aedb-1cba97d781f9" providerId="ADAL" clId="{50196807-5C57-45E4-84F2-494BBD9DAA35}" dt="2024-06-04T11:23:45.784" v="388" actId="20577"/>
          <ac:spMkLst>
            <pc:docMk/>
            <pc:sldMk cId="1703045622" sldId="2147483476"/>
            <ac:spMk id="14" creationId="{9B32521C-0B92-C806-2562-76640BF6AEFF}"/>
          </ac:spMkLst>
        </pc:spChg>
        <pc:picChg chg="add mod ord">
          <ac:chgData name="Luedecke, Andrea (DI PA CM)" userId="d06abc4d-0cfc-4849-aedb-1cba97d781f9" providerId="ADAL" clId="{50196807-5C57-45E4-84F2-494BBD9DAA35}" dt="2024-06-06T16:42:09.198" v="1519" actId="554"/>
          <ac:picMkLst>
            <pc:docMk/>
            <pc:sldMk cId="1703045622" sldId="2147483476"/>
            <ac:picMk id="3" creationId="{50162A57-62F0-51A2-C9F9-498728A21C4F}"/>
          </ac:picMkLst>
        </pc:picChg>
        <pc:picChg chg="mod">
          <ac:chgData name="Luedecke, Andrea (DI PA CM)" userId="d06abc4d-0cfc-4849-aedb-1cba97d781f9" providerId="ADAL" clId="{50196807-5C57-45E4-84F2-494BBD9DAA35}" dt="2024-06-06T16:42:42.769" v="1521" actId="1035"/>
          <ac:picMkLst>
            <pc:docMk/>
            <pc:sldMk cId="1703045622" sldId="2147483476"/>
            <ac:picMk id="5" creationId="{5CB66D07-9A31-9BEA-3A53-AA9D2FA302A5}"/>
          </ac:picMkLst>
        </pc:picChg>
        <pc:picChg chg="del">
          <ac:chgData name="Luedecke, Andrea (DI PA CM)" userId="d06abc4d-0cfc-4849-aedb-1cba97d781f9" providerId="ADAL" clId="{50196807-5C57-45E4-84F2-494BBD9DAA35}" dt="2024-06-06T16:40:02.763" v="1512" actId="478"/>
          <ac:picMkLst>
            <pc:docMk/>
            <pc:sldMk cId="1703045622" sldId="2147483476"/>
            <ac:picMk id="6" creationId="{27426BD8-B295-992F-A173-E4C4C4E49AE5}"/>
          </ac:picMkLst>
        </pc:picChg>
        <pc:picChg chg="del">
          <ac:chgData name="Luedecke, Andrea (DI PA CM)" userId="d06abc4d-0cfc-4849-aedb-1cba97d781f9" providerId="ADAL" clId="{50196807-5C57-45E4-84F2-494BBD9DAA35}" dt="2024-06-06T16:41:35.301" v="1515" actId="478"/>
          <ac:picMkLst>
            <pc:docMk/>
            <pc:sldMk cId="1703045622" sldId="2147483476"/>
            <ac:picMk id="8" creationId="{617BBA29-0D47-F3EB-DEC1-3855AEE9507F}"/>
          </ac:picMkLst>
        </pc:picChg>
        <pc:picChg chg="add mod ord">
          <ac:chgData name="Luedecke, Andrea (DI PA CM)" userId="d06abc4d-0cfc-4849-aedb-1cba97d781f9" providerId="ADAL" clId="{50196807-5C57-45E4-84F2-494BBD9DAA35}" dt="2024-06-06T16:44:35.354" v="1531" actId="1036"/>
          <ac:picMkLst>
            <pc:docMk/>
            <pc:sldMk cId="1703045622" sldId="2147483476"/>
            <ac:picMk id="10" creationId="{F8F29A57-8E95-D06E-4B32-3B5DB5BBD882}"/>
          </ac:picMkLst>
        </pc:picChg>
        <pc:picChg chg="add mod modCrop">
          <ac:chgData name="Luedecke, Andrea (DI PA CM)" userId="d06abc4d-0cfc-4849-aedb-1cba97d781f9" providerId="ADAL" clId="{50196807-5C57-45E4-84F2-494BBD9DAA35}" dt="2024-06-04T11:23:03.691" v="373" actId="1076"/>
          <ac:picMkLst>
            <pc:docMk/>
            <pc:sldMk cId="1703045622" sldId="2147483476"/>
            <ac:picMk id="12" creationId="{ABA16B36-1648-3377-2D70-D2232A06A0ED}"/>
          </ac:picMkLst>
        </pc:picChg>
        <pc:picChg chg="mod ord">
          <ac:chgData name="Luedecke, Andrea (DI PA CM)" userId="d06abc4d-0cfc-4849-aedb-1cba97d781f9" providerId="ADAL" clId="{50196807-5C57-45E4-84F2-494BBD9DAA35}" dt="2024-06-06T13:36:24.867" v="1034" actId="166"/>
          <ac:picMkLst>
            <pc:docMk/>
            <pc:sldMk cId="1703045622" sldId="2147483476"/>
            <ac:picMk id="13" creationId="{A5CB54F4-9A69-947B-B98D-375F531ED75B}"/>
          </ac:picMkLst>
        </pc:picChg>
        <pc:picChg chg="mod">
          <ac:chgData name="Luedecke, Andrea (DI PA CM)" userId="d06abc4d-0cfc-4849-aedb-1cba97d781f9" providerId="ADAL" clId="{50196807-5C57-45E4-84F2-494BBD9DAA35}" dt="2024-06-06T16:43:22.740" v="1524" actId="14100"/>
          <ac:picMkLst>
            <pc:docMk/>
            <pc:sldMk cId="1703045622" sldId="2147483476"/>
            <ac:picMk id="1026" creationId="{D178D830-67CC-D8A2-9E0D-C6749B0D7BEF}"/>
          </ac:picMkLst>
        </pc:picChg>
      </pc:sldChg>
      <pc:sldChg chg="modSp add del mod">
        <pc:chgData name="Luedecke, Andrea (DI PA CM)" userId="d06abc4d-0cfc-4849-aedb-1cba97d781f9" providerId="ADAL" clId="{50196807-5C57-45E4-84F2-494BBD9DAA35}" dt="2024-06-04T11:02:56.775" v="344" actId="47"/>
        <pc:sldMkLst>
          <pc:docMk/>
          <pc:sldMk cId="1182470307" sldId="2147483477"/>
        </pc:sldMkLst>
        <pc:spChg chg="mod">
          <ac:chgData name="Luedecke, Andrea (DI PA CM)" userId="d06abc4d-0cfc-4849-aedb-1cba97d781f9" providerId="ADAL" clId="{50196807-5C57-45E4-84F2-494BBD9DAA35}" dt="2024-06-04T11:02:43.287" v="340" actId="6549"/>
          <ac:spMkLst>
            <pc:docMk/>
            <pc:sldMk cId="1182470307" sldId="2147483477"/>
            <ac:spMk id="6" creationId="{B1437859-3C8E-7426-2EA2-41D15A19962E}"/>
          </ac:spMkLst>
        </pc:spChg>
      </pc:sldChg>
      <pc:sldChg chg="add del">
        <pc:chgData name="Luedecke, Andrea (DI PA CM)" userId="d06abc4d-0cfc-4849-aedb-1cba97d781f9" providerId="ADAL" clId="{50196807-5C57-45E4-84F2-494BBD9DAA35}" dt="2024-06-04T11:02:52.407" v="342"/>
        <pc:sldMkLst>
          <pc:docMk/>
          <pc:sldMk cId="1149361947" sldId="2147483478"/>
        </pc:sldMkLst>
      </pc:sldChg>
      <pc:sldChg chg="addSp delSp modSp add del mod modTransition modClrScheme chgLayout">
        <pc:chgData name="Luedecke, Andrea (DI PA CM)" userId="d06abc4d-0cfc-4849-aedb-1cba97d781f9" providerId="ADAL" clId="{50196807-5C57-45E4-84F2-494BBD9DAA35}" dt="2024-06-06T16:33:46.628" v="1347" actId="47"/>
        <pc:sldMkLst>
          <pc:docMk/>
          <pc:sldMk cId="1480016828" sldId="2147483478"/>
        </pc:sldMkLst>
        <pc:spChg chg="del">
          <ac:chgData name="Luedecke, Andrea (DI PA CM)" userId="d06abc4d-0cfc-4849-aedb-1cba97d781f9" providerId="ADAL" clId="{50196807-5C57-45E4-84F2-494BBD9DAA35}" dt="2024-06-04T11:03:18.624" v="349" actId="478"/>
          <ac:spMkLst>
            <pc:docMk/>
            <pc:sldMk cId="1480016828" sldId="2147483478"/>
            <ac:spMk id="2" creationId="{A70DF9B4-81C6-5FED-31BB-445466F234D0}"/>
          </ac:spMkLst>
        </pc:spChg>
        <pc:spChg chg="add del mod">
          <ac:chgData name="Luedecke, Andrea (DI PA CM)" userId="d06abc4d-0cfc-4849-aedb-1cba97d781f9" providerId="ADAL" clId="{50196807-5C57-45E4-84F2-494BBD9DAA35}" dt="2024-06-06T13:57:37.082" v="1147" actId="478"/>
          <ac:spMkLst>
            <pc:docMk/>
            <pc:sldMk cId="1480016828" sldId="2147483478"/>
            <ac:spMk id="2" creationId="{BE93F551-F689-6340-BB4A-A30C3592DAD7}"/>
          </ac:spMkLst>
        </pc:spChg>
        <pc:spChg chg="add del mod">
          <ac:chgData name="Luedecke, Andrea (DI PA CM)" userId="d06abc4d-0cfc-4849-aedb-1cba97d781f9" providerId="ADAL" clId="{50196807-5C57-45E4-84F2-494BBD9DAA35}" dt="2024-06-06T13:57:37.082" v="1147" actId="478"/>
          <ac:spMkLst>
            <pc:docMk/>
            <pc:sldMk cId="1480016828" sldId="2147483478"/>
            <ac:spMk id="3" creationId="{E54B6C31-8AFA-48E8-3C7F-57911F68F43C}"/>
          </ac:spMkLst>
        </pc:spChg>
        <pc:spChg chg="mod ord">
          <ac:chgData name="Luedecke, Andrea (DI PA CM)" userId="d06abc4d-0cfc-4849-aedb-1cba97d781f9" providerId="ADAL" clId="{50196807-5C57-45E4-84F2-494BBD9DAA35}" dt="2024-06-06T13:57:29.250" v="1146" actId="700"/>
          <ac:spMkLst>
            <pc:docMk/>
            <pc:sldMk cId="1480016828" sldId="2147483478"/>
            <ac:spMk id="5" creationId="{7036F4DE-F607-3FB2-01BB-BA54873B34C6}"/>
          </ac:spMkLst>
        </pc:spChg>
        <pc:spChg chg="del mod">
          <ac:chgData name="Luedecke, Andrea (DI PA CM)" userId="d06abc4d-0cfc-4849-aedb-1cba97d781f9" providerId="ADAL" clId="{50196807-5C57-45E4-84F2-494BBD9DAA35}" dt="2024-06-04T11:03:14.615" v="348" actId="478"/>
          <ac:spMkLst>
            <pc:docMk/>
            <pc:sldMk cId="1480016828" sldId="2147483478"/>
            <ac:spMk id="6" creationId="{B1437859-3C8E-7426-2EA2-41D15A19962E}"/>
          </ac:spMkLst>
        </pc:spChg>
      </pc:sldChg>
      <pc:sldChg chg="addSp delSp modSp mod modNotesTx">
        <pc:chgData name="Luedecke, Andrea (DI PA CM)" userId="d06abc4d-0cfc-4849-aedb-1cba97d781f9" providerId="ADAL" clId="{50196807-5C57-45E4-84F2-494BBD9DAA35}" dt="2024-06-06T16:30:06.823" v="1165"/>
        <pc:sldMkLst>
          <pc:docMk/>
          <pc:sldMk cId="2963004598" sldId="2147483480"/>
        </pc:sldMkLst>
        <pc:spChg chg="mod">
          <ac:chgData name="Luedecke, Andrea (DI PA CM)" userId="d06abc4d-0cfc-4849-aedb-1cba97d781f9" providerId="ADAL" clId="{50196807-5C57-45E4-84F2-494BBD9DAA35}" dt="2024-06-06T16:30:06.823" v="1165"/>
          <ac:spMkLst>
            <pc:docMk/>
            <pc:sldMk cId="2963004598" sldId="2147483480"/>
            <ac:spMk id="2" creationId="{783FF78B-2D33-4ED4-94CD-E944C9A9230F}"/>
          </ac:spMkLst>
        </pc:spChg>
        <pc:spChg chg="add mod">
          <ac:chgData name="Luedecke, Andrea (DI PA CM)" userId="d06abc4d-0cfc-4849-aedb-1cba97d781f9" providerId="ADAL" clId="{50196807-5C57-45E4-84F2-494BBD9DAA35}" dt="2024-06-06T16:30:06.823" v="1165"/>
          <ac:spMkLst>
            <pc:docMk/>
            <pc:sldMk cId="2963004598" sldId="2147483480"/>
            <ac:spMk id="4" creationId="{6DBD7091-7025-824B-7A52-B713E197BD44}"/>
          </ac:spMkLst>
        </pc:spChg>
        <pc:spChg chg="mod">
          <ac:chgData name="Luedecke, Andrea (DI PA CM)" userId="d06abc4d-0cfc-4849-aedb-1cba97d781f9" providerId="ADAL" clId="{50196807-5C57-45E4-84F2-494BBD9DAA35}" dt="2024-06-06T16:30:06.823" v="1165"/>
          <ac:spMkLst>
            <pc:docMk/>
            <pc:sldMk cId="2963004598" sldId="2147483480"/>
            <ac:spMk id="5" creationId="{DA7712D8-DDCF-3216-96A3-C160BD7B35D9}"/>
          </ac:spMkLst>
        </pc:spChg>
        <pc:spChg chg="mod">
          <ac:chgData name="Luedecke, Andrea (DI PA CM)" userId="d06abc4d-0cfc-4849-aedb-1cba97d781f9" providerId="ADAL" clId="{50196807-5C57-45E4-84F2-494BBD9DAA35}" dt="2024-06-06T13:33:56.014" v="1033" actId="1036"/>
          <ac:spMkLst>
            <pc:docMk/>
            <pc:sldMk cId="2963004598" sldId="2147483480"/>
            <ac:spMk id="6" creationId="{AFD32138-552C-6DD6-1735-7B708C9F3915}"/>
          </ac:spMkLst>
        </pc:spChg>
        <pc:spChg chg="mod">
          <ac:chgData name="Luedecke, Andrea (DI PA CM)" userId="d06abc4d-0cfc-4849-aedb-1cba97d781f9" providerId="ADAL" clId="{50196807-5C57-45E4-84F2-494BBD9DAA35}" dt="2024-06-06T13:33:56.014" v="1033" actId="1036"/>
          <ac:spMkLst>
            <pc:docMk/>
            <pc:sldMk cId="2963004598" sldId="2147483480"/>
            <ac:spMk id="8" creationId="{D7B53E6D-3456-1B67-848D-5EBEDEEC32DB}"/>
          </ac:spMkLst>
        </pc:spChg>
        <pc:spChg chg="del">
          <ac:chgData name="Luedecke, Andrea (DI PA CM)" userId="d06abc4d-0cfc-4849-aedb-1cba97d781f9" providerId="ADAL" clId="{50196807-5C57-45E4-84F2-494BBD9DAA35}" dt="2024-06-06T13:53:44.793" v="1104" actId="478"/>
          <ac:spMkLst>
            <pc:docMk/>
            <pc:sldMk cId="2963004598" sldId="2147483480"/>
            <ac:spMk id="11" creationId="{36159279-9D6B-B3F7-A44C-4CAFB6C45CDB}"/>
          </ac:spMkLst>
        </pc:spChg>
        <pc:spChg chg="mod">
          <ac:chgData name="Luedecke, Andrea (DI PA CM)" userId="d06abc4d-0cfc-4849-aedb-1cba97d781f9" providerId="ADAL" clId="{50196807-5C57-45E4-84F2-494BBD9DAA35}" dt="2024-06-06T13:31:57.742" v="1014" actId="20577"/>
          <ac:spMkLst>
            <pc:docMk/>
            <pc:sldMk cId="2963004598" sldId="2147483480"/>
            <ac:spMk id="12" creationId="{4E80BC78-C614-7034-C800-4542959C0086}"/>
          </ac:spMkLst>
        </pc:spChg>
      </pc:sldChg>
      <pc:sldChg chg="del">
        <pc:chgData name="Luedecke, Andrea (DI PA CM)" userId="d06abc4d-0cfc-4849-aedb-1cba97d781f9" providerId="ADAL" clId="{50196807-5C57-45E4-84F2-494BBD9DAA35}" dt="2024-06-06T13:15:08.027" v="866" actId="47"/>
        <pc:sldMkLst>
          <pc:docMk/>
          <pc:sldMk cId="4152775923" sldId="2147483481"/>
        </pc:sldMkLst>
      </pc:sldChg>
      <pc:sldChg chg="modSp">
        <pc:chgData name="Luedecke, Andrea (DI PA CM)" userId="d06abc4d-0cfc-4849-aedb-1cba97d781f9" providerId="ADAL" clId="{50196807-5C57-45E4-84F2-494BBD9DAA35}" dt="2024-06-06T16:30:06.823" v="1165"/>
        <pc:sldMkLst>
          <pc:docMk/>
          <pc:sldMk cId="822978218" sldId="2147483482"/>
        </pc:sldMkLst>
        <pc:spChg chg="mod">
          <ac:chgData name="Luedecke, Andrea (DI PA CM)" userId="d06abc4d-0cfc-4849-aedb-1cba97d781f9" providerId="ADAL" clId="{50196807-5C57-45E4-84F2-494BBD9DAA35}" dt="2024-06-06T16:30:06.823" v="1165"/>
          <ac:spMkLst>
            <pc:docMk/>
            <pc:sldMk cId="822978218" sldId="2147483482"/>
            <ac:spMk id="4" creationId="{830FD194-93E1-B059-E5D6-FC5B5347C82D}"/>
          </ac:spMkLst>
        </pc:spChg>
        <pc:spChg chg="mod">
          <ac:chgData name="Luedecke, Andrea (DI PA CM)" userId="d06abc4d-0cfc-4849-aedb-1cba97d781f9" providerId="ADAL" clId="{50196807-5C57-45E4-84F2-494BBD9DAA35}" dt="2024-06-06T16:30:06.823" v="1165"/>
          <ac:spMkLst>
            <pc:docMk/>
            <pc:sldMk cId="822978218" sldId="2147483482"/>
            <ac:spMk id="10" creationId="{8766B277-6BD0-C846-523B-214DD4BF176D}"/>
          </ac:spMkLst>
        </pc:spChg>
      </pc:sldChg>
      <pc:sldChg chg="add del">
        <pc:chgData name="Luedecke, Andrea (DI PA CM)" userId="d06abc4d-0cfc-4849-aedb-1cba97d781f9" providerId="ADAL" clId="{50196807-5C57-45E4-84F2-494BBD9DAA35}" dt="2024-06-06T16:32:52.024" v="1340"/>
        <pc:sldMkLst>
          <pc:docMk/>
          <pc:sldMk cId="2261058500" sldId="2147483483"/>
        </pc:sldMkLst>
      </pc:sldChg>
      <pc:sldChg chg="delSp add mod">
        <pc:chgData name="Luedecke, Andrea (DI PA CM)" userId="d06abc4d-0cfc-4849-aedb-1cba97d781f9" providerId="ADAL" clId="{50196807-5C57-45E4-84F2-494BBD9DAA35}" dt="2024-06-06T16:33:07.326" v="1343" actId="478"/>
        <pc:sldMkLst>
          <pc:docMk/>
          <pc:sldMk cId="2520810460" sldId="2147483483"/>
        </pc:sldMkLst>
        <pc:spChg chg="del">
          <ac:chgData name="Luedecke, Andrea (DI PA CM)" userId="d06abc4d-0cfc-4849-aedb-1cba97d781f9" providerId="ADAL" clId="{50196807-5C57-45E4-84F2-494BBD9DAA35}" dt="2024-06-06T16:33:07.326" v="1343" actId="478"/>
          <ac:spMkLst>
            <pc:docMk/>
            <pc:sldMk cId="2520810460" sldId="2147483483"/>
            <ac:spMk id="2" creationId="{A70DF9B4-81C6-5FED-31BB-445466F234D0}"/>
          </ac:spMkLst>
        </pc:spChg>
      </pc:sldChg>
      <pc:sldMasterChg chg="delSldLayout">
        <pc:chgData name="Luedecke, Andrea (DI PA CM)" userId="d06abc4d-0cfc-4849-aedb-1cba97d781f9" providerId="ADAL" clId="{50196807-5C57-45E4-84F2-494BBD9DAA35}" dt="2024-06-06T16:35:36.014" v="1440" actId="2696"/>
        <pc:sldMasterMkLst>
          <pc:docMk/>
          <pc:sldMasterMk cId="1698585145" sldId="2147483648"/>
        </pc:sldMasterMkLst>
        <pc:sldLayoutChg chg="del">
          <pc:chgData name="Luedecke, Andrea (DI PA CM)" userId="d06abc4d-0cfc-4849-aedb-1cba97d781f9" providerId="ADAL" clId="{50196807-5C57-45E4-84F2-494BBD9DAA35}" dt="2024-06-06T16:35:05.884" v="1364" actId="2696"/>
          <pc:sldLayoutMkLst>
            <pc:docMk/>
            <pc:sldMasterMk cId="1698585145" sldId="2147483648"/>
            <pc:sldLayoutMk cId="1842942607" sldId="2147483650"/>
          </pc:sldLayoutMkLst>
        </pc:sldLayoutChg>
        <pc:sldLayoutChg chg="del">
          <pc:chgData name="Luedecke, Andrea (DI PA CM)" userId="d06abc4d-0cfc-4849-aedb-1cba97d781f9" providerId="ADAL" clId="{50196807-5C57-45E4-84F2-494BBD9DAA35}" dt="2024-06-06T16:35:07.171" v="1369" actId="2696"/>
          <pc:sldLayoutMkLst>
            <pc:docMk/>
            <pc:sldMasterMk cId="1698585145" sldId="2147483648"/>
            <pc:sldLayoutMk cId="408848882" sldId="2147483652"/>
          </pc:sldLayoutMkLst>
        </pc:sldLayoutChg>
        <pc:sldLayoutChg chg="del">
          <pc:chgData name="Luedecke, Andrea (DI PA CM)" userId="d06abc4d-0cfc-4849-aedb-1cba97d781f9" providerId="ADAL" clId="{50196807-5C57-45E4-84F2-494BBD9DAA35}" dt="2024-06-06T16:35:06.071" v="1365" actId="2696"/>
          <pc:sldLayoutMkLst>
            <pc:docMk/>
            <pc:sldMasterMk cId="1698585145" sldId="2147483648"/>
            <pc:sldLayoutMk cId="1907654598" sldId="2147483665"/>
          </pc:sldLayoutMkLst>
        </pc:sldLayoutChg>
        <pc:sldLayoutChg chg="del">
          <pc:chgData name="Luedecke, Andrea (DI PA CM)" userId="d06abc4d-0cfc-4849-aedb-1cba97d781f9" providerId="ADAL" clId="{50196807-5C57-45E4-84F2-494BBD9DAA35}" dt="2024-06-06T16:35:06.288" v="1366" actId="2696"/>
          <pc:sldLayoutMkLst>
            <pc:docMk/>
            <pc:sldMasterMk cId="1698585145" sldId="2147483648"/>
            <pc:sldLayoutMk cId="951439580" sldId="2147483666"/>
          </pc:sldLayoutMkLst>
        </pc:sldLayoutChg>
        <pc:sldLayoutChg chg="del">
          <pc:chgData name="Luedecke, Andrea (DI PA CM)" userId="d06abc4d-0cfc-4849-aedb-1cba97d781f9" providerId="ADAL" clId="{50196807-5C57-45E4-84F2-494BBD9DAA35}" dt="2024-06-06T16:34:57.346" v="1363" actId="2696"/>
          <pc:sldLayoutMkLst>
            <pc:docMk/>
            <pc:sldMasterMk cId="1698585145" sldId="2147483648"/>
            <pc:sldLayoutMk cId="2009199822" sldId="2147483677"/>
          </pc:sldLayoutMkLst>
        </pc:sldLayoutChg>
        <pc:sldLayoutChg chg="del">
          <pc:chgData name="Luedecke, Andrea (DI PA CM)" userId="d06abc4d-0cfc-4849-aedb-1cba97d781f9" providerId="ADAL" clId="{50196807-5C57-45E4-84F2-494BBD9DAA35}" dt="2024-06-06T16:35:07.413" v="1370" actId="2696"/>
          <pc:sldLayoutMkLst>
            <pc:docMk/>
            <pc:sldMasterMk cId="1698585145" sldId="2147483648"/>
            <pc:sldLayoutMk cId="3664610299" sldId="2147483680"/>
          </pc:sldLayoutMkLst>
        </pc:sldLayoutChg>
        <pc:sldLayoutChg chg="del">
          <pc:chgData name="Luedecke, Andrea (DI PA CM)" userId="d06abc4d-0cfc-4849-aedb-1cba97d781f9" providerId="ADAL" clId="{50196807-5C57-45E4-84F2-494BBD9DAA35}" dt="2024-06-06T16:35:07.992" v="1372" actId="2696"/>
          <pc:sldLayoutMkLst>
            <pc:docMk/>
            <pc:sldMasterMk cId="1698585145" sldId="2147483648"/>
            <pc:sldLayoutMk cId="460158245" sldId="2147483687"/>
          </pc:sldLayoutMkLst>
        </pc:sldLayoutChg>
        <pc:sldLayoutChg chg="del">
          <pc:chgData name="Luedecke, Andrea (DI PA CM)" userId="d06abc4d-0cfc-4849-aedb-1cba97d781f9" providerId="ADAL" clId="{50196807-5C57-45E4-84F2-494BBD9DAA35}" dt="2024-06-06T16:35:08.686" v="1374" actId="2696"/>
          <pc:sldLayoutMkLst>
            <pc:docMk/>
            <pc:sldMasterMk cId="1698585145" sldId="2147483648"/>
            <pc:sldLayoutMk cId="2460512140" sldId="2147483690"/>
          </pc:sldLayoutMkLst>
        </pc:sldLayoutChg>
        <pc:sldLayoutChg chg="del">
          <pc:chgData name="Luedecke, Andrea (DI PA CM)" userId="d06abc4d-0cfc-4849-aedb-1cba97d781f9" providerId="ADAL" clId="{50196807-5C57-45E4-84F2-494BBD9DAA35}" dt="2024-06-06T16:35:07.681" v="1371" actId="2696"/>
          <pc:sldLayoutMkLst>
            <pc:docMk/>
            <pc:sldMasterMk cId="1698585145" sldId="2147483648"/>
            <pc:sldLayoutMk cId="2912428891" sldId="2147483694"/>
          </pc:sldLayoutMkLst>
        </pc:sldLayoutChg>
        <pc:sldLayoutChg chg="del">
          <pc:chgData name="Luedecke, Andrea (DI PA CM)" userId="d06abc4d-0cfc-4849-aedb-1cba97d781f9" providerId="ADAL" clId="{50196807-5C57-45E4-84F2-494BBD9DAA35}" dt="2024-06-06T16:35:06.531" v="1367" actId="2696"/>
          <pc:sldLayoutMkLst>
            <pc:docMk/>
            <pc:sldMasterMk cId="1698585145" sldId="2147483648"/>
            <pc:sldLayoutMk cId="448910675" sldId="2147483697"/>
          </pc:sldLayoutMkLst>
        </pc:sldLayoutChg>
        <pc:sldLayoutChg chg="del">
          <pc:chgData name="Luedecke, Andrea (DI PA CM)" userId="d06abc4d-0cfc-4849-aedb-1cba97d781f9" providerId="ADAL" clId="{50196807-5C57-45E4-84F2-494BBD9DAA35}" dt="2024-06-06T16:35:06.880" v="1368" actId="2696"/>
          <pc:sldLayoutMkLst>
            <pc:docMk/>
            <pc:sldMasterMk cId="1698585145" sldId="2147483648"/>
            <pc:sldLayoutMk cId="2503860774" sldId="2147483698"/>
          </pc:sldLayoutMkLst>
        </pc:sldLayoutChg>
        <pc:sldLayoutChg chg="del">
          <pc:chgData name="Luedecke, Andrea (DI PA CM)" userId="d06abc4d-0cfc-4849-aedb-1cba97d781f9" providerId="ADAL" clId="{50196807-5C57-45E4-84F2-494BBD9DAA35}" dt="2024-06-06T16:34:49.678" v="1352" actId="2696"/>
          <pc:sldLayoutMkLst>
            <pc:docMk/>
            <pc:sldMasterMk cId="1698585145" sldId="2147483648"/>
            <pc:sldLayoutMk cId="2026250594" sldId="2147483717"/>
          </pc:sldLayoutMkLst>
        </pc:sldLayoutChg>
        <pc:sldLayoutChg chg="del">
          <pc:chgData name="Luedecke, Andrea (DI PA CM)" userId="d06abc4d-0cfc-4849-aedb-1cba97d781f9" providerId="ADAL" clId="{50196807-5C57-45E4-84F2-494BBD9DAA35}" dt="2024-06-06T16:34:50.403" v="1353" actId="2696"/>
          <pc:sldLayoutMkLst>
            <pc:docMk/>
            <pc:sldMasterMk cId="1698585145" sldId="2147483648"/>
            <pc:sldLayoutMk cId="1273117948" sldId="2147483719"/>
          </pc:sldLayoutMkLst>
        </pc:sldLayoutChg>
        <pc:sldLayoutChg chg="del">
          <pc:chgData name="Luedecke, Andrea (DI PA CM)" userId="d06abc4d-0cfc-4849-aedb-1cba97d781f9" providerId="ADAL" clId="{50196807-5C57-45E4-84F2-494BBD9DAA35}" dt="2024-06-06T16:34:50.989" v="1354" actId="2696"/>
          <pc:sldLayoutMkLst>
            <pc:docMk/>
            <pc:sldMasterMk cId="1698585145" sldId="2147483648"/>
            <pc:sldLayoutMk cId="2024961563" sldId="2147483720"/>
          </pc:sldLayoutMkLst>
        </pc:sldLayoutChg>
        <pc:sldLayoutChg chg="del">
          <pc:chgData name="Luedecke, Andrea (DI PA CM)" userId="d06abc4d-0cfc-4849-aedb-1cba97d781f9" providerId="ADAL" clId="{50196807-5C57-45E4-84F2-494BBD9DAA35}" dt="2024-06-06T16:34:51.754" v="1355" actId="2696"/>
          <pc:sldLayoutMkLst>
            <pc:docMk/>
            <pc:sldMasterMk cId="1698585145" sldId="2147483648"/>
            <pc:sldLayoutMk cId="4099078185" sldId="2147483724"/>
          </pc:sldLayoutMkLst>
        </pc:sldLayoutChg>
        <pc:sldLayoutChg chg="del">
          <pc:chgData name="Luedecke, Andrea (DI PA CM)" userId="d06abc4d-0cfc-4849-aedb-1cba97d781f9" providerId="ADAL" clId="{50196807-5C57-45E4-84F2-494BBD9DAA35}" dt="2024-06-06T16:34:52.301" v="1356" actId="2696"/>
          <pc:sldLayoutMkLst>
            <pc:docMk/>
            <pc:sldMasterMk cId="1698585145" sldId="2147483648"/>
            <pc:sldLayoutMk cId="1218475109" sldId="2147483725"/>
          </pc:sldLayoutMkLst>
        </pc:sldLayoutChg>
        <pc:sldLayoutChg chg="del">
          <pc:chgData name="Luedecke, Andrea (DI PA CM)" userId="d06abc4d-0cfc-4849-aedb-1cba97d781f9" providerId="ADAL" clId="{50196807-5C57-45E4-84F2-494BBD9DAA35}" dt="2024-06-06T16:34:52.951" v="1357" actId="2696"/>
          <pc:sldLayoutMkLst>
            <pc:docMk/>
            <pc:sldMasterMk cId="1698585145" sldId="2147483648"/>
            <pc:sldLayoutMk cId="1999428441" sldId="2147483726"/>
          </pc:sldLayoutMkLst>
        </pc:sldLayoutChg>
        <pc:sldLayoutChg chg="del">
          <pc:chgData name="Luedecke, Andrea (DI PA CM)" userId="d06abc4d-0cfc-4849-aedb-1cba97d781f9" providerId="ADAL" clId="{50196807-5C57-45E4-84F2-494BBD9DAA35}" dt="2024-06-06T16:34:55.303" v="1360" actId="2696"/>
          <pc:sldLayoutMkLst>
            <pc:docMk/>
            <pc:sldMasterMk cId="1698585145" sldId="2147483648"/>
            <pc:sldLayoutMk cId="4042990506" sldId="2147483736"/>
          </pc:sldLayoutMkLst>
        </pc:sldLayoutChg>
        <pc:sldLayoutChg chg="del">
          <pc:chgData name="Luedecke, Andrea (DI PA CM)" userId="d06abc4d-0cfc-4849-aedb-1cba97d781f9" providerId="ADAL" clId="{50196807-5C57-45E4-84F2-494BBD9DAA35}" dt="2024-06-06T16:34:56.053" v="1361" actId="2696"/>
          <pc:sldLayoutMkLst>
            <pc:docMk/>
            <pc:sldMasterMk cId="1698585145" sldId="2147483648"/>
            <pc:sldLayoutMk cId="2294859123" sldId="2147483737"/>
          </pc:sldLayoutMkLst>
        </pc:sldLayoutChg>
        <pc:sldLayoutChg chg="del">
          <pc:chgData name="Luedecke, Andrea (DI PA CM)" userId="d06abc4d-0cfc-4849-aedb-1cba97d781f9" providerId="ADAL" clId="{50196807-5C57-45E4-84F2-494BBD9DAA35}" dt="2024-06-06T16:34:56.653" v="1362" actId="2696"/>
          <pc:sldLayoutMkLst>
            <pc:docMk/>
            <pc:sldMasterMk cId="1698585145" sldId="2147483648"/>
            <pc:sldLayoutMk cId="416322106" sldId="2147483738"/>
          </pc:sldLayoutMkLst>
        </pc:sldLayoutChg>
        <pc:sldLayoutChg chg="del">
          <pc:chgData name="Luedecke, Andrea (DI PA CM)" userId="d06abc4d-0cfc-4849-aedb-1cba97d781f9" providerId="ADAL" clId="{50196807-5C57-45E4-84F2-494BBD9DAA35}" dt="2024-06-06T16:35:08.425" v="1373" actId="2696"/>
          <pc:sldLayoutMkLst>
            <pc:docMk/>
            <pc:sldMasterMk cId="1698585145" sldId="2147483648"/>
            <pc:sldLayoutMk cId="295234246" sldId="2147483749"/>
          </pc:sldLayoutMkLst>
        </pc:sldLayoutChg>
        <pc:sldLayoutChg chg="del">
          <pc:chgData name="Luedecke, Andrea (DI PA CM)" userId="d06abc4d-0cfc-4849-aedb-1cba97d781f9" providerId="ADAL" clId="{50196807-5C57-45E4-84F2-494BBD9DAA35}" dt="2024-06-06T16:34:53.932" v="1358" actId="2696"/>
          <pc:sldLayoutMkLst>
            <pc:docMk/>
            <pc:sldMasterMk cId="1698585145" sldId="2147483648"/>
            <pc:sldLayoutMk cId="2460372163" sldId="2147483750"/>
          </pc:sldLayoutMkLst>
        </pc:sldLayoutChg>
        <pc:sldLayoutChg chg="del">
          <pc:chgData name="Luedecke, Andrea (DI PA CM)" userId="d06abc4d-0cfc-4849-aedb-1cba97d781f9" providerId="ADAL" clId="{50196807-5C57-45E4-84F2-494BBD9DAA35}" dt="2024-06-06T16:34:54.545" v="1359" actId="2696"/>
          <pc:sldLayoutMkLst>
            <pc:docMk/>
            <pc:sldMasterMk cId="1698585145" sldId="2147483648"/>
            <pc:sldLayoutMk cId="2183010999" sldId="2147483751"/>
          </pc:sldLayoutMkLst>
        </pc:sldLayoutChg>
        <pc:sldLayoutChg chg="del">
          <pc:chgData name="Luedecke, Andrea (DI PA CM)" userId="d06abc4d-0cfc-4849-aedb-1cba97d781f9" providerId="ADAL" clId="{50196807-5C57-45E4-84F2-494BBD9DAA35}" dt="2024-06-06T16:34:49.098" v="1351" actId="2696"/>
          <pc:sldLayoutMkLst>
            <pc:docMk/>
            <pc:sldMasterMk cId="1698585145" sldId="2147483648"/>
            <pc:sldLayoutMk cId="2744717459" sldId="2147483752"/>
          </pc:sldLayoutMkLst>
        </pc:sldLayoutChg>
        <pc:sldLayoutChg chg="del">
          <pc:chgData name="Luedecke, Andrea (DI PA CM)" userId="d06abc4d-0cfc-4849-aedb-1cba97d781f9" providerId="ADAL" clId="{50196807-5C57-45E4-84F2-494BBD9DAA35}" dt="2024-06-06T16:35:34.932" v="1437" actId="2696"/>
          <pc:sldLayoutMkLst>
            <pc:docMk/>
            <pc:sldMasterMk cId="1698585145" sldId="2147483648"/>
            <pc:sldLayoutMk cId="3064867223" sldId="2147484900"/>
          </pc:sldLayoutMkLst>
        </pc:sldLayoutChg>
        <pc:sldLayoutChg chg="del">
          <pc:chgData name="Luedecke, Andrea (DI PA CM)" userId="d06abc4d-0cfc-4849-aedb-1cba97d781f9" providerId="ADAL" clId="{50196807-5C57-45E4-84F2-494BBD9DAA35}" dt="2024-06-06T16:35:35.234" v="1438" actId="2696"/>
          <pc:sldLayoutMkLst>
            <pc:docMk/>
            <pc:sldMasterMk cId="1698585145" sldId="2147483648"/>
            <pc:sldLayoutMk cId="718537359" sldId="2147484901"/>
          </pc:sldLayoutMkLst>
        </pc:sldLayoutChg>
        <pc:sldLayoutChg chg="del">
          <pc:chgData name="Luedecke, Andrea (DI PA CM)" userId="d06abc4d-0cfc-4849-aedb-1cba97d781f9" providerId="ADAL" clId="{50196807-5C57-45E4-84F2-494BBD9DAA35}" dt="2024-06-06T16:35:35.736" v="1439" actId="2696"/>
          <pc:sldLayoutMkLst>
            <pc:docMk/>
            <pc:sldMasterMk cId="1698585145" sldId="2147483648"/>
            <pc:sldLayoutMk cId="3301085837" sldId="2147484902"/>
          </pc:sldLayoutMkLst>
        </pc:sldLayoutChg>
        <pc:sldLayoutChg chg="del">
          <pc:chgData name="Luedecke, Andrea (DI PA CM)" userId="d06abc4d-0cfc-4849-aedb-1cba97d781f9" providerId="ADAL" clId="{50196807-5C57-45E4-84F2-494BBD9DAA35}" dt="2024-06-06T16:35:36.014" v="1440" actId="2696"/>
          <pc:sldLayoutMkLst>
            <pc:docMk/>
            <pc:sldMasterMk cId="1698585145" sldId="2147483648"/>
            <pc:sldLayoutMk cId="1560100930" sldId="2147484903"/>
          </pc:sldLayoutMkLst>
        </pc:sldLayoutChg>
        <pc:sldLayoutChg chg="del">
          <pc:chgData name="Luedecke, Andrea (DI PA CM)" userId="d06abc4d-0cfc-4849-aedb-1cba97d781f9" providerId="ADAL" clId="{50196807-5C57-45E4-84F2-494BBD9DAA35}" dt="2024-06-06T16:35:17.767" v="1375" actId="2696"/>
          <pc:sldLayoutMkLst>
            <pc:docMk/>
            <pc:sldMasterMk cId="1698585145" sldId="2147483648"/>
            <pc:sldLayoutMk cId="619841696" sldId="2147484904"/>
          </pc:sldLayoutMkLst>
        </pc:sldLayoutChg>
        <pc:sldLayoutChg chg="del">
          <pc:chgData name="Luedecke, Andrea (DI PA CM)" userId="d06abc4d-0cfc-4849-aedb-1cba97d781f9" providerId="ADAL" clId="{50196807-5C57-45E4-84F2-494BBD9DAA35}" dt="2024-06-06T16:35:17.973" v="1376" actId="2696"/>
          <pc:sldLayoutMkLst>
            <pc:docMk/>
            <pc:sldMasterMk cId="1698585145" sldId="2147483648"/>
            <pc:sldLayoutMk cId="2779195694" sldId="2147484905"/>
          </pc:sldLayoutMkLst>
        </pc:sldLayoutChg>
        <pc:sldLayoutChg chg="del">
          <pc:chgData name="Luedecke, Andrea (DI PA CM)" userId="d06abc4d-0cfc-4849-aedb-1cba97d781f9" providerId="ADAL" clId="{50196807-5C57-45E4-84F2-494BBD9DAA35}" dt="2024-06-06T16:35:18.492" v="1377" actId="2696"/>
          <pc:sldLayoutMkLst>
            <pc:docMk/>
            <pc:sldMasterMk cId="1698585145" sldId="2147483648"/>
            <pc:sldLayoutMk cId="784303056" sldId="2147484906"/>
          </pc:sldLayoutMkLst>
        </pc:sldLayoutChg>
        <pc:sldLayoutChg chg="del">
          <pc:chgData name="Luedecke, Andrea (DI PA CM)" userId="d06abc4d-0cfc-4849-aedb-1cba97d781f9" providerId="ADAL" clId="{50196807-5C57-45E4-84F2-494BBD9DAA35}" dt="2024-06-06T16:35:18.530" v="1378" actId="2696"/>
          <pc:sldLayoutMkLst>
            <pc:docMk/>
            <pc:sldMasterMk cId="1698585145" sldId="2147483648"/>
            <pc:sldLayoutMk cId="3421860546" sldId="2147484907"/>
          </pc:sldLayoutMkLst>
        </pc:sldLayoutChg>
        <pc:sldLayoutChg chg="del">
          <pc:chgData name="Luedecke, Andrea (DI PA CM)" userId="d06abc4d-0cfc-4849-aedb-1cba97d781f9" providerId="ADAL" clId="{50196807-5C57-45E4-84F2-494BBD9DAA35}" dt="2024-06-06T16:35:18.729" v="1379" actId="2696"/>
          <pc:sldLayoutMkLst>
            <pc:docMk/>
            <pc:sldMasterMk cId="1698585145" sldId="2147483648"/>
            <pc:sldLayoutMk cId="3741444866" sldId="2147484908"/>
          </pc:sldLayoutMkLst>
        </pc:sldLayoutChg>
        <pc:sldLayoutChg chg="del">
          <pc:chgData name="Luedecke, Andrea (DI PA CM)" userId="d06abc4d-0cfc-4849-aedb-1cba97d781f9" providerId="ADAL" clId="{50196807-5C57-45E4-84F2-494BBD9DAA35}" dt="2024-06-06T16:35:19.395" v="1380" actId="2696"/>
          <pc:sldLayoutMkLst>
            <pc:docMk/>
            <pc:sldMasterMk cId="1698585145" sldId="2147483648"/>
            <pc:sldLayoutMk cId="886354282" sldId="2147484909"/>
          </pc:sldLayoutMkLst>
        </pc:sldLayoutChg>
        <pc:sldLayoutChg chg="del">
          <pc:chgData name="Luedecke, Andrea (DI PA CM)" userId="d06abc4d-0cfc-4849-aedb-1cba97d781f9" providerId="ADAL" clId="{50196807-5C57-45E4-84F2-494BBD9DAA35}" dt="2024-06-06T16:35:19.441" v="1381" actId="2696"/>
          <pc:sldLayoutMkLst>
            <pc:docMk/>
            <pc:sldMasterMk cId="1698585145" sldId="2147483648"/>
            <pc:sldLayoutMk cId="1935183358" sldId="2147484910"/>
          </pc:sldLayoutMkLst>
        </pc:sldLayoutChg>
        <pc:sldLayoutChg chg="del">
          <pc:chgData name="Luedecke, Andrea (DI PA CM)" userId="d06abc4d-0cfc-4849-aedb-1cba97d781f9" providerId="ADAL" clId="{50196807-5C57-45E4-84F2-494BBD9DAA35}" dt="2024-06-06T16:35:19.489" v="1382" actId="2696"/>
          <pc:sldLayoutMkLst>
            <pc:docMk/>
            <pc:sldMasterMk cId="1698585145" sldId="2147483648"/>
            <pc:sldLayoutMk cId="1709073854" sldId="2147484911"/>
          </pc:sldLayoutMkLst>
        </pc:sldLayoutChg>
        <pc:sldLayoutChg chg="del">
          <pc:chgData name="Luedecke, Andrea (DI PA CM)" userId="d06abc4d-0cfc-4849-aedb-1cba97d781f9" providerId="ADAL" clId="{50196807-5C57-45E4-84F2-494BBD9DAA35}" dt="2024-06-06T16:35:19.568" v="1383" actId="2696"/>
          <pc:sldLayoutMkLst>
            <pc:docMk/>
            <pc:sldMasterMk cId="1698585145" sldId="2147483648"/>
            <pc:sldLayoutMk cId="3447682143" sldId="2147484912"/>
          </pc:sldLayoutMkLst>
        </pc:sldLayoutChg>
        <pc:sldLayoutChg chg="del">
          <pc:chgData name="Luedecke, Andrea (DI PA CM)" userId="d06abc4d-0cfc-4849-aedb-1cba97d781f9" providerId="ADAL" clId="{50196807-5C57-45E4-84F2-494BBD9DAA35}" dt="2024-06-06T16:35:19.985" v="1384" actId="2696"/>
          <pc:sldLayoutMkLst>
            <pc:docMk/>
            <pc:sldMasterMk cId="1698585145" sldId="2147483648"/>
            <pc:sldLayoutMk cId="3498530838" sldId="2147484913"/>
          </pc:sldLayoutMkLst>
        </pc:sldLayoutChg>
        <pc:sldLayoutChg chg="del">
          <pc:chgData name="Luedecke, Andrea (DI PA CM)" userId="d06abc4d-0cfc-4849-aedb-1cba97d781f9" providerId="ADAL" clId="{50196807-5C57-45E4-84F2-494BBD9DAA35}" dt="2024-06-06T16:35:20.032" v="1385" actId="2696"/>
          <pc:sldLayoutMkLst>
            <pc:docMk/>
            <pc:sldMasterMk cId="1698585145" sldId="2147483648"/>
            <pc:sldLayoutMk cId="3675317769" sldId="2147484914"/>
          </pc:sldLayoutMkLst>
        </pc:sldLayoutChg>
        <pc:sldLayoutChg chg="del">
          <pc:chgData name="Luedecke, Andrea (DI PA CM)" userId="d06abc4d-0cfc-4849-aedb-1cba97d781f9" providerId="ADAL" clId="{50196807-5C57-45E4-84F2-494BBD9DAA35}" dt="2024-06-06T16:35:20.418" v="1386" actId="2696"/>
          <pc:sldLayoutMkLst>
            <pc:docMk/>
            <pc:sldMasterMk cId="1698585145" sldId="2147483648"/>
            <pc:sldLayoutMk cId="2127952635" sldId="2147484915"/>
          </pc:sldLayoutMkLst>
        </pc:sldLayoutChg>
        <pc:sldLayoutChg chg="del">
          <pc:chgData name="Luedecke, Andrea (DI PA CM)" userId="d06abc4d-0cfc-4849-aedb-1cba97d781f9" providerId="ADAL" clId="{50196807-5C57-45E4-84F2-494BBD9DAA35}" dt="2024-06-06T16:35:20.466" v="1387" actId="2696"/>
          <pc:sldLayoutMkLst>
            <pc:docMk/>
            <pc:sldMasterMk cId="1698585145" sldId="2147483648"/>
            <pc:sldLayoutMk cId="1386502012" sldId="2147484916"/>
          </pc:sldLayoutMkLst>
        </pc:sldLayoutChg>
        <pc:sldLayoutChg chg="del">
          <pc:chgData name="Luedecke, Andrea (DI PA CM)" userId="d06abc4d-0cfc-4849-aedb-1cba97d781f9" providerId="ADAL" clId="{50196807-5C57-45E4-84F2-494BBD9DAA35}" dt="2024-06-06T16:35:20.692" v="1388" actId="2696"/>
          <pc:sldLayoutMkLst>
            <pc:docMk/>
            <pc:sldMasterMk cId="1698585145" sldId="2147483648"/>
            <pc:sldLayoutMk cId="1705764120" sldId="2147484917"/>
          </pc:sldLayoutMkLst>
        </pc:sldLayoutChg>
        <pc:sldLayoutChg chg="del">
          <pc:chgData name="Luedecke, Andrea (DI PA CM)" userId="d06abc4d-0cfc-4849-aedb-1cba97d781f9" providerId="ADAL" clId="{50196807-5C57-45E4-84F2-494BBD9DAA35}" dt="2024-06-06T16:35:21.076" v="1389" actId="2696"/>
          <pc:sldLayoutMkLst>
            <pc:docMk/>
            <pc:sldMasterMk cId="1698585145" sldId="2147483648"/>
            <pc:sldLayoutMk cId="2214184301" sldId="2147484918"/>
          </pc:sldLayoutMkLst>
        </pc:sldLayoutChg>
        <pc:sldLayoutChg chg="del">
          <pc:chgData name="Luedecke, Andrea (DI PA CM)" userId="d06abc4d-0cfc-4849-aedb-1cba97d781f9" providerId="ADAL" clId="{50196807-5C57-45E4-84F2-494BBD9DAA35}" dt="2024-06-06T16:35:21.167" v="1390" actId="2696"/>
          <pc:sldLayoutMkLst>
            <pc:docMk/>
            <pc:sldMasterMk cId="1698585145" sldId="2147483648"/>
            <pc:sldLayoutMk cId="3013305772" sldId="2147484919"/>
          </pc:sldLayoutMkLst>
        </pc:sldLayoutChg>
        <pc:sldLayoutChg chg="del">
          <pc:chgData name="Luedecke, Andrea (DI PA CM)" userId="d06abc4d-0cfc-4849-aedb-1cba97d781f9" providerId="ADAL" clId="{50196807-5C57-45E4-84F2-494BBD9DAA35}" dt="2024-06-06T16:35:21.400" v="1391" actId="2696"/>
          <pc:sldLayoutMkLst>
            <pc:docMk/>
            <pc:sldMasterMk cId="1698585145" sldId="2147483648"/>
            <pc:sldLayoutMk cId="439856845" sldId="2147484920"/>
          </pc:sldLayoutMkLst>
        </pc:sldLayoutChg>
        <pc:sldLayoutChg chg="del">
          <pc:chgData name="Luedecke, Andrea (DI PA CM)" userId="d06abc4d-0cfc-4849-aedb-1cba97d781f9" providerId="ADAL" clId="{50196807-5C57-45E4-84F2-494BBD9DAA35}" dt="2024-06-06T16:35:22.002" v="1392" actId="2696"/>
          <pc:sldLayoutMkLst>
            <pc:docMk/>
            <pc:sldMasterMk cId="1698585145" sldId="2147483648"/>
            <pc:sldLayoutMk cId="4248333759" sldId="2147484921"/>
          </pc:sldLayoutMkLst>
        </pc:sldLayoutChg>
        <pc:sldLayoutChg chg="del">
          <pc:chgData name="Luedecke, Andrea (DI PA CM)" userId="d06abc4d-0cfc-4849-aedb-1cba97d781f9" providerId="ADAL" clId="{50196807-5C57-45E4-84F2-494BBD9DAA35}" dt="2024-06-06T16:35:22.043" v="1393" actId="2696"/>
          <pc:sldLayoutMkLst>
            <pc:docMk/>
            <pc:sldMasterMk cId="1698585145" sldId="2147483648"/>
            <pc:sldLayoutMk cId="2647709178" sldId="2147484922"/>
          </pc:sldLayoutMkLst>
        </pc:sldLayoutChg>
        <pc:sldLayoutChg chg="del">
          <pc:chgData name="Luedecke, Andrea (DI PA CM)" userId="d06abc4d-0cfc-4849-aedb-1cba97d781f9" providerId="ADAL" clId="{50196807-5C57-45E4-84F2-494BBD9DAA35}" dt="2024-06-06T16:35:22.081" v="1394" actId="2696"/>
          <pc:sldLayoutMkLst>
            <pc:docMk/>
            <pc:sldMasterMk cId="1698585145" sldId="2147483648"/>
            <pc:sldLayoutMk cId="818065304" sldId="2147484923"/>
          </pc:sldLayoutMkLst>
        </pc:sldLayoutChg>
        <pc:sldLayoutChg chg="del">
          <pc:chgData name="Luedecke, Andrea (DI PA CM)" userId="d06abc4d-0cfc-4849-aedb-1cba97d781f9" providerId="ADAL" clId="{50196807-5C57-45E4-84F2-494BBD9DAA35}" dt="2024-06-06T16:35:22.758" v="1395" actId="2696"/>
          <pc:sldLayoutMkLst>
            <pc:docMk/>
            <pc:sldMasterMk cId="1698585145" sldId="2147483648"/>
            <pc:sldLayoutMk cId="256374306" sldId="2147484924"/>
          </pc:sldLayoutMkLst>
        </pc:sldLayoutChg>
        <pc:sldLayoutChg chg="del">
          <pc:chgData name="Luedecke, Andrea (DI PA CM)" userId="d06abc4d-0cfc-4849-aedb-1cba97d781f9" providerId="ADAL" clId="{50196807-5C57-45E4-84F2-494BBD9DAA35}" dt="2024-06-06T16:35:22.798" v="1396" actId="2696"/>
          <pc:sldLayoutMkLst>
            <pc:docMk/>
            <pc:sldMasterMk cId="1698585145" sldId="2147483648"/>
            <pc:sldLayoutMk cId="3068710613" sldId="2147484925"/>
          </pc:sldLayoutMkLst>
        </pc:sldLayoutChg>
        <pc:sldLayoutChg chg="del">
          <pc:chgData name="Luedecke, Andrea (DI PA CM)" userId="d06abc4d-0cfc-4849-aedb-1cba97d781f9" providerId="ADAL" clId="{50196807-5C57-45E4-84F2-494BBD9DAA35}" dt="2024-06-06T16:35:22.896" v="1397" actId="2696"/>
          <pc:sldLayoutMkLst>
            <pc:docMk/>
            <pc:sldMasterMk cId="1698585145" sldId="2147483648"/>
            <pc:sldLayoutMk cId="2862191132" sldId="2147484926"/>
          </pc:sldLayoutMkLst>
        </pc:sldLayoutChg>
        <pc:sldLayoutChg chg="del">
          <pc:chgData name="Luedecke, Andrea (DI PA CM)" userId="d06abc4d-0cfc-4849-aedb-1cba97d781f9" providerId="ADAL" clId="{50196807-5C57-45E4-84F2-494BBD9DAA35}" dt="2024-06-06T16:35:23.129" v="1398" actId="2696"/>
          <pc:sldLayoutMkLst>
            <pc:docMk/>
            <pc:sldMasterMk cId="1698585145" sldId="2147483648"/>
            <pc:sldLayoutMk cId="895164540" sldId="2147484927"/>
          </pc:sldLayoutMkLst>
        </pc:sldLayoutChg>
        <pc:sldLayoutChg chg="del">
          <pc:chgData name="Luedecke, Andrea (DI PA CM)" userId="d06abc4d-0cfc-4849-aedb-1cba97d781f9" providerId="ADAL" clId="{50196807-5C57-45E4-84F2-494BBD9DAA35}" dt="2024-06-06T16:35:23.481" v="1399" actId="2696"/>
          <pc:sldLayoutMkLst>
            <pc:docMk/>
            <pc:sldMasterMk cId="1698585145" sldId="2147483648"/>
            <pc:sldLayoutMk cId="1374393508" sldId="2147484928"/>
          </pc:sldLayoutMkLst>
        </pc:sldLayoutChg>
        <pc:sldLayoutChg chg="del">
          <pc:chgData name="Luedecke, Andrea (DI PA CM)" userId="d06abc4d-0cfc-4849-aedb-1cba97d781f9" providerId="ADAL" clId="{50196807-5C57-45E4-84F2-494BBD9DAA35}" dt="2024-06-06T16:35:23.728" v="1400" actId="2696"/>
          <pc:sldLayoutMkLst>
            <pc:docMk/>
            <pc:sldMasterMk cId="1698585145" sldId="2147483648"/>
            <pc:sldLayoutMk cId="1983019686" sldId="2147484929"/>
          </pc:sldLayoutMkLst>
        </pc:sldLayoutChg>
        <pc:sldLayoutChg chg="del">
          <pc:chgData name="Luedecke, Andrea (DI PA CM)" userId="d06abc4d-0cfc-4849-aedb-1cba97d781f9" providerId="ADAL" clId="{50196807-5C57-45E4-84F2-494BBD9DAA35}" dt="2024-06-06T16:35:23.936" v="1401" actId="2696"/>
          <pc:sldLayoutMkLst>
            <pc:docMk/>
            <pc:sldMasterMk cId="1698585145" sldId="2147483648"/>
            <pc:sldLayoutMk cId="615008174" sldId="2147484930"/>
          </pc:sldLayoutMkLst>
        </pc:sldLayoutChg>
        <pc:sldLayoutChg chg="del">
          <pc:chgData name="Luedecke, Andrea (DI PA CM)" userId="d06abc4d-0cfc-4849-aedb-1cba97d781f9" providerId="ADAL" clId="{50196807-5C57-45E4-84F2-494BBD9DAA35}" dt="2024-06-06T16:35:24.167" v="1402" actId="2696"/>
          <pc:sldLayoutMkLst>
            <pc:docMk/>
            <pc:sldMasterMk cId="1698585145" sldId="2147483648"/>
            <pc:sldLayoutMk cId="3397948802" sldId="2147484931"/>
          </pc:sldLayoutMkLst>
        </pc:sldLayoutChg>
        <pc:sldLayoutChg chg="del">
          <pc:chgData name="Luedecke, Andrea (DI PA CM)" userId="d06abc4d-0cfc-4849-aedb-1cba97d781f9" providerId="ADAL" clId="{50196807-5C57-45E4-84F2-494BBD9DAA35}" dt="2024-06-06T16:35:24.405" v="1403" actId="2696"/>
          <pc:sldLayoutMkLst>
            <pc:docMk/>
            <pc:sldMasterMk cId="1698585145" sldId="2147483648"/>
            <pc:sldLayoutMk cId="1458933150" sldId="2147484932"/>
          </pc:sldLayoutMkLst>
        </pc:sldLayoutChg>
        <pc:sldLayoutChg chg="del">
          <pc:chgData name="Luedecke, Andrea (DI PA CM)" userId="d06abc4d-0cfc-4849-aedb-1cba97d781f9" providerId="ADAL" clId="{50196807-5C57-45E4-84F2-494BBD9DAA35}" dt="2024-06-06T16:35:24.636" v="1404" actId="2696"/>
          <pc:sldLayoutMkLst>
            <pc:docMk/>
            <pc:sldMasterMk cId="1698585145" sldId="2147483648"/>
            <pc:sldLayoutMk cId="3349682191" sldId="2147484933"/>
          </pc:sldLayoutMkLst>
        </pc:sldLayoutChg>
        <pc:sldLayoutChg chg="del">
          <pc:chgData name="Luedecke, Andrea (DI PA CM)" userId="d06abc4d-0cfc-4849-aedb-1cba97d781f9" providerId="ADAL" clId="{50196807-5C57-45E4-84F2-494BBD9DAA35}" dt="2024-06-06T16:35:24.810" v="1405" actId="2696"/>
          <pc:sldLayoutMkLst>
            <pc:docMk/>
            <pc:sldMasterMk cId="1698585145" sldId="2147483648"/>
            <pc:sldLayoutMk cId="1233933426" sldId="2147484934"/>
          </pc:sldLayoutMkLst>
        </pc:sldLayoutChg>
        <pc:sldLayoutChg chg="del">
          <pc:chgData name="Luedecke, Andrea (DI PA CM)" userId="d06abc4d-0cfc-4849-aedb-1cba97d781f9" providerId="ADAL" clId="{50196807-5C57-45E4-84F2-494BBD9DAA35}" dt="2024-06-06T16:35:25.116" v="1406" actId="2696"/>
          <pc:sldLayoutMkLst>
            <pc:docMk/>
            <pc:sldMasterMk cId="1698585145" sldId="2147483648"/>
            <pc:sldLayoutMk cId="3013239161" sldId="2147484935"/>
          </pc:sldLayoutMkLst>
        </pc:sldLayoutChg>
        <pc:sldLayoutChg chg="del">
          <pc:chgData name="Luedecke, Andrea (DI PA CM)" userId="d06abc4d-0cfc-4849-aedb-1cba97d781f9" providerId="ADAL" clId="{50196807-5C57-45E4-84F2-494BBD9DAA35}" dt="2024-06-06T16:35:25.335" v="1407" actId="2696"/>
          <pc:sldLayoutMkLst>
            <pc:docMk/>
            <pc:sldMasterMk cId="1698585145" sldId="2147483648"/>
            <pc:sldLayoutMk cId="611768618" sldId="2147484936"/>
          </pc:sldLayoutMkLst>
        </pc:sldLayoutChg>
        <pc:sldLayoutChg chg="del">
          <pc:chgData name="Luedecke, Andrea (DI PA CM)" userId="d06abc4d-0cfc-4849-aedb-1cba97d781f9" providerId="ADAL" clId="{50196807-5C57-45E4-84F2-494BBD9DAA35}" dt="2024-06-06T16:35:25.564" v="1408" actId="2696"/>
          <pc:sldLayoutMkLst>
            <pc:docMk/>
            <pc:sldMasterMk cId="1698585145" sldId="2147483648"/>
            <pc:sldLayoutMk cId="1804368180" sldId="2147484937"/>
          </pc:sldLayoutMkLst>
        </pc:sldLayoutChg>
        <pc:sldLayoutChg chg="del">
          <pc:chgData name="Luedecke, Andrea (DI PA CM)" userId="d06abc4d-0cfc-4849-aedb-1cba97d781f9" providerId="ADAL" clId="{50196807-5C57-45E4-84F2-494BBD9DAA35}" dt="2024-06-06T16:35:25.816" v="1409" actId="2696"/>
          <pc:sldLayoutMkLst>
            <pc:docMk/>
            <pc:sldMasterMk cId="1698585145" sldId="2147483648"/>
            <pc:sldLayoutMk cId="3343652476" sldId="2147484938"/>
          </pc:sldLayoutMkLst>
        </pc:sldLayoutChg>
        <pc:sldLayoutChg chg="del">
          <pc:chgData name="Luedecke, Andrea (DI PA CM)" userId="d06abc4d-0cfc-4849-aedb-1cba97d781f9" providerId="ADAL" clId="{50196807-5C57-45E4-84F2-494BBD9DAA35}" dt="2024-06-06T16:35:26.110" v="1410" actId="2696"/>
          <pc:sldLayoutMkLst>
            <pc:docMk/>
            <pc:sldMasterMk cId="1698585145" sldId="2147483648"/>
            <pc:sldLayoutMk cId="3704873205" sldId="2147484939"/>
          </pc:sldLayoutMkLst>
        </pc:sldLayoutChg>
        <pc:sldLayoutChg chg="del">
          <pc:chgData name="Luedecke, Andrea (DI PA CM)" userId="d06abc4d-0cfc-4849-aedb-1cba97d781f9" providerId="ADAL" clId="{50196807-5C57-45E4-84F2-494BBD9DAA35}" dt="2024-06-06T16:35:26.535" v="1411" actId="2696"/>
          <pc:sldLayoutMkLst>
            <pc:docMk/>
            <pc:sldMasterMk cId="1698585145" sldId="2147483648"/>
            <pc:sldLayoutMk cId="1161317490" sldId="2147484940"/>
          </pc:sldLayoutMkLst>
        </pc:sldLayoutChg>
        <pc:sldLayoutChg chg="del">
          <pc:chgData name="Luedecke, Andrea (DI PA CM)" userId="d06abc4d-0cfc-4849-aedb-1cba97d781f9" providerId="ADAL" clId="{50196807-5C57-45E4-84F2-494BBD9DAA35}" dt="2024-06-06T16:35:26.781" v="1412" actId="2696"/>
          <pc:sldLayoutMkLst>
            <pc:docMk/>
            <pc:sldMasterMk cId="1698585145" sldId="2147483648"/>
            <pc:sldLayoutMk cId="3815604533" sldId="2147484941"/>
          </pc:sldLayoutMkLst>
        </pc:sldLayoutChg>
        <pc:sldLayoutChg chg="del">
          <pc:chgData name="Luedecke, Andrea (DI PA CM)" userId="d06abc4d-0cfc-4849-aedb-1cba97d781f9" providerId="ADAL" clId="{50196807-5C57-45E4-84F2-494BBD9DAA35}" dt="2024-06-06T16:35:26.998" v="1413" actId="2696"/>
          <pc:sldLayoutMkLst>
            <pc:docMk/>
            <pc:sldMasterMk cId="1698585145" sldId="2147483648"/>
            <pc:sldLayoutMk cId="1203192251" sldId="2147484942"/>
          </pc:sldLayoutMkLst>
        </pc:sldLayoutChg>
        <pc:sldLayoutChg chg="del">
          <pc:chgData name="Luedecke, Andrea (DI PA CM)" userId="d06abc4d-0cfc-4849-aedb-1cba97d781f9" providerId="ADAL" clId="{50196807-5C57-45E4-84F2-494BBD9DAA35}" dt="2024-06-06T16:35:27.285" v="1414" actId="2696"/>
          <pc:sldLayoutMkLst>
            <pc:docMk/>
            <pc:sldMasterMk cId="1698585145" sldId="2147483648"/>
            <pc:sldLayoutMk cId="2808133052" sldId="2147484943"/>
          </pc:sldLayoutMkLst>
        </pc:sldLayoutChg>
        <pc:sldLayoutChg chg="del">
          <pc:chgData name="Luedecke, Andrea (DI PA CM)" userId="d06abc4d-0cfc-4849-aedb-1cba97d781f9" providerId="ADAL" clId="{50196807-5C57-45E4-84F2-494BBD9DAA35}" dt="2024-06-06T16:35:27.556" v="1415" actId="2696"/>
          <pc:sldLayoutMkLst>
            <pc:docMk/>
            <pc:sldMasterMk cId="1698585145" sldId="2147483648"/>
            <pc:sldLayoutMk cId="960084684" sldId="2147484944"/>
          </pc:sldLayoutMkLst>
        </pc:sldLayoutChg>
        <pc:sldLayoutChg chg="del">
          <pc:chgData name="Luedecke, Andrea (DI PA CM)" userId="d06abc4d-0cfc-4849-aedb-1cba97d781f9" providerId="ADAL" clId="{50196807-5C57-45E4-84F2-494BBD9DAA35}" dt="2024-06-06T16:35:27.736" v="1416" actId="2696"/>
          <pc:sldLayoutMkLst>
            <pc:docMk/>
            <pc:sldMasterMk cId="1698585145" sldId="2147483648"/>
            <pc:sldLayoutMk cId="2848082377" sldId="2147484945"/>
          </pc:sldLayoutMkLst>
        </pc:sldLayoutChg>
        <pc:sldLayoutChg chg="del">
          <pc:chgData name="Luedecke, Andrea (DI PA CM)" userId="d06abc4d-0cfc-4849-aedb-1cba97d781f9" providerId="ADAL" clId="{50196807-5C57-45E4-84F2-494BBD9DAA35}" dt="2024-06-06T16:35:27.935" v="1417" actId="2696"/>
          <pc:sldLayoutMkLst>
            <pc:docMk/>
            <pc:sldMasterMk cId="1698585145" sldId="2147483648"/>
            <pc:sldLayoutMk cId="3008767315" sldId="2147484946"/>
          </pc:sldLayoutMkLst>
        </pc:sldLayoutChg>
        <pc:sldLayoutChg chg="del">
          <pc:chgData name="Luedecke, Andrea (DI PA CM)" userId="d06abc4d-0cfc-4849-aedb-1cba97d781f9" providerId="ADAL" clId="{50196807-5C57-45E4-84F2-494BBD9DAA35}" dt="2024-06-06T16:35:28.091" v="1418" actId="2696"/>
          <pc:sldLayoutMkLst>
            <pc:docMk/>
            <pc:sldMasterMk cId="1698585145" sldId="2147483648"/>
            <pc:sldLayoutMk cId="1994260402" sldId="2147484947"/>
          </pc:sldLayoutMkLst>
        </pc:sldLayoutChg>
        <pc:sldLayoutChg chg="del">
          <pc:chgData name="Luedecke, Andrea (DI PA CM)" userId="d06abc4d-0cfc-4849-aedb-1cba97d781f9" providerId="ADAL" clId="{50196807-5C57-45E4-84F2-494BBD9DAA35}" dt="2024-06-06T16:35:28.345" v="1419" actId="2696"/>
          <pc:sldLayoutMkLst>
            <pc:docMk/>
            <pc:sldMasterMk cId="1698585145" sldId="2147483648"/>
            <pc:sldLayoutMk cId="1079512360" sldId="2147484948"/>
          </pc:sldLayoutMkLst>
        </pc:sldLayoutChg>
        <pc:sldLayoutChg chg="del">
          <pc:chgData name="Luedecke, Andrea (DI PA CM)" userId="d06abc4d-0cfc-4849-aedb-1cba97d781f9" providerId="ADAL" clId="{50196807-5C57-45E4-84F2-494BBD9DAA35}" dt="2024-06-06T16:35:28.564" v="1420" actId="2696"/>
          <pc:sldLayoutMkLst>
            <pc:docMk/>
            <pc:sldMasterMk cId="1698585145" sldId="2147483648"/>
            <pc:sldLayoutMk cId="3059185515" sldId="2147484949"/>
          </pc:sldLayoutMkLst>
        </pc:sldLayoutChg>
        <pc:sldLayoutChg chg="del">
          <pc:chgData name="Luedecke, Andrea (DI PA CM)" userId="d06abc4d-0cfc-4849-aedb-1cba97d781f9" providerId="ADAL" clId="{50196807-5C57-45E4-84F2-494BBD9DAA35}" dt="2024-06-06T16:35:28.831" v="1421" actId="2696"/>
          <pc:sldLayoutMkLst>
            <pc:docMk/>
            <pc:sldMasterMk cId="1698585145" sldId="2147483648"/>
            <pc:sldLayoutMk cId="313102635" sldId="2147484950"/>
          </pc:sldLayoutMkLst>
        </pc:sldLayoutChg>
        <pc:sldLayoutChg chg="del">
          <pc:chgData name="Luedecke, Andrea (DI PA CM)" userId="d06abc4d-0cfc-4849-aedb-1cba97d781f9" providerId="ADAL" clId="{50196807-5C57-45E4-84F2-494BBD9DAA35}" dt="2024-06-06T16:35:29.049" v="1422" actId="2696"/>
          <pc:sldLayoutMkLst>
            <pc:docMk/>
            <pc:sldMasterMk cId="1698585145" sldId="2147483648"/>
            <pc:sldLayoutMk cId="989280737" sldId="2147484951"/>
          </pc:sldLayoutMkLst>
        </pc:sldLayoutChg>
        <pc:sldLayoutChg chg="del">
          <pc:chgData name="Luedecke, Andrea (DI PA CM)" userId="d06abc4d-0cfc-4849-aedb-1cba97d781f9" providerId="ADAL" clId="{50196807-5C57-45E4-84F2-494BBD9DAA35}" dt="2024-06-06T16:35:29.258" v="1423" actId="2696"/>
          <pc:sldLayoutMkLst>
            <pc:docMk/>
            <pc:sldMasterMk cId="1698585145" sldId="2147483648"/>
            <pc:sldLayoutMk cId="1831826230" sldId="2147484952"/>
          </pc:sldLayoutMkLst>
        </pc:sldLayoutChg>
        <pc:sldLayoutChg chg="del">
          <pc:chgData name="Luedecke, Andrea (DI PA CM)" userId="d06abc4d-0cfc-4849-aedb-1cba97d781f9" providerId="ADAL" clId="{50196807-5C57-45E4-84F2-494BBD9DAA35}" dt="2024-06-06T16:35:29.431" v="1424" actId="2696"/>
          <pc:sldLayoutMkLst>
            <pc:docMk/>
            <pc:sldMasterMk cId="1698585145" sldId="2147483648"/>
            <pc:sldLayoutMk cId="2240259446" sldId="2147484953"/>
          </pc:sldLayoutMkLst>
        </pc:sldLayoutChg>
        <pc:sldLayoutChg chg="del">
          <pc:chgData name="Luedecke, Andrea (DI PA CM)" userId="d06abc4d-0cfc-4849-aedb-1cba97d781f9" providerId="ADAL" clId="{50196807-5C57-45E4-84F2-494BBD9DAA35}" dt="2024-06-06T16:35:29.590" v="1425" actId="2696"/>
          <pc:sldLayoutMkLst>
            <pc:docMk/>
            <pc:sldMasterMk cId="1698585145" sldId="2147483648"/>
            <pc:sldLayoutMk cId="3015101872" sldId="2147484954"/>
          </pc:sldLayoutMkLst>
        </pc:sldLayoutChg>
        <pc:sldLayoutChg chg="del">
          <pc:chgData name="Luedecke, Andrea (DI PA CM)" userId="d06abc4d-0cfc-4849-aedb-1cba97d781f9" providerId="ADAL" clId="{50196807-5C57-45E4-84F2-494BBD9DAA35}" dt="2024-06-06T16:35:29.780" v="1426" actId="2696"/>
          <pc:sldLayoutMkLst>
            <pc:docMk/>
            <pc:sldMasterMk cId="1698585145" sldId="2147483648"/>
            <pc:sldLayoutMk cId="811120305" sldId="2147484955"/>
          </pc:sldLayoutMkLst>
        </pc:sldLayoutChg>
        <pc:sldLayoutChg chg="del">
          <pc:chgData name="Luedecke, Andrea (DI PA CM)" userId="d06abc4d-0cfc-4849-aedb-1cba97d781f9" providerId="ADAL" clId="{50196807-5C57-45E4-84F2-494BBD9DAA35}" dt="2024-06-06T16:35:29.978" v="1427" actId="2696"/>
          <pc:sldLayoutMkLst>
            <pc:docMk/>
            <pc:sldMasterMk cId="1698585145" sldId="2147483648"/>
            <pc:sldLayoutMk cId="4212349114" sldId="2147484956"/>
          </pc:sldLayoutMkLst>
        </pc:sldLayoutChg>
        <pc:sldLayoutChg chg="del">
          <pc:chgData name="Luedecke, Andrea (DI PA CM)" userId="d06abc4d-0cfc-4849-aedb-1cba97d781f9" providerId="ADAL" clId="{50196807-5C57-45E4-84F2-494BBD9DAA35}" dt="2024-06-06T16:35:30.160" v="1428" actId="2696"/>
          <pc:sldLayoutMkLst>
            <pc:docMk/>
            <pc:sldMasterMk cId="1698585145" sldId="2147483648"/>
            <pc:sldLayoutMk cId="419898193" sldId="2147484957"/>
          </pc:sldLayoutMkLst>
        </pc:sldLayoutChg>
        <pc:sldLayoutChg chg="del">
          <pc:chgData name="Luedecke, Andrea (DI PA CM)" userId="d06abc4d-0cfc-4849-aedb-1cba97d781f9" providerId="ADAL" clId="{50196807-5C57-45E4-84F2-494BBD9DAA35}" dt="2024-06-06T16:35:30.345" v="1429" actId="2696"/>
          <pc:sldLayoutMkLst>
            <pc:docMk/>
            <pc:sldMasterMk cId="1698585145" sldId="2147483648"/>
            <pc:sldLayoutMk cId="359334692" sldId="2147484958"/>
          </pc:sldLayoutMkLst>
        </pc:sldLayoutChg>
        <pc:sldLayoutChg chg="del">
          <pc:chgData name="Luedecke, Andrea (DI PA CM)" userId="d06abc4d-0cfc-4849-aedb-1cba97d781f9" providerId="ADAL" clId="{50196807-5C57-45E4-84F2-494BBD9DAA35}" dt="2024-06-06T16:35:30.483" v="1430" actId="2696"/>
          <pc:sldLayoutMkLst>
            <pc:docMk/>
            <pc:sldMasterMk cId="1698585145" sldId="2147483648"/>
            <pc:sldLayoutMk cId="1451333549" sldId="2147484959"/>
          </pc:sldLayoutMkLst>
        </pc:sldLayoutChg>
        <pc:sldLayoutChg chg="del">
          <pc:chgData name="Luedecke, Andrea (DI PA CM)" userId="d06abc4d-0cfc-4849-aedb-1cba97d781f9" providerId="ADAL" clId="{50196807-5C57-45E4-84F2-494BBD9DAA35}" dt="2024-06-06T16:35:30.649" v="1431" actId="2696"/>
          <pc:sldLayoutMkLst>
            <pc:docMk/>
            <pc:sldMasterMk cId="1698585145" sldId="2147483648"/>
            <pc:sldLayoutMk cId="2872471966" sldId="2147484960"/>
          </pc:sldLayoutMkLst>
        </pc:sldLayoutChg>
        <pc:sldLayoutChg chg="del">
          <pc:chgData name="Luedecke, Andrea (DI PA CM)" userId="d06abc4d-0cfc-4849-aedb-1cba97d781f9" providerId="ADAL" clId="{50196807-5C57-45E4-84F2-494BBD9DAA35}" dt="2024-06-06T16:35:30.833" v="1432" actId="2696"/>
          <pc:sldLayoutMkLst>
            <pc:docMk/>
            <pc:sldMasterMk cId="1698585145" sldId="2147483648"/>
            <pc:sldLayoutMk cId="2984352073" sldId="2147484961"/>
          </pc:sldLayoutMkLst>
        </pc:sldLayoutChg>
        <pc:sldLayoutChg chg="del">
          <pc:chgData name="Luedecke, Andrea (DI PA CM)" userId="d06abc4d-0cfc-4849-aedb-1cba97d781f9" providerId="ADAL" clId="{50196807-5C57-45E4-84F2-494BBD9DAA35}" dt="2024-06-06T16:35:30.965" v="1433" actId="2696"/>
          <pc:sldLayoutMkLst>
            <pc:docMk/>
            <pc:sldMasterMk cId="1698585145" sldId="2147483648"/>
            <pc:sldLayoutMk cId="4083556255" sldId="2147484962"/>
          </pc:sldLayoutMkLst>
        </pc:sldLayoutChg>
        <pc:sldLayoutChg chg="del">
          <pc:chgData name="Luedecke, Andrea (DI PA CM)" userId="d06abc4d-0cfc-4849-aedb-1cba97d781f9" providerId="ADAL" clId="{50196807-5C57-45E4-84F2-494BBD9DAA35}" dt="2024-06-06T16:35:31.166" v="1434" actId="2696"/>
          <pc:sldLayoutMkLst>
            <pc:docMk/>
            <pc:sldMasterMk cId="1698585145" sldId="2147483648"/>
            <pc:sldLayoutMk cId="638810331" sldId="2147484963"/>
          </pc:sldLayoutMkLst>
        </pc:sldLayoutChg>
        <pc:sldLayoutChg chg="del">
          <pc:chgData name="Luedecke, Andrea (DI PA CM)" userId="d06abc4d-0cfc-4849-aedb-1cba97d781f9" providerId="ADAL" clId="{50196807-5C57-45E4-84F2-494BBD9DAA35}" dt="2024-06-06T16:35:31.376" v="1435" actId="2696"/>
          <pc:sldLayoutMkLst>
            <pc:docMk/>
            <pc:sldMasterMk cId="1698585145" sldId="2147483648"/>
            <pc:sldLayoutMk cId="543565863" sldId="2147484964"/>
          </pc:sldLayoutMkLst>
        </pc:sldLayoutChg>
        <pc:sldLayoutChg chg="del">
          <pc:chgData name="Luedecke, Andrea (DI PA CM)" userId="d06abc4d-0cfc-4849-aedb-1cba97d781f9" providerId="ADAL" clId="{50196807-5C57-45E4-84F2-494BBD9DAA35}" dt="2024-06-06T16:35:31.582" v="1436" actId="2696"/>
          <pc:sldLayoutMkLst>
            <pc:docMk/>
            <pc:sldMasterMk cId="1698585145" sldId="2147483648"/>
            <pc:sldLayoutMk cId="2725093758" sldId="2147484965"/>
          </pc:sldLayoutMkLst>
        </pc:sldLayoutChg>
        <pc:sldLayoutChg chg="del">
          <pc:chgData name="Luedecke, Andrea (DI PA CM)" userId="d06abc4d-0cfc-4849-aedb-1cba97d781f9" providerId="ADAL" clId="{50196807-5C57-45E4-84F2-494BBD9DAA35}" dt="2024-06-06T16:30:40.613" v="1308" actId="2696"/>
          <pc:sldLayoutMkLst>
            <pc:docMk/>
            <pc:sldMasterMk cId="1698585145" sldId="2147483648"/>
            <pc:sldLayoutMk cId="3595811050" sldId="2147484966"/>
          </pc:sldLayoutMkLst>
        </pc:sldLayoutChg>
        <pc:sldLayoutChg chg="del">
          <pc:chgData name="Luedecke, Andrea (DI PA CM)" userId="d06abc4d-0cfc-4849-aedb-1cba97d781f9" providerId="ADAL" clId="{50196807-5C57-45E4-84F2-494BBD9DAA35}" dt="2024-06-04T10:19:44.842" v="245" actId="47"/>
          <pc:sldLayoutMkLst>
            <pc:docMk/>
            <pc:sldMasterMk cId="1698585145" sldId="2147483648"/>
            <pc:sldLayoutMk cId="461058400" sldId="2147485359"/>
          </pc:sldLayoutMkLst>
        </pc:sldLayoutChg>
      </pc:sldMasterChg>
      <pc:sldMasterChg chg="delSldLayout">
        <pc:chgData name="Luedecke, Andrea (DI PA CM)" userId="d06abc4d-0cfc-4849-aedb-1cba97d781f9" providerId="ADAL" clId="{50196807-5C57-45E4-84F2-494BBD9DAA35}" dt="2024-06-04T10:41:48.665" v="247" actId="47"/>
        <pc:sldMasterMkLst>
          <pc:docMk/>
          <pc:sldMasterMk cId="1794147464" sldId="2147484896"/>
        </pc:sldMasterMkLst>
        <pc:sldLayoutChg chg="del">
          <pc:chgData name="Luedecke, Andrea (DI PA CM)" userId="d06abc4d-0cfc-4849-aedb-1cba97d781f9" providerId="ADAL" clId="{50196807-5C57-45E4-84F2-494BBD9DAA35}" dt="2024-06-04T10:41:48.665" v="247" actId="47"/>
          <pc:sldLayoutMkLst>
            <pc:docMk/>
            <pc:sldMasterMk cId="1794147464" sldId="2147484896"/>
            <pc:sldLayoutMk cId="1796090892" sldId="2147484967"/>
          </pc:sldLayoutMkLst>
        </pc:sldLayoutChg>
        <pc:sldLayoutChg chg="del">
          <pc:chgData name="Luedecke, Andrea (DI PA CM)" userId="d06abc4d-0cfc-4849-aedb-1cba97d781f9" providerId="ADAL" clId="{50196807-5C57-45E4-84F2-494BBD9DAA35}" dt="2024-06-04T10:03:19.906" v="35" actId="47"/>
          <pc:sldLayoutMkLst>
            <pc:docMk/>
            <pc:sldMasterMk cId="1794147464" sldId="2147484896"/>
            <pc:sldLayoutMk cId="39755736" sldId="2147485361"/>
          </pc:sldLayoutMkLst>
        </pc:sldLayoutChg>
      </pc:sldMasterChg>
      <pc:sldMasterChg chg="del delSldLayout">
        <pc:chgData name="Luedecke, Andrea (DI PA CM)" userId="d06abc4d-0cfc-4849-aedb-1cba97d781f9" providerId="ADAL" clId="{50196807-5C57-45E4-84F2-494BBD9DAA35}" dt="2024-06-06T16:30:27.807" v="1197" actId="2696"/>
        <pc:sldMasterMkLst>
          <pc:docMk/>
          <pc:sldMasterMk cId="3700487201" sldId="2147484968"/>
        </pc:sldMasterMkLst>
        <pc:sldLayoutChg chg="del">
          <pc:chgData name="Luedecke, Andrea (DI PA CM)" userId="d06abc4d-0cfc-4849-aedb-1cba97d781f9" providerId="ADAL" clId="{50196807-5C57-45E4-84F2-494BBD9DAA35}" dt="2024-06-06T16:30:26.674" v="1166" actId="2696"/>
          <pc:sldLayoutMkLst>
            <pc:docMk/>
            <pc:sldMasterMk cId="3700487201" sldId="2147484968"/>
            <pc:sldLayoutMk cId="3749072483" sldId="2147484969"/>
          </pc:sldLayoutMkLst>
        </pc:sldLayoutChg>
        <pc:sldLayoutChg chg="del">
          <pc:chgData name="Luedecke, Andrea (DI PA CM)" userId="d06abc4d-0cfc-4849-aedb-1cba97d781f9" providerId="ADAL" clId="{50196807-5C57-45E4-84F2-494BBD9DAA35}" dt="2024-06-06T16:30:26.747" v="1167" actId="2696"/>
          <pc:sldLayoutMkLst>
            <pc:docMk/>
            <pc:sldMasterMk cId="3700487201" sldId="2147484968"/>
            <pc:sldLayoutMk cId="811934948" sldId="2147484970"/>
          </pc:sldLayoutMkLst>
        </pc:sldLayoutChg>
        <pc:sldLayoutChg chg="del">
          <pc:chgData name="Luedecke, Andrea (DI PA CM)" userId="d06abc4d-0cfc-4849-aedb-1cba97d781f9" providerId="ADAL" clId="{50196807-5C57-45E4-84F2-494BBD9DAA35}" dt="2024-06-06T16:30:26.800" v="1168" actId="2696"/>
          <pc:sldLayoutMkLst>
            <pc:docMk/>
            <pc:sldMasterMk cId="3700487201" sldId="2147484968"/>
            <pc:sldLayoutMk cId="2727812056" sldId="2147484971"/>
          </pc:sldLayoutMkLst>
        </pc:sldLayoutChg>
        <pc:sldLayoutChg chg="del">
          <pc:chgData name="Luedecke, Andrea (DI PA CM)" userId="d06abc4d-0cfc-4849-aedb-1cba97d781f9" providerId="ADAL" clId="{50196807-5C57-45E4-84F2-494BBD9DAA35}" dt="2024-06-06T16:30:26.871" v="1169" actId="2696"/>
          <pc:sldLayoutMkLst>
            <pc:docMk/>
            <pc:sldMasterMk cId="3700487201" sldId="2147484968"/>
            <pc:sldLayoutMk cId="115186620" sldId="2147484972"/>
          </pc:sldLayoutMkLst>
        </pc:sldLayoutChg>
        <pc:sldLayoutChg chg="del">
          <pc:chgData name="Luedecke, Andrea (DI PA CM)" userId="d06abc4d-0cfc-4849-aedb-1cba97d781f9" providerId="ADAL" clId="{50196807-5C57-45E4-84F2-494BBD9DAA35}" dt="2024-06-06T16:30:26.923" v="1170" actId="2696"/>
          <pc:sldLayoutMkLst>
            <pc:docMk/>
            <pc:sldMasterMk cId="3700487201" sldId="2147484968"/>
            <pc:sldLayoutMk cId="3580790012" sldId="2147484973"/>
          </pc:sldLayoutMkLst>
        </pc:sldLayoutChg>
        <pc:sldLayoutChg chg="del">
          <pc:chgData name="Luedecke, Andrea (DI PA CM)" userId="d06abc4d-0cfc-4849-aedb-1cba97d781f9" providerId="ADAL" clId="{50196807-5C57-45E4-84F2-494BBD9DAA35}" dt="2024-06-06T16:30:27.030" v="1171" actId="2696"/>
          <pc:sldLayoutMkLst>
            <pc:docMk/>
            <pc:sldMasterMk cId="3700487201" sldId="2147484968"/>
            <pc:sldLayoutMk cId="657221141" sldId="2147484974"/>
          </pc:sldLayoutMkLst>
        </pc:sldLayoutChg>
        <pc:sldLayoutChg chg="del">
          <pc:chgData name="Luedecke, Andrea (DI PA CM)" userId="d06abc4d-0cfc-4849-aedb-1cba97d781f9" providerId="ADAL" clId="{50196807-5C57-45E4-84F2-494BBD9DAA35}" dt="2024-06-06T16:30:27.071" v="1172" actId="2696"/>
          <pc:sldLayoutMkLst>
            <pc:docMk/>
            <pc:sldMasterMk cId="3700487201" sldId="2147484968"/>
            <pc:sldLayoutMk cId="1334422467" sldId="2147484975"/>
          </pc:sldLayoutMkLst>
        </pc:sldLayoutChg>
        <pc:sldLayoutChg chg="del">
          <pc:chgData name="Luedecke, Andrea (DI PA CM)" userId="d06abc4d-0cfc-4849-aedb-1cba97d781f9" providerId="ADAL" clId="{50196807-5C57-45E4-84F2-494BBD9DAA35}" dt="2024-06-06T16:30:27.108" v="1173" actId="2696"/>
          <pc:sldLayoutMkLst>
            <pc:docMk/>
            <pc:sldMasterMk cId="3700487201" sldId="2147484968"/>
            <pc:sldLayoutMk cId="99690541" sldId="2147484976"/>
          </pc:sldLayoutMkLst>
        </pc:sldLayoutChg>
        <pc:sldLayoutChg chg="del">
          <pc:chgData name="Luedecke, Andrea (DI PA CM)" userId="d06abc4d-0cfc-4849-aedb-1cba97d781f9" providerId="ADAL" clId="{50196807-5C57-45E4-84F2-494BBD9DAA35}" dt="2024-06-06T16:30:27.137" v="1174" actId="2696"/>
          <pc:sldLayoutMkLst>
            <pc:docMk/>
            <pc:sldMasterMk cId="3700487201" sldId="2147484968"/>
            <pc:sldLayoutMk cId="843750402" sldId="2147484977"/>
          </pc:sldLayoutMkLst>
        </pc:sldLayoutChg>
        <pc:sldLayoutChg chg="del">
          <pc:chgData name="Luedecke, Andrea (DI PA CM)" userId="d06abc4d-0cfc-4849-aedb-1cba97d781f9" providerId="ADAL" clId="{50196807-5C57-45E4-84F2-494BBD9DAA35}" dt="2024-06-06T16:30:27.149" v="1175" actId="2696"/>
          <pc:sldLayoutMkLst>
            <pc:docMk/>
            <pc:sldMasterMk cId="3700487201" sldId="2147484968"/>
            <pc:sldLayoutMk cId="2727503775" sldId="2147484978"/>
          </pc:sldLayoutMkLst>
        </pc:sldLayoutChg>
        <pc:sldLayoutChg chg="del">
          <pc:chgData name="Luedecke, Andrea (DI PA CM)" userId="d06abc4d-0cfc-4849-aedb-1cba97d781f9" providerId="ADAL" clId="{50196807-5C57-45E4-84F2-494BBD9DAA35}" dt="2024-06-06T16:30:27.179" v="1176" actId="2696"/>
          <pc:sldLayoutMkLst>
            <pc:docMk/>
            <pc:sldMasterMk cId="3700487201" sldId="2147484968"/>
            <pc:sldLayoutMk cId="1228818423" sldId="2147484979"/>
          </pc:sldLayoutMkLst>
        </pc:sldLayoutChg>
        <pc:sldLayoutChg chg="del">
          <pc:chgData name="Luedecke, Andrea (DI PA CM)" userId="d06abc4d-0cfc-4849-aedb-1cba97d781f9" providerId="ADAL" clId="{50196807-5C57-45E4-84F2-494BBD9DAA35}" dt="2024-06-06T16:30:27.208" v="1177" actId="2696"/>
          <pc:sldLayoutMkLst>
            <pc:docMk/>
            <pc:sldMasterMk cId="3700487201" sldId="2147484968"/>
            <pc:sldLayoutMk cId="3536191475" sldId="2147484980"/>
          </pc:sldLayoutMkLst>
        </pc:sldLayoutChg>
        <pc:sldLayoutChg chg="del">
          <pc:chgData name="Luedecke, Andrea (DI PA CM)" userId="d06abc4d-0cfc-4849-aedb-1cba97d781f9" providerId="ADAL" clId="{50196807-5C57-45E4-84F2-494BBD9DAA35}" dt="2024-06-06T16:30:27.237" v="1178" actId="2696"/>
          <pc:sldLayoutMkLst>
            <pc:docMk/>
            <pc:sldMasterMk cId="3700487201" sldId="2147484968"/>
            <pc:sldLayoutMk cId="3433815096" sldId="2147484981"/>
          </pc:sldLayoutMkLst>
        </pc:sldLayoutChg>
        <pc:sldLayoutChg chg="del">
          <pc:chgData name="Luedecke, Andrea (DI PA CM)" userId="d06abc4d-0cfc-4849-aedb-1cba97d781f9" providerId="ADAL" clId="{50196807-5C57-45E4-84F2-494BBD9DAA35}" dt="2024-06-06T16:30:27.265" v="1179" actId="2696"/>
          <pc:sldLayoutMkLst>
            <pc:docMk/>
            <pc:sldMasterMk cId="3700487201" sldId="2147484968"/>
            <pc:sldLayoutMk cId="806150628" sldId="2147484982"/>
          </pc:sldLayoutMkLst>
        </pc:sldLayoutChg>
        <pc:sldLayoutChg chg="del">
          <pc:chgData name="Luedecke, Andrea (DI PA CM)" userId="d06abc4d-0cfc-4849-aedb-1cba97d781f9" providerId="ADAL" clId="{50196807-5C57-45E4-84F2-494BBD9DAA35}" dt="2024-06-06T16:30:27.295" v="1180" actId="2696"/>
          <pc:sldLayoutMkLst>
            <pc:docMk/>
            <pc:sldMasterMk cId="3700487201" sldId="2147484968"/>
            <pc:sldLayoutMk cId="3188109111" sldId="2147484983"/>
          </pc:sldLayoutMkLst>
        </pc:sldLayoutChg>
        <pc:sldLayoutChg chg="del">
          <pc:chgData name="Luedecke, Andrea (DI PA CM)" userId="d06abc4d-0cfc-4849-aedb-1cba97d781f9" providerId="ADAL" clId="{50196807-5C57-45E4-84F2-494BBD9DAA35}" dt="2024-06-06T16:30:27.327" v="1181" actId="2696"/>
          <pc:sldLayoutMkLst>
            <pc:docMk/>
            <pc:sldMasterMk cId="3700487201" sldId="2147484968"/>
            <pc:sldLayoutMk cId="571696976" sldId="2147484984"/>
          </pc:sldLayoutMkLst>
        </pc:sldLayoutChg>
        <pc:sldLayoutChg chg="del">
          <pc:chgData name="Luedecke, Andrea (DI PA CM)" userId="d06abc4d-0cfc-4849-aedb-1cba97d781f9" providerId="ADAL" clId="{50196807-5C57-45E4-84F2-494BBD9DAA35}" dt="2024-06-06T16:30:27.362" v="1182" actId="2696"/>
          <pc:sldLayoutMkLst>
            <pc:docMk/>
            <pc:sldMasterMk cId="3700487201" sldId="2147484968"/>
            <pc:sldLayoutMk cId="2619521693" sldId="2147484985"/>
          </pc:sldLayoutMkLst>
        </pc:sldLayoutChg>
        <pc:sldLayoutChg chg="del">
          <pc:chgData name="Luedecke, Andrea (DI PA CM)" userId="d06abc4d-0cfc-4849-aedb-1cba97d781f9" providerId="ADAL" clId="{50196807-5C57-45E4-84F2-494BBD9DAA35}" dt="2024-06-06T16:30:27.393" v="1183" actId="2696"/>
          <pc:sldLayoutMkLst>
            <pc:docMk/>
            <pc:sldMasterMk cId="3700487201" sldId="2147484968"/>
            <pc:sldLayoutMk cId="1020334587" sldId="2147484986"/>
          </pc:sldLayoutMkLst>
        </pc:sldLayoutChg>
        <pc:sldLayoutChg chg="del">
          <pc:chgData name="Luedecke, Andrea (DI PA CM)" userId="d06abc4d-0cfc-4849-aedb-1cba97d781f9" providerId="ADAL" clId="{50196807-5C57-45E4-84F2-494BBD9DAA35}" dt="2024-06-06T16:30:27.431" v="1184" actId="2696"/>
          <pc:sldLayoutMkLst>
            <pc:docMk/>
            <pc:sldMasterMk cId="3700487201" sldId="2147484968"/>
            <pc:sldLayoutMk cId="2745433692" sldId="2147484987"/>
          </pc:sldLayoutMkLst>
        </pc:sldLayoutChg>
        <pc:sldLayoutChg chg="del">
          <pc:chgData name="Luedecke, Andrea (DI PA CM)" userId="d06abc4d-0cfc-4849-aedb-1cba97d781f9" providerId="ADAL" clId="{50196807-5C57-45E4-84F2-494BBD9DAA35}" dt="2024-06-06T16:30:27.459" v="1185" actId="2696"/>
          <pc:sldLayoutMkLst>
            <pc:docMk/>
            <pc:sldMasterMk cId="3700487201" sldId="2147484968"/>
            <pc:sldLayoutMk cId="2060248877" sldId="2147484988"/>
          </pc:sldLayoutMkLst>
        </pc:sldLayoutChg>
        <pc:sldLayoutChg chg="del">
          <pc:chgData name="Luedecke, Andrea (DI PA CM)" userId="d06abc4d-0cfc-4849-aedb-1cba97d781f9" providerId="ADAL" clId="{50196807-5C57-45E4-84F2-494BBD9DAA35}" dt="2024-06-06T16:30:27.491" v="1186" actId="2696"/>
          <pc:sldLayoutMkLst>
            <pc:docMk/>
            <pc:sldMasterMk cId="3700487201" sldId="2147484968"/>
            <pc:sldLayoutMk cId="3665235014" sldId="2147484989"/>
          </pc:sldLayoutMkLst>
        </pc:sldLayoutChg>
        <pc:sldLayoutChg chg="del">
          <pc:chgData name="Luedecke, Andrea (DI PA CM)" userId="d06abc4d-0cfc-4849-aedb-1cba97d781f9" providerId="ADAL" clId="{50196807-5C57-45E4-84F2-494BBD9DAA35}" dt="2024-06-06T16:30:27.521" v="1187" actId="2696"/>
          <pc:sldLayoutMkLst>
            <pc:docMk/>
            <pc:sldMasterMk cId="3700487201" sldId="2147484968"/>
            <pc:sldLayoutMk cId="1362920374" sldId="2147484990"/>
          </pc:sldLayoutMkLst>
        </pc:sldLayoutChg>
        <pc:sldLayoutChg chg="del">
          <pc:chgData name="Luedecke, Andrea (DI PA CM)" userId="d06abc4d-0cfc-4849-aedb-1cba97d781f9" providerId="ADAL" clId="{50196807-5C57-45E4-84F2-494BBD9DAA35}" dt="2024-06-06T16:30:27.536" v="1188" actId="2696"/>
          <pc:sldLayoutMkLst>
            <pc:docMk/>
            <pc:sldMasterMk cId="3700487201" sldId="2147484968"/>
            <pc:sldLayoutMk cId="3848858984" sldId="2147484991"/>
          </pc:sldLayoutMkLst>
        </pc:sldLayoutChg>
        <pc:sldLayoutChg chg="del">
          <pc:chgData name="Luedecke, Andrea (DI PA CM)" userId="d06abc4d-0cfc-4849-aedb-1cba97d781f9" providerId="ADAL" clId="{50196807-5C57-45E4-84F2-494BBD9DAA35}" dt="2024-06-06T16:30:27.564" v="1189" actId="2696"/>
          <pc:sldLayoutMkLst>
            <pc:docMk/>
            <pc:sldMasterMk cId="3700487201" sldId="2147484968"/>
            <pc:sldLayoutMk cId="1768380731" sldId="2147484992"/>
          </pc:sldLayoutMkLst>
        </pc:sldLayoutChg>
        <pc:sldLayoutChg chg="del">
          <pc:chgData name="Luedecke, Andrea (DI PA CM)" userId="d06abc4d-0cfc-4849-aedb-1cba97d781f9" providerId="ADAL" clId="{50196807-5C57-45E4-84F2-494BBD9DAA35}" dt="2024-06-06T16:30:27.593" v="1190" actId="2696"/>
          <pc:sldLayoutMkLst>
            <pc:docMk/>
            <pc:sldMasterMk cId="3700487201" sldId="2147484968"/>
            <pc:sldLayoutMk cId="2247396476" sldId="2147484993"/>
          </pc:sldLayoutMkLst>
        </pc:sldLayoutChg>
        <pc:sldLayoutChg chg="del">
          <pc:chgData name="Luedecke, Andrea (DI PA CM)" userId="d06abc4d-0cfc-4849-aedb-1cba97d781f9" providerId="ADAL" clId="{50196807-5C57-45E4-84F2-494BBD9DAA35}" dt="2024-06-06T16:30:27.622" v="1191" actId="2696"/>
          <pc:sldLayoutMkLst>
            <pc:docMk/>
            <pc:sldMasterMk cId="3700487201" sldId="2147484968"/>
            <pc:sldLayoutMk cId="3970064052" sldId="2147484994"/>
          </pc:sldLayoutMkLst>
        </pc:sldLayoutChg>
        <pc:sldLayoutChg chg="del">
          <pc:chgData name="Luedecke, Andrea (DI PA CM)" userId="d06abc4d-0cfc-4849-aedb-1cba97d781f9" providerId="ADAL" clId="{50196807-5C57-45E4-84F2-494BBD9DAA35}" dt="2024-06-06T16:30:27.651" v="1192" actId="2696"/>
          <pc:sldLayoutMkLst>
            <pc:docMk/>
            <pc:sldMasterMk cId="3700487201" sldId="2147484968"/>
            <pc:sldLayoutMk cId="1583681460" sldId="2147484995"/>
          </pc:sldLayoutMkLst>
        </pc:sldLayoutChg>
        <pc:sldLayoutChg chg="del">
          <pc:chgData name="Luedecke, Andrea (DI PA CM)" userId="d06abc4d-0cfc-4849-aedb-1cba97d781f9" providerId="ADAL" clId="{50196807-5C57-45E4-84F2-494BBD9DAA35}" dt="2024-06-06T16:30:27.681" v="1193" actId="2696"/>
          <pc:sldLayoutMkLst>
            <pc:docMk/>
            <pc:sldMasterMk cId="3700487201" sldId="2147484968"/>
            <pc:sldLayoutMk cId="1034296141" sldId="2147484996"/>
          </pc:sldLayoutMkLst>
        </pc:sldLayoutChg>
        <pc:sldLayoutChg chg="del">
          <pc:chgData name="Luedecke, Andrea (DI PA CM)" userId="d06abc4d-0cfc-4849-aedb-1cba97d781f9" providerId="ADAL" clId="{50196807-5C57-45E4-84F2-494BBD9DAA35}" dt="2024-06-06T16:30:27.709" v="1194" actId="2696"/>
          <pc:sldLayoutMkLst>
            <pc:docMk/>
            <pc:sldMasterMk cId="3700487201" sldId="2147484968"/>
            <pc:sldLayoutMk cId="3832992565" sldId="2147484997"/>
          </pc:sldLayoutMkLst>
        </pc:sldLayoutChg>
        <pc:sldLayoutChg chg="del">
          <pc:chgData name="Luedecke, Andrea (DI PA CM)" userId="d06abc4d-0cfc-4849-aedb-1cba97d781f9" providerId="ADAL" clId="{50196807-5C57-45E4-84F2-494BBD9DAA35}" dt="2024-06-06T16:30:27.764" v="1195" actId="2696"/>
          <pc:sldLayoutMkLst>
            <pc:docMk/>
            <pc:sldMasterMk cId="3700487201" sldId="2147484968"/>
            <pc:sldLayoutMk cId="1633894229" sldId="2147484998"/>
          </pc:sldLayoutMkLst>
        </pc:sldLayoutChg>
        <pc:sldLayoutChg chg="del">
          <pc:chgData name="Luedecke, Andrea (DI PA CM)" userId="d06abc4d-0cfc-4849-aedb-1cba97d781f9" providerId="ADAL" clId="{50196807-5C57-45E4-84F2-494BBD9DAA35}" dt="2024-06-06T16:30:27.787" v="1196" actId="2696"/>
          <pc:sldLayoutMkLst>
            <pc:docMk/>
            <pc:sldMasterMk cId="3700487201" sldId="2147484968"/>
            <pc:sldLayoutMk cId="620979644" sldId="2147484999"/>
          </pc:sldLayoutMkLst>
        </pc:sldLayoutChg>
      </pc:sldMasterChg>
      <pc:sldMasterChg chg="del delSldLayout">
        <pc:chgData name="Luedecke, Andrea (DI PA CM)" userId="d06abc4d-0cfc-4849-aedb-1cba97d781f9" providerId="ADAL" clId="{50196807-5C57-45E4-84F2-494BBD9DAA35}" dt="2024-06-06T16:30:31.823" v="1252" actId="2696"/>
        <pc:sldMasterMkLst>
          <pc:docMk/>
          <pc:sldMasterMk cId="2420266401" sldId="2147485000"/>
        </pc:sldMasterMkLst>
        <pc:sldLayoutChg chg="del">
          <pc:chgData name="Luedecke, Andrea (DI PA CM)" userId="d06abc4d-0cfc-4849-aedb-1cba97d781f9" providerId="ADAL" clId="{50196807-5C57-45E4-84F2-494BBD9DAA35}" dt="2024-06-06T16:30:29.850" v="1198" actId="2696"/>
          <pc:sldLayoutMkLst>
            <pc:docMk/>
            <pc:sldMasterMk cId="2420266401" sldId="2147485000"/>
            <pc:sldLayoutMk cId="1129816071" sldId="2147485001"/>
          </pc:sldLayoutMkLst>
        </pc:sldLayoutChg>
        <pc:sldLayoutChg chg="del">
          <pc:chgData name="Luedecke, Andrea (DI PA CM)" userId="d06abc4d-0cfc-4849-aedb-1cba97d781f9" providerId="ADAL" clId="{50196807-5C57-45E4-84F2-494BBD9DAA35}" dt="2024-06-06T16:30:29.886" v="1199" actId="2696"/>
          <pc:sldLayoutMkLst>
            <pc:docMk/>
            <pc:sldMasterMk cId="2420266401" sldId="2147485000"/>
            <pc:sldLayoutMk cId="2780524251" sldId="2147485002"/>
          </pc:sldLayoutMkLst>
        </pc:sldLayoutChg>
        <pc:sldLayoutChg chg="del">
          <pc:chgData name="Luedecke, Andrea (DI PA CM)" userId="d06abc4d-0cfc-4849-aedb-1cba97d781f9" providerId="ADAL" clId="{50196807-5C57-45E4-84F2-494BBD9DAA35}" dt="2024-06-06T16:30:29.984" v="1200" actId="2696"/>
          <pc:sldLayoutMkLst>
            <pc:docMk/>
            <pc:sldMasterMk cId="2420266401" sldId="2147485000"/>
            <pc:sldLayoutMk cId="1786492549" sldId="2147485003"/>
          </pc:sldLayoutMkLst>
        </pc:sldLayoutChg>
        <pc:sldLayoutChg chg="del">
          <pc:chgData name="Luedecke, Andrea (DI PA CM)" userId="d06abc4d-0cfc-4849-aedb-1cba97d781f9" providerId="ADAL" clId="{50196807-5C57-45E4-84F2-494BBD9DAA35}" dt="2024-06-06T16:30:30.040" v="1201" actId="2696"/>
          <pc:sldLayoutMkLst>
            <pc:docMk/>
            <pc:sldMasterMk cId="2420266401" sldId="2147485000"/>
            <pc:sldLayoutMk cId="2069921602" sldId="2147485004"/>
          </pc:sldLayoutMkLst>
        </pc:sldLayoutChg>
        <pc:sldLayoutChg chg="del">
          <pc:chgData name="Luedecke, Andrea (DI PA CM)" userId="d06abc4d-0cfc-4849-aedb-1cba97d781f9" providerId="ADAL" clId="{50196807-5C57-45E4-84F2-494BBD9DAA35}" dt="2024-06-06T16:30:30.088" v="1202" actId="2696"/>
          <pc:sldLayoutMkLst>
            <pc:docMk/>
            <pc:sldMasterMk cId="2420266401" sldId="2147485000"/>
            <pc:sldLayoutMk cId="3220774948" sldId="2147485005"/>
          </pc:sldLayoutMkLst>
        </pc:sldLayoutChg>
        <pc:sldLayoutChg chg="del">
          <pc:chgData name="Luedecke, Andrea (DI PA CM)" userId="d06abc4d-0cfc-4849-aedb-1cba97d781f9" providerId="ADAL" clId="{50196807-5C57-45E4-84F2-494BBD9DAA35}" dt="2024-06-06T16:30:30.130" v="1203" actId="2696"/>
          <pc:sldLayoutMkLst>
            <pc:docMk/>
            <pc:sldMasterMk cId="2420266401" sldId="2147485000"/>
            <pc:sldLayoutMk cId="3236548250" sldId="2147485006"/>
          </pc:sldLayoutMkLst>
        </pc:sldLayoutChg>
        <pc:sldLayoutChg chg="del">
          <pc:chgData name="Luedecke, Andrea (DI PA CM)" userId="d06abc4d-0cfc-4849-aedb-1cba97d781f9" providerId="ADAL" clId="{50196807-5C57-45E4-84F2-494BBD9DAA35}" dt="2024-06-06T16:30:30.215" v="1204" actId="2696"/>
          <pc:sldLayoutMkLst>
            <pc:docMk/>
            <pc:sldMasterMk cId="2420266401" sldId="2147485000"/>
            <pc:sldLayoutMk cId="584621637" sldId="2147485007"/>
          </pc:sldLayoutMkLst>
        </pc:sldLayoutChg>
        <pc:sldLayoutChg chg="del">
          <pc:chgData name="Luedecke, Andrea (DI PA CM)" userId="d06abc4d-0cfc-4849-aedb-1cba97d781f9" providerId="ADAL" clId="{50196807-5C57-45E4-84F2-494BBD9DAA35}" dt="2024-06-06T16:30:30.259" v="1205" actId="2696"/>
          <pc:sldLayoutMkLst>
            <pc:docMk/>
            <pc:sldMasterMk cId="2420266401" sldId="2147485000"/>
            <pc:sldLayoutMk cId="2438965925" sldId="2147485008"/>
          </pc:sldLayoutMkLst>
        </pc:sldLayoutChg>
        <pc:sldLayoutChg chg="del">
          <pc:chgData name="Luedecke, Andrea (DI PA CM)" userId="d06abc4d-0cfc-4849-aedb-1cba97d781f9" providerId="ADAL" clId="{50196807-5C57-45E4-84F2-494BBD9DAA35}" dt="2024-06-06T16:30:30.293" v="1206" actId="2696"/>
          <pc:sldLayoutMkLst>
            <pc:docMk/>
            <pc:sldMasterMk cId="2420266401" sldId="2147485000"/>
            <pc:sldLayoutMk cId="3159125007" sldId="2147485009"/>
          </pc:sldLayoutMkLst>
        </pc:sldLayoutChg>
        <pc:sldLayoutChg chg="del">
          <pc:chgData name="Luedecke, Andrea (DI PA CM)" userId="d06abc4d-0cfc-4849-aedb-1cba97d781f9" providerId="ADAL" clId="{50196807-5C57-45E4-84F2-494BBD9DAA35}" dt="2024-06-06T16:30:30.330" v="1207" actId="2696"/>
          <pc:sldLayoutMkLst>
            <pc:docMk/>
            <pc:sldMasterMk cId="2420266401" sldId="2147485000"/>
            <pc:sldLayoutMk cId="3872549691" sldId="2147485010"/>
          </pc:sldLayoutMkLst>
        </pc:sldLayoutChg>
        <pc:sldLayoutChg chg="del">
          <pc:chgData name="Luedecke, Andrea (DI PA CM)" userId="d06abc4d-0cfc-4849-aedb-1cba97d781f9" providerId="ADAL" clId="{50196807-5C57-45E4-84F2-494BBD9DAA35}" dt="2024-06-06T16:30:30.358" v="1208" actId="2696"/>
          <pc:sldLayoutMkLst>
            <pc:docMk/>
            <pc:sldMasterMk cId="2420266401" sldId="2147485000"/>
            <pc:sldLayoutMk cId="1952121749" sldId="2147485011"/>
          </pc:sldLayoutMkLst>
        </pc:sldLayoutChg>
        <pc:sldLayoutChg chg="del">
          <pc:chgData name="Luedecke, Andrea (DI PA CM)" userId="d06abc4d-0cfc-4849-aedb-1cba97d781f9" providerId="ADAL" clId="{50196807-5C57-45E4-84F2-494BBD9DAA35}" dt="2024-06-06T16:30:30.396" v="1209" actId="2696"/>
          <pc:sldLayoutMkLst>
            <pc:docMk/>
            <pc:sldMasterMk cId="2420266401" sldId="2147485000"/>
            <pc:sldLayoutMk cId="2215463039" sldId="2147485012"/>
          </pc:sldLayoutMkLst>
        </pc:sldLayoutChg>
        <pc:sldLayoutChg chg="del">
          <pc:chgData name="Luedecke, Andrea (DI PA CM)" userId="d06abc4d-0cfc-4849-aedb-1cba97d781f9" providerId="ADAL" clId="{50196807-5C57-45E4-84F2-494BBD9DAA35}" dt="2024-06-06T16:30:30.432" v="1210" actId="2696"/>
          <pc:sldLayoutMkLst>
            <pc:docMk/>
            <pc:sldMasterMk cId="2420266401" sldId="2147485000"/>
            <pc:sldLayoutMk cId="3093076156" sldId="2147485013"/>
          </pc:sldLayoutMkLst>
        </pc:sldLayoutChg>
        <pc:sldLayoutChg chg="del">
          <pc:chgData name="Luedecke, Andrea (DI PA CM)" userId="d06abc4d-0cfc-4849-aedb-1cba97d781f9" providerId="ADAL" clId="{50196807-5C57-45E4-84F2-494BBD9DAA35}" dt="2024-06-06T16:30:30.464" v="1211" actId="2696"/>
          <pc:sldLayoutMkLst>
            <pc:docMk/>
            <pc:sldMasterMk cId="2420266401" sldId="2147485000"/>
            <pc:sldLayoutMk cId="1328818154" sldId="2147485014"/>
          </pc:sldLayoutMkLst>
        </pc:sldLayoutChg>
        <pc:sldLayoutChg chg="del">
          <pc:chgData name="Luedecke, Andrea (DI PA CM)" userId="d06abc4d-0cfc-4849-aedb-1cba97d781f9" providerId="ADAL" clId="{50196807-5C57-45E4-84F2-494BBD9DAA35}" dt="2024-06-06T16:30:30.517" v="1212" actId="2696"/>
          <pc:sldLayoutMkLst>
            <pc:docMk/>
            <pc:sldMasterMk cId="2420266401" sldId="2147485000"/>
            <pc:sldLayoutMk cId="1653093786" sldId="2147485015"/>
          </pc:sldLayoutMkLst>
        </pc:sldLayoutChg>
        <pc:sldLayoutChg chg="del">
          <pc:chgData name="Luedecke, Andrea (DI PA CM)" userId="d06abc4d-0cfc-4849-aedb-1cba97d781f9" providerId="ADAL" clId="{50196807-5C57-45E4-84F2-494BBD9DAA35}" dt="2024-06-06T16:30:30.568" v="1213" actId="2696"/>
          <pc:sldLayoutMkLst>
            <pc:docMk/>
            <pc:sldMasterMk cId="2420266401" sldId="2147485000"/>
            <pc:sldLayoutMk cId="1374825467" sldId="2147485016"/>
          </pc:sldLayoutMkLst>
        </pc:sldLayoutChg>
        <pc:sldLayoutChg chg="del">
          <pc:chgData name="Luedecke, Andrea (DI PA CM)" userId="d06abc4d-0cfc-4849-aedb-1cba97d781f9" providerId="ADAL" clId="{50196807-5C57-45E4-84F2-494BBD9DAA35}" dt="2024-06-06T16:30:30.604" v="1214" actId="2696"/>
          <pc:sldLayoutMkLst>
            <pc:docMk/>
            <pc:sldMasterMk cId="2420266401" sldId="2147485000"/>
            <pc:sldLayoutMk cId="4255557699" sldId="2147485017"/>
          </pc:sldLayoutMkLst>
        </pc:sldLayoutChg>
        <pc:sldLayoutChg chg="del">
          <pc:chgData name="Luedecke, Andrea (DI PA CM)" userId="d06abc4d-0cfc-4849-aedb-1cba97d781f9" providerId="ADAL" clId="{50196807-5C57-45E4-84F2-494BBD9DAA35}" dt="2024-06-06T16:30:30.645" v="1215" actId="2696"/>
          <pc:sldLayoutMkLst>
            <pc:docMk/>
            <pc:sldMasterMk cId="2420266401" sldId="2147485000"/>
            <pc:sldLayoutMk cId="4155114207" sldId="2147485018"/>
          </pc:sldLayoutMkLst>
        </pc:sldLayoutChg>
        <pc:sldLayoutChg chg="del">
          <pc:chgData name="Luedecke, Andrea (DI PA CM)" userId="d06abc4d-0cfc-4849-aedb-1cba97d781f9" providerId="ADAL" clId="{50196807-5C57-45E4-84F2-494BBD9DAA35}" dt="2024-06-06T16:30:30.682" v="1216" actId="2696"/>
          <pc:sldLayoutMkLst>
            <pc:docMk/>
            <pc:sldMasterMk cId="2420266401" sldId="2147485000"/>
            <pc:sldLayoutMk cId="289105277" sldId="2147485019"/>
          </pc:sldLayoutMkLst>
        </pc:sldLayoutChg>
        <pc:sldLayoutChg chg="del">
          <pc:chgData name="Luedecke, Andrea (DI PA CM)" userId="d06abc4d-0cfc-4849-aedb-1cba97d781f9" providerId="ADAL" clId="{50196807-5C57-45E4-84F2-494BBD9DAA35}" dt="2024-06-06T16:30:30.715" v="1217" actId="2696"/>
          <pc:sldLayoutMkLst>
            <pc:docMk/>
            <pc:sldMasterMk cId="2420266401" sldId="2147485000"/>
            <pc:sldLayoutMk cId="3116262698" sldId="2147485020"/>
          </pc:sldLayoutMkLst>
        </pc:sldLayoutChg>
        <pc:sldLayoutChg chg="del">
          <pc:chgData name="Luedecke, Andrea (DI PA CM)" userId="d06abc4d-0cfc-4849-aedb-1cba97d781f9" providerId="ADAL" clId="{50196807-5C57-45E4-84F2-494BBD9DAA35}" dt="2024-06-06T16:30:30.753" v="1218" actId="2696"/>
          <pc:sldLayoutMkLst>
            <pc:docMk/>
            <pc:sldMasterMk cId="2420266401" sldId="2147485000"/>
            <pc:sldLayoutMk cId="2526113225" sldId="2147485021"/>
          </pc:sldLayoutMkLst>
        </pc:sldLayoutChg>
        <pc:sldLayoutChg chg="del">
          <pc:chgData name="Luedecke, Andrea (DI PA CM)" userId="d06abc4d-0cfc-4849-aedb-1cba97d781f9" providerId="ADAL" clId="{50196807-5C57-45E4-84F2-494BBD9DAA35}" dt="2024-06-06T16:30:30.788" v="1219" actId="2696"/>
          <pc:sldLayoutMkLst>
            <pc:docMk/>
            <pc:sldMasterMk cId="2420266401" sldId="2147485000"/>
            <pc:sldLayoutMk cId="4104686499" sldId="2147485022"/>
          </pc:sldLayoutMkLst>
        </pc:sldLayoutChg>
        <pc:sldLayoutChg chg="del">
          <pc:chgData name="Luedecke, Andrea (DI PA CM)" userId="d06abc4d-0cfc-4849-aedb-1cba97d781f9" providerId="ADAL" clId="{50196807-5C57-45E4-84F2-494BBD9DAA35}" dt="2024-06-06T16:30:30.823" v="1220" actId="2696"/>
          <pc:sldLayoutMkLst>
            <pc:docMk/>
            <pc:sldMasterMk cId="2420266401" sldId="2147485000"/>
            <pc:sldLayoutMk cId="2374117630" sldId="2147485023"/>
          </pc:sldLayoutMkLst>
        </pc:sldLayoutChg>
        <pc:sldLayoutChg chg="del">
          <pc:chgData name="Luedecke, Andrea (DI PA CM)" userId="d06abc4d-0cfc-4849-aedb-1cba97d781f9" providerId="ADAL" clId="{50196807-5C57-45E4-84F2-494BBD9DAA35}" dt="2024-06-06T16:30:30.859" v="1221" actId="2696"/>
          <pc:sldLayoutMkLst>
            <pc:docMk/>
            <pc:sldMasterMk cId="2420266401" sldId="2147485000"/>
            <pc:sldLayoutMk cId="2995650124" sldId="2147485024"/>
          </pc:sldLayoutMkLst>
        </pc:sldLayoutChg>
        <pc:sldLayoutChg chg="del">
          <pc:chgData name="Luedecke, Andrea (DI PA CM)" userId="d06abc4d-0cfc-4849-aedb-1cba97d781f9" providerId="ADAL" clId="{50196807-5C57-45E4-84F2-494BBD9DAA35}" dt="2024-06-06T16:30:30.898" v="1222" actId="2696"/>
          <pc:sldLayoutMkLst>
            <pc:docMk/>
            <pc:sldMasterMk cId="2420266401" sldId="2147485000"/>
            <pc:sldLayoutMk cId="2278898835" sldId="2147485025"/>
          </pc:sldLayoutMkLst>
        </pc:sldLayoutChg>
        <pc:sldLayoutChg chg="del">
          <pc:chgData name="Luedecke, Andrea (DI PA CM)" userId="d06abc4d-0cfc-4849-aedb-1cba97d781f9" providerId="ADAL" clId="{50196807-5C57-45E4-84F2-494BBD9DAA35}" dt="2024-06-06T16:30:30.937" v="1223" actId="2696"/>
          <pc:sldLayoutMkLst>
            <pc:docMk/>
            <pc:sldMasterMk cId="2420266401" sldId="2147485000"/>
            <pc:sldLayoutMk cId="451998463" sldId="2147485026"/>
          </pc:sldLayoutMkLst>
        </pc:sldLayoutChg>
        <pc:sldLayoutChg chg="del">
          <pc:chgData name="Luedecke, Andrea (DI PA CM)" userId="d06abc4d-0cfc-4849-aedb-1cba97d781f9" providerId="ADAL" clId="{50196807-5C57-45E4-84F2-494BBD9DAA35}" dt="2024-06-06T16:30:30.975" v="1224" actId="2696"/>
          <pc:sldLayoutMkLst>
            <pc:docMk/>
            <pc:sldMasterMk cId="2420266401" sldId="2147485000"/>
            <pc:sldLayoutMk cId="2688556303" sldId="2147485027"/>
          </pc:sldLayoutMkLst>
        </pc:sldLayoutChg>
        <pc:sldLayoutChg chg="del">
          <pc:chgData name="Luedecke, Andrea (DI PA CM)" userId="d06abc4d-0cfc-4849-aedb-1cba97d781f9" providerId="ADAL" clId="{50196807-5C57-45E4-84F2-494BBD9DAA35}" dt="2024-06-06T16:30:31.005" v="1225" actId="2696"/>
          <pc:sldLayoutMkLst>
            <pc:docMk/>
            <pc:sldMasterMk cId="2420266401" sldId="2147485000"/>
            <pc:sldLayoutMk cId="2906147597" sldId="2147485028"/>
          </pc:sldLayoutMkLst>
        </pc:sldLayoutChg>
        <pc:sldLayoutChg chg="del">
          <pc:chgData name="Luedecke, Andrea (DI PA CM)" userId="d06abc4d-0cfc-4849-aedb-1cba97d781f9" providerId="ADAL" clId="{50196807-5C57-45E4-84F2-494BBD9DAA35}" dt="2024-06-06T16:30:31.041" v="1226" actId="2696"/>
          <pc:sldLayoutMkLst>
            <pc:docMk/>
            <pc:sldMasterMk cId="2420266401" sldId="2147485000"/>
            <pc:sldLayoutMk cId="3542442472" sldId="2147485029"/>
          </pc:sldLayoutMkLst>
        </pc:sldLayoutChg>
        <pc:sldLayoutChg chg="del">
          <pc:chgData name="Luedecke, Andrea (DI PA CM)" userId="d06abc4d-0cfc-4849-aedb-1cba97d781f9" providerId="ADAL" clId="{50196807-5C57-45E4-84F2-494BBD9DAA35}" dt="2024-06-06T16:30:31.082" v="1227" actId="2696"/>
          <pc:sldLayoutMkLst>
            <pc:docMk/>
            <pc:sldMasterMk cId="2420266401" sldId="2147485000"/>
            <pc:sldLayoutMk cId="1473903209" sldId="2147485030"/>
          </pc:sldLayoutMkLst>
        </pc:sldLayoutChg>
        <pc:sldLayoutChg chg="del">
          <pc:chgData name="Luedecke, Andrea (DI PA CM)" userId="d06abc4d-0cfc-4849-aedb-1cba97d781f9" providerId="ADAL" clId="{50196807-5C57-45E4-84F2-494BBD9DAA35}" dt="2024-06-06T16:30:31.115" v="1228" actId="2696"/>
          <pc:sldLayoutMkLst>
            <pc:docMk/>
            <pc:sldMasterMk cId="2420266401" sldId="2147485000"/>
            <pc:sldLayoutMk cId="2448774182" sldId="2147485031"/>
          </pc:sldLayoutMkLst>
        </pc:sldLayoutChg>
        <pc:sldLayoutChg chg="del">
          <pc:chgData name="Luedecke, Andrea (DI PA CM)" userId="d06abc4d-0cfc-4849-aedb-1cba97d781f9" providerId="ADAL" clId="{50196807-5C57-45E4-84F2-494BBD9DAA35}" dt="2024-06-06T16:30:31.141" v="1229" actId="2696"/>
          <pc:sldLayoutMkLst>
            <pc:docMk/>
            <pc:sldMasterMk cId="2420266401" sldId="2147485000"/>
            <pc:sldLayoutMk cId="3011275379" sldId="2147485032"/>
          </pc:sldLayoutMkLst>
        </pc:sldLayoutChg>
        <pc:sldLayoutChg chg="del">
          <pc:chgData name="Luedecke, Andrea (DI PA CM)" userId="d06abc4d-0cfc-4849-aedb-1cba97d781f9" providerId="ADAL" clId="{50196807-5C57-45E4-84F2-494BBD9DAA35}" dt="2024-06-06T16:30:31.163" v="1230" actId="2696"/>
          <pc:sldLayoutMkLst>
            <pc:docMk/>
            <pc:sldMasterMk cId="2420266401" sldId="2147485000"/>
            <pc:sldLayoutMk cId="1914712949" sldId="2147485033"/>
          </pc:sldLayoutMkLst>
        </pc:sldLayoutChg>
        <pc:sldLayoutChg chg="del">
          <pc:chgData name="Luedecke, Andrea (DI PA CM)" userId="d06abc4d-0cfc-4849-aedb-1cba97d781f9" providerId="ADAL" clId="{50196807-5C57-45E4-84F2-494BBD9DAA35}" dt="2024-06-06T16:30:31.179" v="1231" actId="2696"/>
          <pc:sldLayoutMkLst>
            <pc:docMk/>
            <pc:sldMasterMk cId="2420266401" sldId="2147485000"/>
            <pc:sldLayoutMk cId="3472382584" sldId="2147485034"/>
          </pc:sldLayoutMkLst>
        </pc:sldLayoutChg>
        <pc:sldLayoutChg chg="del">
          <pc:chgData name="Luedecke, Andrea (DI PA CM)" userId="d06abc4d-0cfc-4849-aedb-1cba97d781f9" providerId="ADAL" clId="{50196807-5C57-45E4-84F2-494BBD9DAA35}" dt="2024-06-06T16:30:31.216" v="1232" actId="2696"/>
          <pc:sldLayoutMkLst>
            <pc:docMk/>
            <pc:sldMasterMk cId="2420266401" sldId="2147485000"/>
            <pc:sldLayoutMk cId="975610327" sldId="2147485035"/>
          </pc:sldLayoutMkLst>
        </pc:sldLayoutChg>
        <pc:sldLayoutChg chg="del">
          <pc:chgData name="Luedecke, Andrea (DI PA CM)" userId="d06abc4d-0cfc-4849-aedb-1cba97d781f9" providerId="ADAL" clId="{50196807-5C57-45E4-84F2-494BBD9DAA35}" dt="2024-06-06T16:30:31.251" v="1233" actId="2696"/>
          <pc:sldLayoutMkLst>
            <pc:docMk/>
            <pc:sldMasterMk cId="2420266401" sldId="2147485000"/>
            <pc:sldLayoutMk cId="589520034" sldId="2147485036"/>
          </pc:sldLayoutMkLst>
        </pc:sldLayoutChg>
        <pc:sldLayoutChg chg="del">
          <pc:chgData name="Luedecke, Andrea (DI PA CM)" userId="d06abc4d-0cfc-4849-aedb-1cba97d781f9" providerId="ADAL" clId="{50196807-5C57-45E4-84F2-494BBD9DAA35}" dt="2024-06-06T16:30:31.280" v="1234" actId="2696"/>
          <pc:sldLayoutMkLst>
            <pc:docMk/>
            <pc:sldMasterMk cId="2420266401" sldId="2147485000"/>
            <pc:sldLayoutMk cId="1489370715" sldId="2147485037"/>
          </pc:sldLayoutMkLst>
        </pc:sldLayoutChg>
        <pc:sldLayoutChg chg="del">
          <pc:chgData name="Luedecke, Andrea (DI PA CM)" userId="d06abc4d-0cfc-4849-aedb-1cba97d781f9" providerId="ADAL" clId="{50196807-5C57-45E4-84F2-494BBD9DAA35}" dt="2024-06-06T16:30:31.309" v="1235" actId="2696"/>
          <pc:sldLayoutMkLst>
            <pc:docMk/>
            <pc:sldMasterMk cId="2420266401" sldId="2147485000"/>
            <pc:sldLayoutMk cId="484463388" sldId="2147485038"/>
          </pc:sldLayoutMkLst>
        </pc:sldLayoutChg>
        <pc:sldLayoutChg chg="del">
          <pc:chgData name="Luedecke, Andrea (DI PA CM)" userId="d06abc4d-0cfc-4849-aedb-1cba97d781f9" providerId="ADAL" clId="{50196807-5C57-45E4-84F2-494BBD9DAA35}" dt="2024-06-06T16:30:31.359" v="1236" actId="2696"/>
          <pc:sldLayoutMkLst>
            <pc:docMk/>
            <pc:sldMasterMk cId="2420266401" sldId="2147485000"/>
            <pc:sldLayoutMk cId="3082130996" sldId="2147485039"/>
          </pc:sldLayoutMkLst>
        </pc:sldLayoutChg>
        <pc:sldLayoutChg chg="del">
          <pc:chgData name="Luedecke, Andrea (DI PA CM)" userId="d06abc4d-0cfc-4849-aedb-1cba97d781f9" providerId="ADAL" clId="{50196807-5C57-45E4-84F2-494BBD9DAA35}" dt="2024-06-06T16:30:31.405" v="1237" actId="2696"/>
          <pc:sldLayoutMkLst>
            <pc:docMk/>
            <pc:sldMasterMk cId="2420266401" sldId="2147485000"/>
            <pc:sldLayoutMk cId="1450316666" sldId="2147485040"/>
          </pc:sldLayoutMkLst>
        </pc:sldLayoutChg>
        <pc:sldLayoutChg chg="del">
          <pc:chgData name="Luedecke, Andrea (DI PA CM)" userId="d06abc4d-0cfc-4849-aedb-1cba97d781f9" providerId="ADAL" clId="{50196807-5C57-45E4-84F2-494BBD9DAA35}" dt="2024-06-06T16:30:31.429" v="1238" actId="2696"/>
          <pc:sldLayoutMkLst>
            <pc:docMk/>
            <pc:sldMasterMk cId="2420266401" sldId="2147485000"/>
            <pc:sldLayoutMk cId="1584072768" sldId="2147485041"/>
          </pc:sldLayoutMkLst>
        </pc:sldLayoutChg>
        <pc:sldLayoutChg chg="del">
          <pc:chgData name="Luedecke, Andrea (DI PA CM)" userId="d06abc4d-0cfc-4849-aedb-1cba97d781f9" providerId="ADAL" clId="{50196807-5C57-45E4-84F2-494BBD9DAA35}" dt="2024-06-06T16:30:31.461" v="1239" actId="2696"/>
          <pc:sldLayoutMkLst>
            <pc:docMk/>
            <pc:sldMasterMk cId="2420266401" sldId="2147485000"/>
            <pc:sldLayoutMk cId="2348034586" sldId="2147485042"/>
          </pc:sldLayoutMkLst>
        </pc:sldLayoutChg>
        <pc:sldLayoutChg chg="del">
          <pc:chgData name="Luedecke, Andrea (DI PA CM)" userId="d06abc4d-0cfc-4849-aedb-1cba97d781f9" providerId="ADAL" clId="{50196807-5C57-45E4-84F2-494BBD9DAA35}" dt="2024-06-06T16:30:31.492" v="1240" actId="2696"/>
          <pc:sldLayoutMkLst>
            <pc:docMk/>
            <pc:sldMasterMk cId="2420266401" sldId="2147485000"/>
            <pc:sldLayoutMk cId="4106387829" sldId="2147485043"/>
          </pc:sldLayoutMkLst>
        </pc:sldLayoutChg>
        <pc:sldLayoutChg chg="del">
          <pc:chgData name="Luedecke, Andrea (DI PA CM)" userId="d06abc4d-0cfc-4849-aedb-1cba97d781f9" providerId="ADAL" clId="{50196807-5C57-45E4-84F2-494BBD9DAA35}" dt="2024-06-06T16:30:31.520" v="1241" actId="2696"/>
          <pc:sldLayoutMkLst>
            <pc:docMk/>
            <pc:sldMasterMk cId="2420266401" sldId="2147485000"/>
            <pc:sldLayoutMk cId="59035693" sldId="2147485044"/>
          </pc:sldLayoutMkLst>
        </pc:sldLayoutChg>
        <pc:sldLayoutChg chg="del">
          <pc:chgData name="Luedecke, Andrea (DI PA CM)" userId="d06abc4d-0cfc-4849-aedb-1cba97d781f9" providerId="ADAL" clId="{50196807-5C57-45E4-84F2-494BBD9DAA35}" dt="2024-06-06T16:30:31.545" v="1242" actId="2696"/>
          <pc:sldLayoutMkLst>
            <pc:docMk/>
            <pc:sldMasterMk cId="2420266401" sldId="2147485000"/>
            <pc:sldLayoutMk cId="2530027476" sldId="2147485045"/>
          </pc:sldLayoutMkLst>
        </pc:sldLayoutChg>
        <pc:sldLayoutChg chg="del">
          <pc:chgData name="Luedecke, Andrea (DI PA CM)" userId="d06abc4d-0cfc-4849-aedb-1cba97d781f9" providerId="ADAL" clId="{50196807-5C57-45E4-84F2-494BBD9DAA35}" dt="2024-06-06T16:30:31.568" v="1243" actId="2696"/>
          <pc:sldLayoutMkLst>
            <pc:docMk/>
            <pc:sldMasterMk cId="2420266401" sldId="2147485000"/>
            <pc:sldLayoutMk cId="2241748438" sldId="2147485046"/>
          </pc:sldLayoutMkLst>
        </pc:sldLayoutChg>
        <pc:sldLayoutChg chg="del">
          <pc:chgData name="Luedecke, Andrea (DI PA CM)" userId="d06abc4d-0cfc-4849-aedb-1cba97d781f9" providerId="ADAL" clId="{50196807-5C57-45E4-84F2-494BBD9DAA35}" dt="2024-06-06T16:30:31.585" v="1244" actId="2696"/>
          <pc:sldLayoutMkLst>
            <pc:docMk/>
            <pc:sldMasterMk cId="2420266401" sldId="2147485000"/>
            <pc:sldLayoutMk cId="4246748651" sldId="2147485047"/>
          </pc:sldLayoutMkLst>
        </pc:sldLayoutChg>
        <pc:sldLayoutChg chg="del">
          <pc:chgData name="Luedecke, Andrea (DI PA CM)" userId="d06abc4d-0cfc-4849-aedb-1cba97d781f9" providerId="ADAL" clId="{50196807-5C57-45E4-84F2-494BBD9DAA35}" dt="2024-06-06T16:30:31.614" v="1245" actId="2696"/>
          <pc:sldLayoutMkLst>
            <pc:docMk/>
            <pc:sldMasterMk cId="2420266401" sldId="2147485000"/>
            <pc:sldLayoutMk cId="4185324320" sldId="2147485048"/>
          </pc:sldLayoutMkLst>
        </pc:sldLayoutChg>
        <pc:sldLayoutChg chg="del">
          <pc:chgData name="Luedecke, Andrea (DI PA CM)" userId="d06abc4d-0cfc-4849-aedb-1cba97d781f9" providerId="ADAL" clId="{50196807-5C57-45E4-84F2-494BBD9DAA35}" dt="2024-06-06T16:30:31.641" v="1246" actId="2696"/>
          <pc:sldLayoutMkLst>
            <pc:docMk/>
            <pc:sldMasterMk cId="2420266401" sldId="2147485000"/>
            <pc:sldLayoutMk cId="1576399839" sldId="2147485049"/>
          </pc:sldLayoutMkLst>
        </pc:sldLayoutChg>
        <pc:sldLayoutChg chg="del">
          <pc:chgData name="Luedecke, Andrea (DI PA CM)" userId="d06abc4d-0cfc-4849-aedb-1cba97d781f9" providerId="ADAL" clId="{50196807-5C57-45E4-84F2-494BBD9DAA35}" dt="2024-06-06T16:30:31.668" v="1247" actId="2696"/>
          <pc:sldLayoutMkLst>
            <pc:docMk/>
            <pc:sldMasterMk cId="2420266401" sldId="2147485000"/>
            <pc:sldLayoutMk cId="4159676361" sldId="2147485050"/>
          </pc:sldLayoutMkLst>
        </pc:sldLayoutChg>
        <pc:sldLayoutChg chg="del">
          <pc:chgData name="Luedecke, Andrea (DI PA CM)" userId="d06abc4d-0cfc-4849-aedb-1cba97d781f9" providerId="ADAL" clId="{50196807-5C57-45E4-84F2-494BBD9DAA35}" dt="2024-06-06T16:30:31.698" v="1248" actId="2696"/>
          <pc:sldLayoutMkLst>
            <pc:docMk/>
            <pc:sldMasterMk cId="2420266401" sldId="2147485000"/>
            <pc:sldLayoutMk cId="875569190" sldId="2147485051"/>
          </pc:sldLayoutMkLst>
        </pc:sldLayoutChg>
        <pc:sldLayoutChg chg="del">
          <pc:chgData name="Luedecke, Andrea (DI PA CM)" userId="d06abc4d-0cfc-4849-aedb-1cba97d781f9" providerId="ADAL" clId="{50196807-5C57-45E4-84F2-494BBD9DAA35}" dt="2024-06-06T16:30:31.733" v="1249" actId="2696"/>
          <pc:sldLayoutMkLst>
            <pc:docMk/>
            <pc:sldMasterMk cId="2420266401" sldId="2147485000"/>
            <pc:sldLayoutMk cId="3059857806" sldId="2147485052"/>
          </pc:sldLayoutMkLst>
        </pc:sldLayoutChg>
        <pc:sldLayoutChg chg="del">
          <pc:chgData name="Luedecke, Andrea (DI PA CM)" userId="d06abc4d-0cfc-4849-aedb-1cba97d781f9" providerId="ADAL" clId="{50196807-5C57-45E4-84F2-494BBD9DAA35}" dt="2024-06-06T16:30:31.763" v="1250" actId="2696"/>
          <pc:sldLayoutMkLst>
            <pc:docMk/>
            <pc:sldMasterMk cId="2420266401" sldId="2147485000"/>
            <pc:sldLayoutMk cId="2741184059" sldId="2147485053"/>
          </pc:sldLayoutMkLst>
        </pc:sldLayoutChg>
        <pc:sldLayoutChg chg="del">
          <pc:chgData name="Luedecke, Andrea (DI PA CM)" userId="d06abc4d-0cfc-4849-aedb-1cba97d781f9" providerId="ADAL" clId="{50196807-5C57-45E4-84F2-494BBD9DAA35}" dt="2024-06-06T16:30:31.802" v="1251" actId="2696"/>
          <pc:sldLayoutMkLst>
            <pc:docMk/>
            <pc:sldMasterMk cId="2420266401" sldId="2147485000"/>
            <pc:sldLayoutMk cId="1800183644" sldId="2147485054"/>
          </pc:sldLayoutMkLst>
        </pc:sldLayoutChg>
        <pc:sldLayoutChg chg="del">
          <pc:chgData name="Luedecke, Andrea (DI PA CM)" userId="d06abc4d-0cfc-4849-aedb-1cba97d781f9" providerId="ADAL" clId="{50196807-5C57-45E4-84F2-494BBD9DAA35}" dt="2024-06-04T10:46:44.941" v="256" actId="47"/>
          <pc:sldLayoutMkLst>
            <pc:docMk/>
            <pc:sldMasterMk cId="2420266401" sldId="2147485000"/>
            <pc:sldLayoutMk cId="3261145111" sldId="2147485215"/>
          </pc:sldLayoutMkLst>
        </pc:sldLayoutChg>
      </pc:sldMasterChg>
      <pc:sldMasterChg chg="del delSldLayout">
        <pc:chgData name="Luedecke, Andrea (DI PA CM)" userId="d06abc4d-0cfc-4849-aedb-1cba97d781f9" providerId="ADAL" clId="{50196807-5C57-45E4-84F2-494BBD9DAA35}" dt="2024-06-06T16:30:38.421" v="1307" actId="2696"/>
        <pc:sldMasterMkLst>
          <pc:docMk/>
          <pc:sldMasterMk cId="977886295" sldId="2147485104"/>
        </pc:sldMasterMkLst>
        <pc:sldLayoutChg chg="del">
          <pc:chgData name="Luedecke, Andrea (DI PA CM)" userId="d06abc4d-0cfc-4849-aedb-1cba97d781f9" providerId="ADAL" clId="{50196807-5C57-45E4-84F2-494BBD9DAA35}" dt="2024-06-06T16:30:37.158" v="1254" actId="2696"/>
          <pc:sldLayoutMkLst>
            <pc:docMk/>
            <pc:sldMasterMk cId="977886295" sldId="2147485104"/>
            <pc:sldLayoutMk cId="2030362223" sldId="2147485105"/>
          </pc:sldLayoutMkLst>
        </pc:sldLayoutChg>
        <pc:sldLayoutChg chg="del">
          <pc:chgData name="Luedecke, Andrea (DI PA CM)" userId="d06abc4d-0cfc-4849-aedb-1cba97d781f9" providerId="ADAL" clId="{50196807-5C57-45E4-84F2-494BBD9DAA35}" dt="2024-06-06T16:30:37.188" v="1255" actId="2696"/>
          <pc:sldLayoutMkLst>
            <pc:docMk/>
            <pc:sldMasterMk cId="977886295" sldId="2147485104"/>
            <pc:sldLayoutMk cId="1283280629" sldId="2147485106"/>
          </pc:sldLayoutMkLst>
        </pc:sldLayoutChg>
        <pc:sldLayoutChg chg="del">
          <pc:chgData name="Luedecke, Andrea (DI PA CM)" userId="d06abc4d-0cfc-4849-aedb-1cba97d781f9" providerId="ADAL" clId="{50196807-5C57-45E4-84F2-494BBD9DAA35}" dt="2024-06-06T16:30:37.211" v="1256" actId="2696"/>
          <pc:sldLayoutMkLst>
            <pc:docMk/>
            <pc:sldMasterMk cId="977886295" sldId="2147485104"/>
            <pc:sldLayoutMk cId="918056213" sldId="2147485107"/>
          </pc:sldLayoutMkLst>
        </pc:sldLayoutChg>
        <pc:sldLayoutChg chg="del">
          <pc:chgData name="Luedecke, Andrea (DI PA CM)" userId="d06abc4d-0cfc-4849-aedb-1cba97d781f9" providerId="ADAL" clId="{50196807-5C57-45E4-84F2-494BBD9DAA35}" dt="2024-06-06T16:30:37.232" v="1257" actId="2696"/>
          <pc:sldLayoutMkLst>
            <pc:docMk/>
            <pc:sldMasterMk cId="977886295" sldId="2147485104"/>
            <pc:sldLayoutMk cId="2742033267" sldId="2147485108"/>
          </pc:sldLayoutMkLst>
        </pc:sldLayoutChg>
        <pc:sldLayoutChg chg="del">
          <pc:chgData name="Luedecke, Andrea (DI PA CM)" userId="d06abc4d-0cfc-4849-aedb-1cba97d781f9" providerId="ADAL" clId="{50196807-5C57-45E4-84F2-494BBD9DAA35}" dt="2024-06-06T16:30:37.251" v="1258" actId="2696"/>
          <pc:sldLayoutMkLst>
            <pc:docMk/>
            <pc:sldMasterMk cId="977886295" sldId="2147485104"/>
            <pc:sldLayoutMk cId="267613091" sldId="2147485109"/>
          </pc:sldLayoutMkLst>
        </pc:sldLayoutChg>
        <pc:sldLayoutChg chg="del">
          <pc:chgData name="Luedecke, Andrea (DI PA CM)" userId="d06abc4d-0cfc-4849-aedb-1cba97d781f9" providerId="ADAL" clId="{50196807-5C57-45E4-84F2-494BBD9DAA35}" dt="2024-06-06T16:30:37.277" v="1259" actId="2696"/>
          <pc:sldLayoutMkLst>
            <pc:docMk/>
            <pc:sldMasterMk cId="977886295" sldId="2147485104"/>
            <pc:sldLayoutMk cId="219249197" sldId="2147485110"/>
          </pc:sldLayoutMkLst>
        </pc:sldLayoutChg>
        <pc:sldLayoutChg chg="del">
          <pc:chgData name="Luedecke, Andrea (DI PA CM)" userId="d06abc4d-0cfc-4849-aedb-1cba97d781f9" providerId="ADAL" clId="{50196807-5C57-45E4-84F2-494BBD9DAA35}" dt="2024-06-06T16:30:37.300" v="1260" actId="2696"/>
          <pc:sldLayoutMkLst>
            <pc:docMk/>
            <pc:sldMasterMk cId="977886295" sldId="2147485104"/>
            <pc:sldLayoutMk cId="2914481441" sldId="2147485111"/>
          </pc:sldLayoutMkLst>
        </pc:sldLayoutChg>
        <pc:sldLayoutChg chg="del">
          <pc:chgData name="Luedecke, Andrea (DI PA CM)" userId="d06abc4d-0cfc-4849-aedb-1cba97d781f9" providerId="ADAL" clId="{50196807-5C57-45E4-84F2-494BBD9DAA35}" dt="2024-06-06T16:30:37.322" v="1261" actId="2696"/>
          <pc:sldLayoutMkLst>
            <pc:docMk/>
            <pc:sldMasterMk cId="977886295" sldId="2147485104"/>
            <pc:sldLayoutMk cId="3374417382" sldId="2147485112"/>
          </pc:sldLayoutMkLst>
        </pc:sldLayoutChg>
        <pc:sldLayoutChg chg="del">
          <pc:chgData name="Luedecke, Andrea (DI PA CM)" userId="d06abc4d-0cfc-4849-aedb-1cba97d781f9" providerId="ADAL" clId="{50196807-5C57-45E4-84F2-494BBD9DAA35}" dt="2024-06-06T16:30:37.345" v="1262" actId="2696"/>
          <pc:sldLayoutMkLst>
            <pc:docMk/>
            <pc:sldMasterMk cId="977886295" sldId="2147485104"/>
            <pc:sldLayoutMk cId="1458692739" sldId="2147485113"/>
          </pc:sldLayoutMkLst>
        </pc:sldLayoutChg>
        <pc:sldLayoutChg chg="del">
          <pc:chgData name="Luedecke, Andrea (DI PA CM)" userId="d06abc4d-0cfc-4849-aedb-1cba97d781f9" providerId="ADAL" clId="{50196807-5C57-45E4-84F2-494BBD9DAA35}" dt="2024-06-06T16:30:37.367" v="1263" actId="2696"/>
          <pc:sldLayoutMkLst>
            <pc:docMk/>
            <pc:sldMasterMk cId="977886295" sldId="2147485104"/>
            <pc:sldLayoutMk cId="3758328967" sldId="2147485114"/>
          </pc:sldLayoutMkLst>
        </pc:sldLayoutChg>
        <pc:sldLayoutChg chg="del">
          <pc:chgData name="Luedecke, Andrea (DI PA CM)" userId="d06abc4d-0cfc-4849-aedb-1cba97d781f9" providerId="ADAL" clId="{50196807-5C57-45E4-84F2-494BBD9DAA35}" dt="2024-06-06T16:30:37.386" v="1264" actId="2696"/>
          <pc:sldLayoutMkLst>
            <pc:docMk/>
            <pc:sldMasterMk cId="977886295" sldId="2147485104"/>
            <pc:sldLayoutMk cId="21282985" sldId="2147485115"/>
          </pc:sldLayoutMkLst>
        </pc:sldLayoutChg>
        <pc:sldLayoutChg chg="del">
          <pc:chgData name="Luedecke, Andrea (DI PA CM)" userId="d06abc4d-0cfc-4849-aedb-1cba97d781f9" providerId="ADAL" clId="{50196807-5C57-45E4-84F2-494BBD9DAA35}" dt="2024-06-06T16:30:37.410" v="1265" actId="2696"/>
          <pc:sldLayoutMkLst>
            <pc:docMk/>
            <pc:sldMasterMk cId="977886295" sldId="2147485104"/>
            <pc:sldLayoutMk cId="2224203219" sldId="2147485116"/>
          </pc:sldLayoutMkLst>
        </pc:sldLayoutChg>
        <pc:sldLayoutChg chg="del">
          <pc:chgData name="Luedecke, Andrea (DI PA CM)" userId="d06abc4d-0cfc-4849-aedb-1cba97d781f9" providerId="ADAL" clId="{50196807-5C57-45E4-84F2-494BBD9DAA35}" dt="2024-06-06T16:30:37.433" v="1266" actId="2696"/>
          <pc:sldLayoutMkLst>
            <pc:docMk/>
            <pc:sldMasterMk cId="977886295" sldId="2147485104"/>
            <pc:sldLayoutMk cId="3646550554" sldId="2147485117"/>
          </pc:sldLayoutMkLst>
        </pc:sldLayoutChg>
        <pc:sldLayoutChg chg="del">
          <pc:chgData name="Luedecke, Andrea (DI PA CM)" userId="d06abc4d-0cfc-4849-aedb-1cba97d781f9" providerId="ADAL" clId="{50196807-5C57-45E4-84F2-494BBD9DAA35}" dt="2024-06-06T16:30:37.451" v="1267" actId="2696"/>
          <pc:sldLayoutMkLst>
            <pc:docMk/>
            <pc:sldMasterMk cId="977886295" sldId="2147485104"/>
            <pc:sldLayoutMk cId="590337519" sldId="2147485118"/>
          </pc:sldLayoutMkLst>
        </pc:sldLayoutChg>
        <pc:sldLayoutChg chg="del">
          <pc:chgData name="Luedecke, Andrea (DI PA CM)" userId="d06abc4d-0cfc-4849-aedb-1cba97d781f9" providerId="ADAL" clId="{50196807-5C57-45E4-84F2-494BBD9DAA35}" dt="2024-06-06T16:30:37.477" v="1268" actId="2696"/>
          <pc:sldLayoutMkLst>
            <pc:docMk/>
            <pc:sldMasterMk cId="977886295" sldId="2147485104"/>
            <pc:sldLayoutMk cId="2862141171" sldId="2147485119"/>
          </pc:sldLayoutMkLst>
        </pc:sldLayoutChg>
        <pc:sldLayoutChg chg="del">
          <pc:chgData name="Luedecke, Andrea (DI PA CM)" userId="d06abc4d-0cfc-4849-aedb-1cba97d781f9" providerId="ADAL" clId="{50196807-5C57-45E4-84F2-494BBD9DAA35}" dt="2024-06-06T16:30:37.499" v="1269" actId="2696"/>
          <pc:sldLayoutMkLst>
            <pc:docMk/>
            <pc:sldMasterMk cId="977886295" sldId="2147485104"/>
            <pc:sldLayoutMk cId="2104637230" sldId="2147485120"/>
          </pc:sldLayoutMkLst>
        </pc:sldLayoutChg>
        <pc:sldLayoutChg chg="del">
          <pc:chgData name="Luedecke, Andrea (DI PA CM)" userId="d06abc4d-0cfc-4849-aedb-1cba97d781f9" providerId="ADAL" clId="{50196807-5C57-45E4-84F2-494BBD9DAA35}" dt="2024-06-06T16:30:37.519" v="1270" actId="2696"/>
          <pc:sldLayoutMkLst>
            <pc:docMk/>
            <pc:sldMasterMk cId="977886295" sldId="2147485104"/>
            <pc:sldLayoutMk cId="1814857713" sldId="2147485121"/>
          </pc:sldLayoutMkLst>
        </pc:sldLayoutChg>
        <pc:sldLayoutChg chg="del">
          <pc:chgData name="Luedecke, Andrea (DI PA CM)" userId="d06abc4d-0cfc-4849-aedb-1cba97d781f9" providerId="ADAL" clId="{50196807-5C57-45E4-84F2-494BBD9DAA35}" dt="2024-06-06T16:30:37.544" v="1271" actId="2696"/>
          <pc:sldLayoutMkLst>
            <pc:docMk/>
            <pc:sldMasterMk cId="977886295" sldId="2147485104"/>
            <pc:sldLayoutMk cId="2049916575" sldId="2147485122"/>
          </pc:sldLayoutMkLst>
        </pc:sldLayoutChg>
        <pc:sldLayoutChg chg="del">
          <pc:chgData name="Luedecke, Andrea (DI PA CM)" userId="d06abc4d-0cfc-4849-aedb-1cba97d781f9" providerId="ADAL" clId="{50196807-5C57-45E4-84F2-494BBD9DAA35}" dt="2024-06-06T16:30:37.565" v="1272" actId="2696"/>
          <pc:sldLayoutMkLst>
            <pc:docMk/>
            <pc:sldMasterMk cId="977886295" sldId="2147485104"/>
            <pc:sldLayoutMk cId="3736728909" sldId="2147485123"/>
          </pc:sldLayoutMkLst>
        </pc:sldLayoutChg>
        <pc:sldLayoutChg chg="del">
          <pc:chgData name="Luedecke, Andrea (DI PA CM)" userId="d06abc4d-0cfc-4849-aedb-1cba97d781f9" providerId="ADAL" clId="{50196807-5C57-45E4-84F2-494BBD9DAA35}" dt="2024-06-06T16:30:37.591" v="1273" actId="2696"/>
          <pc:sldLayoutMkLst>
            <pc:docMk/>
            <pc:sldMasterMk cId="977886295" sldId="2147485104"/>
            <pc:sldLayoutMk cId="1562086372" sldId="2147485124"/>
          </pc:sldLayoutMkLst>
        </pc:sldLayoutChg>
        <pc:sldLayoutChg chg="del">
          <pc:chgData name="Luedecke, Andrea (DI PA CM)" userId="d06abc4d-0cfc-4849-aedb-1cba97d781f9" providerId="ADAL" clId="{50196807-5C57-45E4-84F2-494BBD9DAA35}" dt="2024-06-06T16:30:37.619" v="1274" actId="2696"/>
          <pc:sldLayoutMkLst>
            <pc:docMk/>
            <pc:sldMasterMk cId="977886295" sldId="2147485104"/>
            <pc:sldLayoutMk cId="3169658342" sldId="2147485125"/>
          </pc:sldLayoutMkLst>
        </pc:sldLayoutChg>
        <pc:sldLayoutChg chg="del">
          <pc:chgData name="Luedecke, Andrea (DI PA CM)" userId="d06abc4d-0cfc-4849-aedb-1cba97d781f9" providerId="ADAL" clId="{50196807-5C57-45E4-84F2-494BBD9DAA35}" dt="2024-06-06T16:30:37.646" v="1275" actId="2696"/>
          <pc:sldLayoutMkLst>
            <pc:docMk/>
            <pc:sldMasterMk cId="977886295" sldId="2147485104"/>
            <pc:sldLayoutMk cId="3961212911" sldId="2147485126"/>
          </pc:sldLayoutMkLst>
        </pc:sldLayoutChg>
        <pc:sldLayoutChg chg="del">
          <pc:chgData name="Luedecke, Andrea (DI PA CM)" userId="d06abc4d-0cfc-4849-aedb-1cba97d781f9" providerId="ADAL" clId="{50196807-5C57-45E4-84F2-494BBD9DAA35}" dt="2024-06-06T16:30:37.675" v="1276" actId="2696"/>
          <pc:sldLayoutMkLst>
            <pc:docMk/>
            <pc:sldMasterMk cId="977886295" sldId="2147485104"/>
            <pc:sldLayoutMk cId="3571283236" sldId="2147485127"/>
          </pc:sldLayoutMkLst>
        </pc:sldLayoutChg>
        <pc:sldLayoutChg chg="del">
          <pc:chgData name="Luedecke, Andrea (DI PA CM)" userId="d06abc4d-0cfc-4849-aedb-1cba97d781f9" providerId="ADAL" clId="{50196807-5C57-45E4-84F2-494BBD9DAA35}" dt="2024-06-06T16:30:37.705" v="1277" actId="2696"/>
          <pc:sldLayoutMkLst>
            <pc:docMk/>
            <pc:sldMasterMk cId="977886295" sldId="2147485104"/>
            <pc:sldLayoutMk cId="3606630340" sldId="2147485128"/>
          </pc:sldLayoutMkLst>
        </pc:sldLayoutChg>
        <pc:sldLayoutChg chg="del">
          <pc:chgData name="Luedecke, Andrea (DI PA CM)" userId="d06abc4d-0cfc-4849-aedb-1cba97d781f9" providerId="ADAL" clId="{50196807-5C57-45E4-84F2-494BBD9DAA35}" dt="2024-06-06T16:30:37.732" v="1278" actId="2696"/>
          <pc:sldLayoutMkLst>
            <pc:docMk/>
            <pc:sldMasterMk cId="977886295" sldId="2147485104"/>
            <pc:sldLayoutMk cId="609317192" sldId="2147485129"/>
          </pc:sldLayoutMkLst>
        </pc:sldLayoutChg>
        <pc:sldLayoutChg chg="del">
          <pc:chgData name="Luedecke, Andrea (DI PA CM)" userId="d06abc4d-0cfc-4849-aedb-1cba97d781f9" providerId="ADAL" clId="{50196807-5C57-45E4-84F2-494BBD9DAA35}" dt="2024-06-06T16:30:37.759" v="1279" actId="2696"/>
          <pc:sldLayoutMkLst>
            <pc:docMk/>
            <pc:sldMasterMk cId="977886295" sldId="2147485104"/>
            <pc:sldLayoutMk cId="1309991967" sldId="2147485130"/>
          </pc:sldLayoutMkLst>
        </pc:sldLayoutChg>
        <pc:sldLayoutChg chg="del">
          <pc:chgData name="Luedecke, Andrea (DI PA CM)" userId="d06abc4d-0cfc-4849-aedb-1cba97d781f9" providerId="ADAL" clId="{50196807-5C57-45E4-84F2-494BBD9DAA35}" dt="2024-06-06T16:30:37.783" v="1280" actId="2696"/>
          <pc:sldLayoutMkLst>
            <pc:docMk/>
            <pc:sldMasterMk cId="977886295" sldId="2147485104"/>
            <pc:sldLayoutMk cId="1550339345" sldId="2147485131"/>
          </pc:sldLayoutMkLst>
        </pc:sldLayoutChg>
        <pc:sldLayoutChg chg="del">
          <pc:chgData name="Luedecke, Andrea (DI PA CM)" userId="d06abc4d-0cfc-4849-aedb-1cba97d781f9" providerId="ADAL" clId="{50196807-5C57-45E4-84F2-494BBD9DAA35}" dt="2024-06-06T16:30:37.802" v="1281" actId="2696"/>
          <pc:sldLayoutMkLst>
            <pc:docMk/>
            <pc:sldMasterMk cId="977886295" sldId="2147485104"/>
            <pc:sldLayoutMk cId="1148415400" sldId="2147485132"/>
          </pc:sldLayoutMkLst>
        </pc:sldLayoutChg>
        <pc:sldLayoutChg chg="del">
          <pc:chgData name="Luedecke, Andrea (DI PA CM)" userId="d06abc4d-0cfc-4849-aedb-1cba97d781f9" providerId="ADAL" clId="{50196807-5C57-45E4-84F2-494BBD9DAA35}" dt="2024-06-06T16:30:37.829" v="1282" actId="2696"/>
          <pc:sldLayoutMkLst>
            <pc:docMk/>
            <pc:sldMasterMk cId="977886295" sldId="2147485104"/>
            <pc:sldLayoutMk cId="939495014" sldId="2147485133"/>
          </pc:sldLayoutMkLst>
        </pc:sldLayoutChg>
        <pc:sldLayoutChg chg="del">
          <pc:chgData name="Luedecke, Andrea (DI PA CM)" userId="d06abc4d-0cfc-4849-aedb-1cba97d781f9" providerId="ADAL" clId="{50196807-5C57-45E4-84F2-494BBD9DAA35}" dt="2024-06-06T16:30:37.855" v="1283" actId="2696"/>
          <pc:sldLayoutMkLst>
            <pc:docMk/>
            <pc:sldMasterMk cId="977886295" sldId="2147485104"/>
            <pc:sldLayoutMk cId="390704285" sldId="2147485134"/>
          </pc:sldLayoutMkLst>
        </pc:sldLayoutChg>
        <pc:sldLayoutChg chg="del">
          <pc:chgData name="Luedecke, Andrea (DI PA CM)" userId="d06abc4d-0cfc-4849-aedb-1cba97d781f9" providerId="ADAL" clId="{50196807-5C57-45E4-84F2-494BBD9DAA35}" dt="2024-06-06T16:30:37.878" v="1284" actId="2696"/>
          <pc:sldLayoutMkLst>
            <pc:docMk/>
            <pc:sldMasterMk cId="977886295" sldId="2147485104"/>
            <pc:sldLayoutMk cId="2274661192" sldId="2147485135"/>
          </pc:sldLayoutMkLst>
        </pc:sldLayoutChg>
        <pc:sldLayoutChg chg="del">
          <pc:chgData name="Luedecke, Andrea (DI PA CM)" userId="d06abc4d-0cfc-4849-aedb-1cba97d781f9" providerId="ADAL" clId="{50196807-5C57-45E4-84F2-494BBD9DAA35}" dt="2024-06-06T16:30:37.902" v="1285" actId="2696"/>
          <pc:sldLayoutMkLst>
            <pc:docMk/>
            <pc:sldMasterMk cId="977886295" sldId="2147485104"/>
            <pc:sldLayoutMk cId="916639702" sldId="2147485136"/>
          </pc:sldLayoutMkLst>
        </pc:sldLayoutChg>
        <pc:sldLayoutChg chg="del">
          <pc:chgData name="Luedecke, Andrea (DI PA CM)" userId="d06abc4d-0cfc-4849-aedb-1cba97d781f9" providerId="ADAL" clId="{50196807-5C57-45E4-84F2-494BBD9DAA35}" dt="2024-06-06T16:30:37.925" v="1286" actId="2696"/>
          <pc:sldLayoutMkLst>
            <pc:docMk/>
            <pc:sldMasterMk cId="977886295" sldId="2147485104"/>
            <pc:sldLayoutMk cId="3750445576" sldId="2147485137"/>
          </pc:sldLayoutMkLst>
        </pc:sldLayoutChg>
        <pc:sldLayoutChg chg="del">
          <pc:chgData name="Luedecke, Andrea (DI PA CM)" userId="d06abc4d-0cfc-4849-aedb-1cba97d781f9" providerId="ADAL" clId="{50196807-5C57-45E4-84F2-494BBD9DAA35}" dt="2024-06-06T16:30:37.948" v="1287" actId="2696"/>
          <pc:sldLayoutMkLst>
            <pc:docMk/>
            <pc:sldMasterMk cId="977886295" sldId="2147485104"/>
            <pc:sldLayoutMk cId="4112131860" sldId="2147485138"/>
          </pc:sldLayoutMkLst>
        </pc:sldLayoutChg>
        <pc:sldLayoutChg chg="del">
          <pc:chgData name="Luedecke, Andrea (DI PA CM)" userId="d06abc4d-0cfc-4849-aedb-1cba97d781f9" providerId="ADAL" clId="{50196807-5C57-45E4-84F2-494BBD9DAA35}" dt="2024-06-06T16:30:37.977" v="1288" actId="2696"/>
          <pc:sldLayoutMkLst>
            <pc:docMk/>
            <pc:sldMasterMk cId="977886295" sldId="2147485104"/>
            <pc:sldLayoutMk cId="2692134669" sldId="2147485139"/>
          </pc:sldLayoutMkLst>
        </pc:sldLayoutChg>
        <pc:sldLayoutChg chg="del">
          <pc:chgData name="Luedecke, Andrea (DI PA CM)" userId="d06abc4d-0cfc-4849-aedb-1cba97d781f9" providerId="ADAL" clId="{50196807-5C57-45E4-84F2-494BBD9DAA35}" dt="2024-06-06T16:30:38.007" v="1289" actId="2696"/>
          <pc:sldLayoutMkLst>
            <pc:docMk/>
            <pc:sldMasterMk cId="977886295" sldId="2147485104"/>
            <pc:sldLayoutMk cId="1293532851" sldId="2147485140"/>
          </pc:sldLayoutMkLst>
        </pc:sldLayoutChg>
        <pc:sldLayoutChg chg="del">
          <pc:chgData name="Luedecke, Andrea (DI PA CM)" userId="d06abc4d-0cfc-4849-aedb-1cba97d781f9" providerId="ADAL" clId="{50196807-5C57-45E4-84F2-494BBD9DAA35}" dt="2024-06-06T16:30:38.035" v="1290" actId="2696"/>
          <pc:sldLayoutMkLst>
            <pc:docMk/>
            <pc:sldMasterMk cId="977886295" sldId="2147485104"/>
            <pc:sldLayoutMk cId="923084315" sldId="2147485141"/>
          </pc:sldLayoutMkLst>
        </pc:sldLayoutChg>
        <pc:sldLayoutChg chg="del">
          <pc:chgData name="Luedecke, Andrea (DI PA CM)" userId="d06abc4d-0cfc-4849-aedb-1cba97d781f9" providerId="ADAL" clId="{50196807-5C57-45E4-84F2-494BBD9DAA35}" dt="2024-06-06T16:30:38.061" v="1291" actId="2696"/>
          <pc:sldLayoutMkLst>
            <pc:docMk/>
            <pc:sldMasterMk cId="977886295" sldId="2147485104"/>
            <pc:sldLayoutMk cId="2591165973" sldId="2147485142"/>
          </pc:sldLayoutMkLst>
        </pc:sldLayoutChg>
        <pc:sldLayoutChg chg="del">
          <pc:chgData name="Luedecke, Andrea (DI PA CM)" userId="d06abc4d-0cfc-4849-aedb-1cba97d781f9" providerId="ADAL" clId="{50196807-5C57-45E4-84F2-494BBD9DAA35}" dt="2024-06-06T16:30:38.084" v="1292" actId="2696"/>
          <pc:sldLayoutMkLst>
            <pc:docMk/>
            <pc:sldMasterMk cId="977886295" sldId="2147485104"/>
            <pc:sldLayoutMk cId="2471323719" sldId="2147485143"/>
          </pc:sldLayoutMkLst>
        </pc:sldLayoutChg>
        <pc:sldLayoutChg chg="del">
          <pc:chgData name="Luedecke, Andrea (DI PA CM)" userId="d06abc4d-0cfc-4849-aedb-1cba97d781f9" providerId="ADAL" clId="{50196807-5C57-45E4-84F2-494BBD9DAA35}" dt="2024-06-06T16:30:38.107" v="1293" actId="2696"/>
          <pc:sldLayoutMkLst>
            <pc:docMk/>
            <pc:sldMasterMk cId="977886295" sldId="2147485104"/>
            <pc:sldLayoutMk cId="2915664294" sldId="2147485144"/>
          </pc:sldLayoutMkLst>
        </pc:sldLayoutChg>
        <pc:sldLayoutChg chg="del">
          <pc:chgData name="Luedecke, Andrea (DI PA CM)" userId="d06abc4d-0cfc-4849-aedb-1cba97d781f9" providerId="ADAL" clId="{50196807-5C57-45E4-84F2-494BBD9DAA35}" dt="2024-06-06T16:30:38.129" v="1294" actId="2696"/>
          <pc:sldLayoutMkLst>
            <pc:docMk/>
            <pc:sldMasterMk cId="977886295" sldId="2147485104"/>
            <pc:sldLayoutMk cId="1738548270" sldId="2147485145"/>
          </pc:sldLayoutMkLst>
        </pc:sldLayoutChg>
        <pc:sldLayoutChg chg="del">
          <pc:chgData name="Luedecke, Andrea (DI PA CM)" userId="d06abc4d-0cfc-4849-aedb-1cba97d781f9" providerId="ADAL" clId="{50196807-5C57-45E4-84F2-494BBD9DAA35}" dt="2024-06-06T16:30:38.155" v="1295" actId="2696"/>
          <pc:sldLayoutMkLst>
            <pc:docMk/>
            <pc:sldMasterMk cId="977886295" sldId="2147485104"/>
            <pc:sldLayoutMk cId="3678846327" sldId="2147485146"/>
          </pc:sldLayoutMkLst>
        </pc:sldLayoutChg>
        <pc:sldLayoutChg chg="del">
          <pc:chgData name="Luedecke, Andrea (DI PA CM)" userId="d06abc4d-0cfc-4849-aedb-1cba97d781f9" providerId="ADAL" clId="{50196807-5C57-45E4-84F2-494BBD9DAA35}" dt="2024-06-06T16:30:38.178" v="1296" actId="2696"/>
          <pc:sldLayoutMkLst>
            <pc:docMk/>
            <pc:sldMasterMk cId="977886295" sldId="2147485104"/>
            <pc:sldLayoutMk cId="3769183392" sldId="2147485147"/>
          </pc:sldLayoutMkLst>
        </pc:sldLayoutChg>
        <pc:sldLayoutChg chg="del">
          <pc:chgData name="Luedecke, Andrea (DI PA CM)" userId="d06abc4d-0cfc-4849-aedb-1cba97d781f9" providerId="ADAL" clId="{50196807-5C57-45E4-84F2-494BBD9DAA35}" dt="2024-06-06T16:30:38.202" v="1297" actId="2696"/>
          <pc:sldLayoutMkLst>
            <pc:docMk/>
            <pc:sldMasterMk cId="977886295" sldId="2147485104"/>
            <pc:sldLayoutMk cId="3702896465" sldId="2147485148"/>
          </pc:sldLayoutMkLst>
        </pc:sldLayoutChg>
        <pc:sldLayoutChg chg="del">
          <pc:chgData name="Luedecke, Andrea (DI PA CM)" userId="d06abc4d-0cfc-4849-aedb-1cba97d781f9" providerId="ADAL" clId="{50196807-5C57-45E4-84F2-494BBD9DAA35}" dt="2024-06-06T16:30:38.226" v="1298" actId="2696"/>
          <pc:sldLayoutMkLst>
            <pc:docMk/>
            <pc:sldMasterMk cId="977886295" sldId="2147485104"/>
            <pc:sldLayoutMk cId="3123689925" sldId="2147485149"/>
          </pc:sldLayoutMkLst>
        </pc:sldLayoutChg>
        <pc:sldLayoutChg chg="del">
          <pc:chgData name="Luedecke, Andrea (DI PA CM)" userId="d06abc4d-0cfc-4849-aedb-1cba97d781f9" providerId="ADAL" clId="{50196807-5C57-45E4-84F2-494BBD9DAA35}" dt="2024-06-06T16:30:38.249" v="1299" actId="2696"/>
          <pc:sldLayoutMkLst>
            <pc:docMk/>
            <pc:sldMasterMk cId="977886295" sldId="2147485104"/>
            <pc:sldLayoutMk cId="1374467223" sldId="2147485150"/>
          </pc:sldLayoutMkLst>
        </pc:sldLayoutChg>
        <pc:sldLayoutChg chg="del">
          <pc:chgData name="Luedecke, Andrea (DI PA CM)" userId="d06abc4d-0cfc-4849-aedb-1cba97d781f9" providerId="ADAL" clId="{50196807-5C57-45E4-84F2-494BBD9DAA35}" dt="2024-06-06T16:30:38.272" v="1300" actId="2696"/>
          <pc:sldLayoutMkLst>
            <pc:docMk/>
            <pc:sldMasterMk cId="977886295" sldId="2147485104"/>
            <pc:sldLayoutMk cId="473108613" sldId="2147485151"/>
          </pc:sldLayoutMkLst>
        </pc:sldLayoutChg>
        <pc:sldLayoutChg chg="del">
          <pc:chgData name="Luedecke, Andrea (DI PA CM)" userId="d06abc4d-0cfc-4849-aedb-1cba97d781f9" providerId="ADAL" clId="{50196807-5C57-45E4-84F2-494BBD9DAA35}" dt="2024-06-06T16:30:38.296" v="1301" actId="2696"/>
          <pc:sldLayoutMkLst>
            <pc:docMk/>
            <pc:sldMasterMk cId="977886295" sldId="2147485104"/>
            <pc:sldLayoutMk cId="2725974837" sldId="2147485152"/>
          </pc:sldLayoutMkLst>
        </pc:sldLayoutChg>
        <pc:sldLayoutChg chg="del">
          <pc:chgData name="Luedecke, Andrea (DI PA CM)" userId="d06abc4d-0cfc-4849-aedb-1cba97d781f9" providerId="ADAL" clId="{50196807-5C57-45E4-84F2-494BBD9DAA35}" dt="2024-06-06T16:30:38.316" v="1302" actId="2696"/>
          <pc:sldLayoutMkLst>
            <pc:docMk/>
            <pc:sldMasterMk cId="977886295" sldId="2147485104"/>
            <pc:sldLayoutMk cId="4014700003" sldId="2147485153"/>
          </pc:sldLayoutMkLst>
        </pc:sldLayoutChg>
        <pc:sldLayoutChg chg="del">
          <pc:chgData name="Luedecke, Andrea (DI PA CM)" userId="d06abc4d-0cfc-4849-aedb-1cba97d781f9" providerId="ADAL" clId="{50196807-5C57-45E4-84F2-494BBD9DAA35}" dt="2024-06-06T16:30:38.338" v="1303" actId="2696"/>
          <pc:sldLayoutMkLst>
            <pc:docMk/>
            <pc:sldMasterMk cId="977886295" sldId="2147485104"/>
            <pc:sldLayoutMk cId="2602511384" sldId="2147485154"/>
          </pc:sldLayoutMkLst>
        </pc:sldLayoutChg>
        <pc:sldLayoutChg chg="del">
          <pc:chgData name="Luedecke, Andrea (DI PA CM)" userId="d06abc4d-0cfc-4849-aedb-1cba97d781f9" providerId="ADAL" clId="{50196807-5C57-45E4-84F2-494BBD9DAA35}" dt="2024-06-06T16:30:38.364" v="1304" actId="2696"/>
          <pc:sldLayoutMkLst>
            <pc:docMk/>
            <pc:sldMasterMk cId="977886295" sldId="2147485104"/>
            <pc:sldLayoutMk cId="2701064291" sldId="2147485155"/>
          </pc:sldLayoutMkLst>
        </pc:sldLayoutChg>
        <pc:sldLayoutChg chg="del">
          <pc:chgData name="Luedecke, Andrea (DI PA CM)" userId="d06abc4d-0cfc-4849-aedb-1cba97d781f9" providerId="ADAL" clId="{50196807-5C57-45E4-84F2-494BBD9DAA35}" dt="2024-06-06T16:30:38.386" v="1305" actId="2696"/>
          <pc:sldLayoutMkLst>
            <pc:docMk/>
            <pc:sldMasterMk cId="977886295" sldId="2147485104"/>
            <pc:sldLayoutMk cId="1592060401" sldId="2147485156"/>
          </pc:sldLayoutMkLst>
        </pc:sldLayoutChg>
        <pc:sldLayoutChg chg="del">
          <pc:chgData name="Luedecke, Andrea (DI PA CM)" userId="d06abc4d-0cfc-4849-aedb-1cba97d781f9" providerId="ADAL" clId="{50196807-5C57-45E4-84F2-494BBD9DAA35}" dt="2024-06-06T16:30:38.408" v="1306" actId="2696"/>
          <pc:sldLayoutMkLst>
            <pc:docMk/>
            <pc:sldMasterMk cId="977886295" sldId="2147485104"/>
            <pc:sldLayoutMk cId="3132675547" sldId="2147485157"/>
          </pc:sldLayoutMkLst>
        </pc:sldLayoutChg>
      </pc:sldMasterChg>
      <pc:sldMasterChg chg="del delSldLayout">
        <pc:chgData name="Luedecke, Andrea (DI PA CM)" userId="d06abc4d-0cfc-4849-aedb-1cba97d781f9" providerId="ADAL" clId="{50196807-5C57-45E4-84F2-494BBD9DAA35}" dt="2024-06-06T16:30:47.260" v="1336" actId="2696"/>
        <pc:sldMasterMkLst>
          <pc:docMk/>
          <pc:sldMasterMk cId="2021602431" sldId="2147485248"/>
        </pc:sldMasterMkLst>
        <pc:sldLayoutChg chg="del">
          <pc:chgData name="Luedecke, Andrea (DI PA CM)" userId="d06abc4d-0cfc-4849-aedb-1cba97d781f9" providerId="ADAL" clId="{50196807-5C57-45E4-84F2-494BBD9DAA35}" dt="2024-06-06T16:30:46.474" v="1309" actId="2696"/>
          <pc:sldLayoutMkLst>
            <pc:docMk/>
            <pc:sldMasterMk cId="2021602431" sldId="2147485248"/>
            <pc:sldLayoutMk cId="2165401974" sldId="2147485249"/>
          </pc:sldLayoutMkLst>
        </pc:sldLayoutChg>
        <pc:sldLayoutChg chg="del">
          <pc:chgData name="Luedecke, Andrea (DI PA CM)" userId="d06abc4d-0cfc-4849-aedb-1cba97d781f9" providerId="ADAL" clId="{50196807-5C57-45E4-84F2-494BBD9DAA35}" dt="2024-06-06T16:30:46.528" v="1310" actId="2696"/>
          <pc:sldLayoutMkLst>
            <pc:docMk/>
            <pc:sldMasterMk cId="2021602431" sldId="2147485248"/>
            <pc:sldLayoutMk cId="4289292623" sldId="2147485250"/>
          </pc:sldLayoutMkLst>
        </pc:sldLayoutChg>
        <pc:sldLayoutChg chg="del">
          <pc:chgData name="Luedecke, Andrea (DI PA CM)" userId="d06abc4d-0cfc-4849-aedb-1cba97d781f9" providerId="ADAL" clId="{50196807-5C57-45E4-84F2-494BBD9DAA35}" dt="2024-06-06T16:30:46.562" v="1311" actId="2696"/>
          <pc:sldLayoutMkLst>
            <pc:docMk/>
            <pc:sldMasterMk cId="2021602431" sldId="2147485248"/>
            <pc:sldLayoutMk cId="935263559" sldId="2147485251"/>
          </pc:sldLayoutMkLst>
        </pc:sldLayoutChg>
        <pc:sldLayoutChg chg="del">
          <pc:chgData name="Luedecke, Andrea (DI PA CM)" userId="d06abc4d-0cfc-4849-aedb-1cba97d781f9" providerId="ADAL" clId="{50196807-5C57-45E4-84F2-494BBD9DAA35}" dt="2024-06-06T16:30:46.609" v="1312" actId="2696"/>
          <pc:sldLayoutMkLst>
            <pc:docMk/>
            <pc:sldMasterMk cId="2021602431" sldId="2147485248"/>
            <pc:sldLayoutMk cId="3029885794" sldId="2147485252"/>
          </pc:sldLayoutMkLst>
        </pc:sldLayoutChg>
        <pc:sldLayoutChg chg="del">
          <pc:chgData name="Luedecke, Andrea (DI PA CM)" userId="d06abc4d-0cfc-4849-aedb-1cba97d781f9" providerId="ADAL" clId="{50196807-5C57-45E4-84F2-494BBD9DAA35}" dt="2024-06-06T16:30:46.616" v="1313" actId="2696"/>
          <pc:sldLayoutMkLst>
            <pc:docMk/>
            <pc:sldMasterMk cId="2021602431" sldId="2147485248"/>
            <pc:sldLayoutMk cId="4028538960" sldId="2147485253"/>
          </pc:sldLayoutMkLst>
        </pc:sldLayoutChg>
        <pc:sldLayoutChg chg="del">
          <pc:chgData name="Luedecke, Andrea (DI PA CM)" userId="d06abc4d-0cfc-4849-aedb-1cba97d781f9" providerId="ADAL" clId="{50196807-5C57-45E4-84F2-494BBD9DAA35}" dt="2024-06-06T16:30:46.655" v="1314" actId="2696"/>
          <pc:sldLayoutMkLst>
            <pc:docMk/>
            <pc:sldMasterMk cId="2021602431" sldId="2147485248"/>
            <pc:sldLayoutMk cId="3340406946" sldId="2147485254"/>
          </pc:sldLayoutMkLst>
        </pc:sldLayoutChg>
        <pc:sldLayoutChg chg="del">
          <pc:chgData name="Luedecke, Andrea (DI PA CM)" userId="d06abc4d-0cfc-4849-aedb-1cba97d781f9" providerId="ADAL" clId="{50196807-5C57-45E4-84F2-494BBD9DAA35}" dt="2024-06-06T16:30:46.680" v="1315" actId="2696"/>
          <pc:sldLayoutMkLst>
            <pc:docMk/>
            <pc:sldMasterMk cId="2021602431" sldId="2147485248"/>
            <pc:sldLayoutMk cId="2384674223" sldId="2147485255"/>
          </pc:sldLayoutMkLst>
        </pc:sldLayoutChg>
        <pc:sldLayoutChg chg="del">
          <pc:chgData name="Luedecke, Andrea (DI PA CM)" userId="d06abc4d-0cfc-4849-aedb-1cba97d781f9" providerId="ADAL" clId="{50196807-5C57-45E4-84F2-494BBD9DAA35}" dt="2024-06-06T16:30:46.705" v="1316" actId="2696"/>
          <pc:sldLayoutMkLst>
            <pc:docMk/>
            <pc:sldMasterMk cId="2021602431" sldId="2147485248"/>
            <pc:sldLayoutMk cId="1216279307" sldId="2147485256"/>
          </pc:sldLayoutMkLst>
        </pc:sldLayoutChg>
        <pc:sldLayoutChg chg="del">
          <pc:chgData name="Luedecke, Andrea (DI PA CM)" userId="d06abc4d-0cfc-4849-aedb-1cba97d781f9" providerId="ADAL" clId="{50196807-5C57-45E4-84F2-494BBD9DAA35}" dt="2024-06-06T16:30:46.732" v="1317" actId="2696"/>
          <pc:sldLayoutMkLst>
            <pc:docMk/>
            <pc:sldMasterMk cId="2021602431" sldId="2147485248"/>
            <pc:sldLayoutMk cId="2012101665" sldId="2147485257"/>
          </pc:sldLayoutMkLst>
        </pc:sldLayoutChg>
        <pc:sldLayoutChg chg="del">
          <pc:chgData name="Luedecke, Andrea (DI PA CM)" userId="d06abc4d-0cfc-4849-aedb-1cba97d781f9" providerId="ADAL" clId="{50196807-5C57-45E4-84F2-494BBD9DAA35}" dt="2024-06-06T16:30:46.764" v="1318" actId="2696"/>
          <pc:sldLayoutMkLst>
            <pc:docMk/>
            <pc:sldMasterMk cId="2021602431" sldId="2147485248"/>
            <pc:sldLayoutMk cId="601383173" sldId="2147485258"/>
          </pc:sldLayoutMkLst>
        </pc:sldLayoutChg>
        <pc:sldLayoutChg chg="del">
          <pc:chgData name="Luedecke, Andrea (DI PA CM)" userId="d06abc4d-0cfc-4849-aedb-1cba97d781f9" providerId="ADAL" clId="{50196807-5C57-45E4-84F2-494BBD9DAA35}" dt="2024-06-06T16:30:46.792" v="1319" actId="2696"/>
          <pc:sldLayoutMkLst>
            <pc:docMk/>
            <pc:sldMasterMk cId="2021602431" sldId="2147485248"/>
            <pc:sldLayoutMk cId="3685644238" sldId="2147485259"/>
          </pc:sldLayoutMkLst>
        </pc:sldLayoutChg>
        <pc:sldLayoutChg chg="del">
          <pc:chgData name="Luedecke, Andrea (DI PA CM)" userId="d06abc4d-0cfc-4849-aedb-1cba97d781f9" providerId="ADAL" clId="{50196807-5C57-45E4-84F2-494BBD9DAA35}" dt="2024-06-06T16:30:46.818" v="1320" actId="2696"/>
          <pc:sldLayoutMkLst>
            <pc:docMk/>
            <pc:sldMasterMk cId="2021602431" sldId="2147485248"/>
            <pc:sldLayoutMk cId="3922133398" sldId="2147485260"/>
          </pc:sldLayoutMkLst>
        </pc:sldLayoutChg>
        <pc:sldLayoutChg chg="del">
          <pc:chgData name="Luedecke, Andrea (DI PA CM)" userId="d06abc4d-0cfc-4849-aedb-1cba97d781f9" providerId="ADAL" clId="{50196807-5C57-45E4-84F2-494BBD9DAA35}" dt="2024-06-06T16:30:46.838" v="1321" actId="2696"/>
          <pc:sldLayoutMkLst>
            <pc:docMk/>
            <pc:sldMasterMk cId="2021602431" sldId="2147485248"/>
            <pc:sldLayoutMk cId="450926589" sldId="2147485261"/>
          </pc:sldLayoutMkLst>
        </pc:sldLayoutChg>
        <pc:sldLayoutChg chg="del">
          <pc:chgData name="Luedecke, Andrea (DI PA CM)" userId="d06abc4d-0cfc-4849-aedb-1cba97d781f9" providerId="ADAL" clId="{50196807-5C57-45E4-84F2-494BBD9DAA35}" dt="2024-06-06T16:30:46.868" v="1322" actId="2696"/>
          <pc:sldLayoutMkLst>
            <pc:docMk/>
            <pc:sldMasterMk cId="2021602431" sldId="2147485248"/>
            <pc:sldLayoutMk cId="3899409181" sldId="2147485262"/>
          </pc:sldLayoutMkLst>
        </pc:sldLayoutChg>
        <pc:sldLayoutChg chg="del">
          <pc:chgData name="Luedecke, Andrea (DI PA CM)" userId="d06abc4d-0cfc-4849-aedb-1cba97d781f9" providerId="ADAL" clId="{50196807-5C57-45E4-84F2-494BBD9DAA35}" dt="2024-06-06T16:30:46.900" v="1323" actId="2696"/>
          <pc:sldLayoutMkLst>
            <pc:docMk/>
            <pc:sldMasterMk cId="2021602431" sldId="2147485248"/>
            <pc:sldLayoutMk cId="4034238914" sldId="2147485263"/>
          </pc:sldLayoutMkLst>
        </pc:sldLayoutChg>
        <pc:sldLayoutChg chg="del">
          <pc:chgData name="Luedecke, Andrea (DI PA CM)" userId="d06abc4d-0cfc-4849-aedb-1cba97d781f9" providerId="ADAL" clId="{50196807-5C57-45E4-84F2-494BBD9DAA35}" dt="2024-06-06T16:30:46.926" v="1324" actId="2696"/>
          <pc:sldLayoutMkLst>
            <pc:docMk/>
            <pc:sldMasterMk cId="2021602431" sldId="2147485248"/>
            <pc:sldLayoutMk cId="512239183" sldId="2147485264"/>
          </pc:sldLayoutMkLst>
        </pc:sldLayoutChg>
        <pc:sldLayoutChg chg="del">
          <pc:chgData name="Luedecke, Andrea (DI PA CM)" userId="d06abc4d-0cfc-4849-aedb-1cba97d781f9" providerId="ADAL" clId="{50196807-5C57-45E4-84F2-494BBD9DAA35}" dt="2024-06-06T16:30:46.943" v="1325" actId="2696"/>
          <pc:sldLayoutMkLst>
            <pc:docMk/>
            <pc:sldMasterMk cId="2021602431" sldId="2147485248"/>
            <pc:sldLayoutMk cId="142943418" sldId="2147485265"/>
          </pc:sldLayoutMkLst>
        </pc:sldLayoutChg>
        <pc:sldLayoutChg chg="del">
          <pc:chgData name="Luedecke, Andrea (DI PA CM)" userId="d06abc4d-0cfc-4849-aedb-1cba97d781f9" providerId="ADAL" clId="{50196807-5C57-45E4-84F2-494BBD9DAA35}" dt="2024-06-06T16:30:46.975" v="1326" actId="2696"/>
          <pc:sldLayoutMkLst>
            <pc:docMk/>
            <pc:sldMasterMk cId="2021602431" sldId="2147485248"/>
            <pc:sldLayoutMk cId="161114456" sldId="2147485266"/>
          </pc:sldLayoutMkLst>
        </pc:sldLayoutChg>
        <pc:sldLayoutChg chg="del">
          <pc:chgData name="Luedecke, Andrea (DI PA CM)" userId="d06abc4d-0cfc-4849-aedb-1cba97d781f9" providerId="ADAL" clId="{50196807-5C57-45E4-84F2-494BBD9DAA35}" dt="2024-06-06T16:30:47.006" v="1327" actId="2696"/>
          <pc:sldLayoutMkLst>
            <pc:docMk/>
            <pc:sldMasterMk cId="2021602431" sldId="2147485248"/>
            <pc:sldLayoutMk cId="3691868682" sldId="2147485267"/>
          </pc:sldLayoutMkLst>
        </pc:sldLayoutChg>
        <pc:sldLayoutChg chg="del">
          <pc:chgData name="Luedecke, Andrea (DI PA CM)" userId="d06abc4d-0cfc-4849-aedb-1cba97d781f9" providerId="ADAL" clId="{50196807-5C57-45E4-84F2-494BBD9DAA35}" dt="2024-06-06T16:30:47.030" v="1328" actId="2696"/>
          <pc:sldLayoutMkLst>
            <pc:docMk/>
            <pc:sldMasterMk cId="2021602431" sldId="2147485248"/>
            <pc:sldLayoutMk cId="1907528111" sldId="2147485268"/>
          </pc:sldLayoutMkLst>
        </pc:sldLayoutChg>
        <pc:sldLayoutChg chg="del">
          <pc:chgData name="Luedecke, Andrea (DI PA CM)" userId="d06abc4d-0cfc-4849-aedb-1cba97d781f9" providerId="ADAL" clId="{50196807-5C57-45E4-84F2-494BBD9DAA35}" dt="2024-06-06T16:30:47.059" v="1329" actId="2696"/>
          <pc:sldLayoutMkLst>
            <pc:docMk/>
            <pc:sldMasterMk cId="2021602431" sldId="2147485248"/>
            <pc:sldLayoutMk cId="3401600250" sldId="2147485269"/>
          </pc:sldLayoutMkLst>
        </pc:sldLayoutChg>
        <pc:sldLayoutChg chg="del">
          <pc:chgData name="Luedecke, Andrea (DI PA CM)" userId="d06abc4d-0cfc-4849-aedb-1cba97d781f9" providerId="ADAL" clId="{50196807-5C57-45E4-84F2-494BBD9DAA35}" dt="2024-06-06T16:30:47.083" v="1330" actId="2696"/>
          <pc:sldLayoutMkLst>
            <pc:docMk/>
            <pc:sldMasterMk cId="2021602431" sldId="2147485248"/>
            <pc:sldLayoutMk cId="3961894135" sldId="2147485270"/>
          </pc:sldLayoutMkLst>
        </pc:sldLayoutChg>
        <pc:sldLayoutChg chg="del">
          <pc:chgData name="Luedecke, Andrea (DI PA CM)" userId="d06abc4d-0cfc-4849-aedb-1cba97d781f9" providerId="ADAL" clId="{50196807-5C57-45E4-84F2-494BBD9DAA35}" dt="2024-06-06T16:30:47.112" v="1331" actId="2696"/>
          <pc:sldLayoutMkLst>
            <pc:docMk/>
            <pc:sldMasterMk cId="2021602431" sldId="2147485248"/>
            <pc:sldLayoutMk cId="2756173172" sldId="2147485271"/>
          </pc:sldLayoutMkLst>
        </pc:sldLayoutChg>
        <pc:sldLayoutChg chg="del">
          <pc:chgData name="Luedecke, Andrea (DI PA CM)" userId="d06abc4d-0cfc-4849-aedb-1cba97d781f9" providerId="ADAL" clId="{50196807-5C57-45E4-84F2-494BBD9DAA35}" dt="2024-06-06T16:30:47.164" v="1332" actId="2696"/>
          <pc:sldLayoutMkLst>
            <pc:docMk/>
            <pc:sldMasterMk cId="2021602431" sldId="2147485248"/>
            <pc:sldLayoutMk cId="503373881" sldId="2147485272"/>
          </pc:sldLayoutMkLst>
        </pc:sldLayoutChg>
        <pc:sldLayoutChg chg="del">
          <pc:chgData name="Luedecke, Andrea (DI PA CM)" userId="d06abc4d-0cfc-4849-aedb-1cba97d781f9" providerId="ADAL" clId="{50196807-5C57-45E4-84F2-494BBD9DAA35}" dt="2024-06-06T16:30:47.191" v="1333" actId="2696"/>
          <pc:sldLayoutMkLst>
            <pc:docMk/>
            <pc:sldMasterMk cId="2021602431" sldId="2147485248"/>
            <pc:sldLayoutMk cId="78688922" sldId="2147485273"/>
          </pc:sldLayoutMkLst>
        </pc:sldLayoutChg>
        <pc:sldLayoutChg chg="del">
          <pc:chgData name="Luedecke, Andrea (DI PA CM)" userId="d06abc4d-0cfc-4849-aedb-1cba97d781f9" providerId="ADAL" clId="{50196807-5C57-45E4-84F2-494BBD9DAA35}" dt="2024-06-06T16:30:47.232" v="1334" actId="2696"/>
          <pc:sldLayoutMkLst>
            <pc:docMk/>
            <pc:sldMasterMk cId="2021602431" sldId="2147485248"/>
            <pc:sldLayoutMk cId="754537527" sldId="2147485274"/>
          </pc:sldLayoutMkLst>
        </pc:sldLayoutChg>
        <pc:sldLayoutChg chg="del">
          <pc:chgData name="Luedecke, Andrea (DI PA CM)" userId="d06abc4d-0cfc-4849-aedb-1cba97d781f9" providerId="ADAL" clId="{50196807-5C57-45E4-84F2-494BBD9DAA35}" dt="2024-06-06T16:30:47.246" v="1335" actId="2696"/>
          <pc:sldLayoutMkLst>
            <pc:docMk/>
            <pc:sldMasterMk cId="2021602431" sldId="2147485248"/>
            <pc:sldLayoutMk cId="1294495013" sldId="2147485276"/>
          </pc:sldLayoutMkLst>
        </pc:sldLayoutChg>
      </pc:sldMasterChg>
      <pc:sldMasterChg chg="delSldLayout">
        <pc:chgData name="Luedecke, Andrea (DI PA CM)" userId="d06abc4d-0cfc-4849-aedb-1cba97d781f9" providerId="ADAL" clId="{50196807-5C57-45E4-84F2-494BBD9DAA35}" dt="2024-06-04T11:00:59.729" v="331" actId="47"/>
        <pc:sldMasterMkLst>
          <pc:docMk/>
          <pc:sldMasterMk cId="2276189643" sldId="2147485277"/>
        </pc:sldMasterMkLst>
        <pc:sldLayoutChg chg="del">
          <pc:chgData name="Luedecke, Andrea (DI PA CM)" userId="d06abc4d-0cfc-4849-aedb-1cba97d781f9" providerId="ADAL" clId="{50196807-5C57-45E4-84F2-494BBD9DAA35}" dt="2024-06-04T11:00:59.729" v="331" actId="47"/>
          <pc:sldLayoutMkLst>
            <pc:docMk/>
            <pc:sldMasterMk cId="2276189643" sldId="2147485277"/>
            <pc:sldLayoutMk cId="2680601607" sldId="2147485283"/>
          </pc:sldLayoutMkLst>
        </pc:sldLayoutChg>
      </pc:sldMasterChg>
      <pc:sldMasterChg chg="delSldLayout">
        <pc:chgData name="Luedecke, Andrea (DI PA CM)" userId="d06abc4d-0cfc-4849-aedb-1cba97d781f9" providerId="ADAL" clId="{50196807-5C57-45E4-84F2-494BBD9DAA35}" dt="2024-06-06T16:36:02.612" v="1508" actId="2696"/>
        <pc:sldMasterMkLst>
          <pc:docMk/>
          <pc:sldMasterMk cId="1304823156" sldId="2147485438"/>
        </pc:sldMasterMkLst>
        <pc:sldLayoutChg chg="del">
          <pc:chgData name="Luedecke, Andrea (DI PA CM)" userId="d06abc4d-0cfc-4849-aedb-1cba97d781f9" providerId="ADAL" clId="{50196807-5C57-45E4-84F2-494BBD9DAA35}" dt="2024-06-06T16:35:42.391" v="1441" actId="2696"/>
          <pc:sldLayoutMkLst>
            <pc:docMk/>
            <pc:sldMasterMk cId="1304823156" sldId="2147485438"/>
            <pc:sldLayoutMk cId="1634472501" sldId="2147485442"/>
          </pc:sldLayoutMkLst>
        </pc:sldLayoutChg>
        <pc:sldLayoutChg chg="del">
          <pc:chgData name="Luedecke, Andrea (DI PA CM)" userId="d06abc4d-0cfc-4849-aedb-1cba97d781f9" providerId="ADAL" clId="{50196807-5C57-45E4-84F2-494BBD9DAA35}" dt="2024-06-06T16:35:42.566" v="1442" actId="2696"/>
          <pc:sldLayoutMkLst>
            <pc:docMk/>
            <pc:sldMasterMk cId="1304823156" sldId="2147485438"/>
            <pc:sldLayoutMk cId="3560182148" sldId="2147485443"/>
          </pc:sldLayoutMkLst>
        </pc:sldLayoutChg>
        <pc:sldLayoutChg chg="del">
          <pc:chgData name="Luedecke, Andrea (DI PA CM)" userId="d06abc4d-0cfc-4849-aedb-1cba97d781f9" providerId="ADAL" clId="{50196807-5C57-45E4-84F2-494BBD9DAA35}" dt="2024-06-06T16:35:42.764" v="1443" actId="2696"/>
          <pc:sldLayoutMkLst>
            <pc:docMk/>
            <pc:sldMasterMk cId="1304823156" sldId="2147485438"/>
            <pc:sldLayoutMk cId="2603756455" sldId="2147485444"/>
          </pc:sldLayoutMkLst>
        </pc:sldLayoutChg>
        <pc:sldLayoutChg chg="del">
          <pc:chgData name="Luedecke, Andrea (DI PA CM)" userId="d06abc4d-0cfc-4849-aedb-1cba97d781f9" providerId="ADAL" clId="{50196807-5C57-45E4-84F2-494BBD9DAA35}" dt="2024-06-06T16:35:43.014" v="1444" actId="2696"/>
          <pc:sldLayoutMkLst>
            <pc:docMk/>
            <pc:sldMasterMk cId="1304823156" sldId="2147485438"/>
            <pc:sldLayoutMk cId="2218669668" sldId="2147485445"/>
          </pc:sldLayoutMkLst>
        </pc:sldLayoutChg>
        <pc:sldLayoutChg chg="del">
          <pc:chgData name="Luedecke, Andrea (DI PA CM)" userId="d06abc4d-0cfc-4849-aedb-1cba97d781f9" providerId="ADAL" clId="{50196807-5C57-45E4-84F2-494BBD9DAA35}" dt="2024-06-06T16:35:43.165" v="1445" actId="2696"/>
          <pc:sldLayoutMkLst>
            <pc:docMk/>
            <pc:sldMasterMk cId="1304823156" sldId="2147485438"/>
            <pc:sldLayoutMk cId="652884214" sldId="2147485446"/>
          </pc:sldLayoutMkLst>
        </pc:sldLayoutChg>
        <pc:sldLayoutChg chg="del">
          <pc:chgData name="Luedecke, Andrea (DI PA CM)" userId="d06abc4d-0cfc-4849-aedb-1cba97d781f9" providerId="ADAL" clId="{50196807-5C57-45E4-84F2-494BBD9DAA35}" dt="2024-06-06T16:35:43.384" v="1446" actId="2696"/>
          <pc:sldLayoutMkLst>
            <pc:docMk/>
            <pc:sldMasterMk cId="1304823156" sldId="2147485438"/>
            <pc:sldLayoutMk cId="1514357767" sldId="2147485447"/>
          </pc:sldLayoutMkLst>
        </pc:sldLayoutChg>
        <pc:sldLayoutChg chg="del">
          <pc:chgData name="Luedecke, Andrea (DI PA CM)" userId="d06abc4d-0cfc-4849-aedb-1cba97d781f9" providerId="ADAL" clId="{50196807-5C57-45E4-84F2-494BBD9DAA35}" dt="2024-06-06T16:35:43.767" v="1447" actId="2696"/>
          <pc:sldLayoutMkLst>
            <pc:docMk/>
            <pc:sldMasterMk cId="1304823156" sldId="2147485438"/>
            <pc:sldLayoutMk cId="2985749146" sldId="2147485448"/>
          </pc:sldLayoutMkLst>
        </pc:sldLayoutChg>
        <pc:sldLayoutChg chg="del">
          <pc:chgData name="Luedecke, Andrea (DI PA CM)" userId="d06abc4d-0cfc-4849-aedb-1cba97d781f9" providerId="ADAL" clId="{50196807-5C57-45E4-84F2-494BBD9DAA35}" dt="2024-06-06T16:35:43.819" v="1448" actId="2696"/>
          <pc:sldLayoutMkLst>
            <pc:docMk/>
            <pc:sldMasterMk cId="1304823156" sldId="2147485438"/>
            <pc:sldLayoutMk cId="3232547178" sldId="2147485449"/>
          </pc:sldLayoutMkLst>
        </pc:sldLayoutChg>
        <pc:sldLayoutChg chg="del">
          <pc:chgData name="Luedecke, Andrea (DI PA CM)" userId="d06abc4d-0cfc-4849-aedb-1cba97d781f9" providerId="ADAL" clId="{50196807-5C57-45E4-84F2-494BBD9DAA35}" dt="2024-06-06T16:35:44.020" v="1449" actId="2696"/>
          <pc:sldLayoutMkLst>
            <pc:docMk/>
            <pc:sldMasterMk cId="1304823156" sldId="2147485438"/>
            <pc:sldLayoutMk cId="360967453" sldId="2147485450"/>
          </pc:sldLayoutMkLst>
        </pc:sldLayoutChg>
        <pc:sldLayoutChg chg="del">
          <pc:chgData name="Luedecke, Andrea (DI PA CM)" userId="d06abc4d-0cfc-4849-aedb-1cba97d781f9" providerId="ADAL" clId="{50196807-5C57-45E4-84F2-494BBD9DAA35}" dt="2024-06-06T16:35:44.450" v="1450" actId="2696"/>
          <pc:sldLayoutMkLst>
            <pc:docMk/>
            <pc:sldMasterMk cId="1304823156" sldId="2147485438"/>
            <pc:sldLayoutMk cId="77252604" sldId="2147485451"/>
          </pc:sldLayoutMkLst>
        </pc:sldLayoutChg>
        <pc:sldLayoutChg chg="del">
          <pc:chgData name="Luedecke, Andrea (DI PA CM)" userId="d06abc4d-0cfc-4849-aedb-1cba97d781f9" providerId="ADAL" clId="{50196807-5C57-45E4-84F2-494BBD9DAA35}" dt="2024-06-06T16:35:44.473" v="1451" actId="2696"/>
          <pc:sldLayoutMkLst>
            <pc:docMk/>
            <pc:sldMasterMk cId="1304823156" sldId="2147485438"/>
            <pc:sldLayoutMk cId="3599404758" sldId="2147485452"/>
          </pc:sldLayoutMkLst>
        </pc:sldLayoutChg>
        <pc:sldLayoutChg chg="del">
          <pc:chgData name="Luedecke, Andrea (DI PA CM)" userId="d06abc4d-0cfc-4849-aedb-1cba97d781f9" providerId="ADAL" clId="{50196807-5C57-45E4-84F2-494BBD9DAA35}" dt="2024-06-06T16:35:44.583" v="1452" actId="2696"/>
          <pc:sldLayoutMkLst>
            <pc:docMk/>
            <pc:sldMasterMk cId="1304823156" sldId="2147485438"/>
            <pc:sldLayoutMk cId="258340176" sldId="2147485453"/>
          </pc:sldLayoutMkLst>
        </pc:sldLayoutChg>
        <pc:sldLayoutChg chg="del">
          <pc:chgData name="Luedecke, Andrea (DI PA CM)" userId="d06abc4d-0cfc-4849-aedb-1cba97d781f9" providerId="ADAL" clId="{50196807-5C57-45E4-84F2-494BBD9DAA35}" dt="2024-06-06T16:35:44.835" v="1453" actId="2696"/>
          <pc:sldLayoutMkLst>
            <pc:docMk/>
            <pc:sldMasterMk cId="1304823156" sldId="2147485438"/>
            <pc:sldLayoutMk cId="3557406244" sldId="2147485454"/>
          </pc:sldLayoutMkLst>
        </pc:sldLayoutChg>
        <pc:sldLayoutChg chg="del">
          <pc:chgData name="Luedecke, Andrea (DI PA CM)" userId="d06abc4d-0cfc-4849-aedb-1cba97d781f9" providerId="ADAL" clId="{50196807-5C57-45E4-84F2-494BBD9DAA35}" dt="2024-06-06T16:35:44.984" v="1454" actId="2696"/>
          <pc:sldLayoutMkLst>
            <pc:docMk/>
            <pc:sldMasterMk cId="1304823156" sldId="2147485438"/>
            <pc:sldLayoutMk cId="1797316076" sldId="2147485455"/>
          </pc:sldLayoutMkLst>
        </pc:sldLayoutChg>
        <pc:sldLayoutChg chg="del">
          <pc:chgData name="Luedecke, Andrea (DI PA CM)" userId="d06abc4d-0cfc-4849-aedb-1cba97d781f9" providerId="ADAL" clId="{50196807-5C57-45E4-84F2-494BBD9DAA35}" dt="2024-06-06T16:35:45.475" v="1455" actId="2696"/>
          <pc:sldLayoutMkLst>
            <pc:docMk/>
            <pc:sldMasterMk cId="1304823156" sldId="2147485438"/>
            <pc:sldLayoutMk cId="3930070116" sldId="2147485456"/>
          </pc:sldLayoutMkLst>
        </pc:sldLayoutChg>
        <pc:sldLayoutChg chg="del">
          <pc:chgData name="Luedecke, Andrea (DI PA CM)" userId="d06abc4d-0cfc-4849-aedb-1cba97d781f9" providerId="ADAL" clId="{50196807-5C57-45E4-84F2-494BBD9DAA35}" dt="2024-06-06T16:35:45.803" v="1456" actId="2696"/>
          <pc:sldLayoutMkLst>
            <pc:docMk/>
            <pc:sldMasterMk cId="1304823156" sldId="2147485438"/>
            <pc:sldLayoutMk cId="3969940643" sldId="2147485457"/>
          </pc:sldLayoutMkLst>
        </pc:sldLayoutChg>
        <pc:sldLayoutChg chg="del">
          <pc:chgData name="Luedecke, Andrea (DI PA CM)" userId="d06abc4d-0cfc-4849-aedb-1cba97d781f9" providerId="ADAL" clId="{50196807-5C57-45E4-84F2-494BBD9DAA35}" dt="2024-06-06T16:35:45.892" v="1457" actId="2696"/>
          <pc:sldLayoutMkLst>
            <pc:docMk/>
            <pc:sldMasterMk cId="1304823156" sldId="2147485438"/>
            <pc:sldLayoutMk cId="1895752037" sldId="2147485458"/>
          </pc:sldLayoutMkLst>
        </pc:sldLayoutChg>
        <pc:sldLayoutChg chg="del">
          <pc:chgData name="Luedecke, Andrea (DI PA CM)" userId="d06abc4d-0cfc-4849-aedb-1cba97d781f9" providerId="ADAL" clId="{50196807-5C57-45E4-84F2-494BBD9DAA35}" dt="2024-06-06T16:35:46.091" v="1458" actId="2696"/>
          <pc:sldLayoutMkLst>
            <pc:docMk/>
            <pc:sldMasterMk cId="1304823156" sldId="2147485438"/>
            <pc:sldLayoutMk cId="1904614872" sldId="2147485459"/>
          </pc:sldLayoutMkLst>
        </pc:sldLayoutChg>
        <pc:sldLayoutChg chg="del">
          <pc:chgData name="Luedecke, Andrea (DI PA CM)" userId="d06abc4d-0cfc-4849-aedb-1cba97d781f9" providerId="ADAL" clId="{50196807-5C57-45E4-84F2-494BBD9DAA35}" dt="2024-06-06T16:35:46.361" v="1459" actId="2696"/>
          <pc:sldLayoutMkLst>
            <pc:docMk/>
            <pc:sldMasterMk cId="1304823156" sldId="2147485438"/>
            <pc:sldLayoutMk cId="4226344669" sldId="2147485460"/>
          </pc:sldLayoutMkLst>
        </pc:sldLayoutChg>
        <pc:sldLayoutChg chg="del">
          <pc:chgData name="Luedecke, Andrea (DI PA CM)" userId="d06abc4d-0cfc-4849-aedb-1cba97d781f9" providerId="ADAL" clId="{50196807-5C57-45E4-84F2-494BBD9DAA35}" dt="2024-06-06T16:35:46.533" v="1460" actId="2696"/>
          <pc:sldLayoutMkLst>
            <pc:docMk/>
            <pc:sldMasterMk cId="1304823156" sldId="2147485438"/>
            <pc:sldLayoutMk cId="2283909484" sldId="2147485461"/>
          </pc:sldLayoutMkLst>
        </pc:sldLayoutChg>
        <pc:sldLayoutChg chg="del">
          <pc:chgData name="Luedecke, Andrea (DI PA CM)" userId="d06abc4d-0cfc-4849-aedb-1cba97d781f9" providerId="ADAL" clId="{50196807-5C57-45E4-84F2-494BBD9DAA35}" dt="2024-06-06T16:35:47.265" v="1461" actId="2696"/>
          <pc:sldLayoutMkLst>
            <pc:docMk/>
            <pc:sldMasterMk cId="1304823156" sldId="2147485438"/>
            <pc:sldLayoutMk cId="3785863401" sldId="2147485462"/>
          </pc:sldLayoutMkLst>
        </pc:sldLayoutChg>
        <pc:sldLayoutChg chg="del">
          <pc:chgData name="Luedecke, Andrea (DI PA CM)" userId="d06abc4d-0cfc-4849-aedb-1cba97d781f9" providerId="ADAL" clId="{50196807-5C57-45E4-84F2-494BBD9DAA35}" dt="2024-06-06T16:35:47.790" v="1462" actId="2696"/>
          <pc:sldLayoutMkLst>
            <pc:docMk/>
            <pc:sldMasterMk cId="1304823156" sldId="2147485438"/>
            <pc:sldLayoutMk cId="3161602183" sldId="2147485463"/>
          </pc:sldLayoutMkLst>
        </pc:sldLayoutChg>
        <pc:sldLayoutChg chg="del">
          <pc:chgData name="Luedecke, Andrea (DI PA CM)" userId="d06abc4d-0cfc-4849-aedb-1cba97d781f9" providerId="ADAL" clId="{50196807-5C57-45E4-84F2-494BBD9DAA35}" dt="2024-06-06T16:35:48.867" v="1463" actId="2696"/>
          <pc:sldLayoutMkLst>
            <pc:docMk/>
            <pc:sldMasterMk cId="1304823156" sldId="2147485438"/>
            <pc:sldLayoutMk cId="3067885670" sldId="2147485464"/>
          </pc:sldLayoutMkLst>
        </pc:sldLayoutChg>
        <pc:sldLayoutChg chg="del">
          <pc:chgData name="Luedecke, Andrea (DI PA CM)" userId="d06abc4d-0cfc-4849-aedb-1cba97d781f9" providerId="ADAL" clId="{50196807-5C57-45E4-84F2-494BBD9DAA35}" dt="2024-06-06T16:35:49.881" v="1464" actId="2696"/>
          <pc:sldLayoutMkLst>
            <pc:docMk/>
            <pc:sldMasterMk cId="1304823156" sldId="2147485438"/>
            <pc:sldLayoutMk cId="1999010726" sldId="2147485465"/>
          </pc:sldLayoutMkLst>
        </pc:sldLayoutChg>
        <pc:sldLayoutChg chg="del">
          <pc:chgData name="Luedecke, Andrea (DI PA CM)" userId="d06abc4d-0cfc-4849-aedb-1cba97d781f9" providerId="ADAL" clId="{50196807-5C57-45E4-84F2-494BBD9DAA35}" dt="2024-06-06T16:35:50.554" v="1465" actId="2696"/>
          <pc:sldLayoutMkLst>
            <pc:docMk/>
            <pc:sldMasterMk cId="1304823156" sldId="2147485438"/>
            <pc:sldLayoutMk cId="2125100162" sldId="2147485466"/>
          </pc:sldLayoutMkLst>
        </pc:sldLayoutChg>
        <pc:sldLayoutChg chg="del">
          <pc:chgData name="Luedecke, Andrea (DI PA CM)" userId="d06abc4d-0cfc-4849-aedb-1cba97d781f9" providerId="ADAL" clId="{50196807-5C57-45E4-84F2-494BBD9DAA35}" dt="2024-06-06T16:35:50.577" v="1466" actId="2696"/>
          <pc:sldLayoutMkLst>
            <pc:docMk/>
            <pc:sldMasterMk cId="1304823156" sldId="2147485438"/>
            <pc:sldLayoutMk cId="595108014" sldId="2147485467"/>
          </pc:sldLayoutMkLst>
        </pc:sldLayoutChg>
        <pc:sldLayoutChg chg="del">
          <pc:chgData name="Luedecke, Andrea (DI PA CM)" userId="d06abc4d-0cfc-4849-aedb-1cba97d781f9" providerId="ADAL" clId="{50196807-5C57-45E4-84F2-494BBD9DAA35}" dt="2024-06-06T16:35:50.693" v="1467" actId="2696"/>
          <pc:sldLayoutMkLst>
            <pc:docMk/>
            <pc:sldMasterMk cId="1304823156" sldId="2147485438"/>
            <pc:sldLayoutMk cId="1669738190" sldId="2147485468"/>
          </pc:sldLayoutMkLst>
        </pc:sldLayoutChg>
        <pc:sldLayoutChg chg="del">
          <pc:chgData name="Luedecke, Andrea (DI PA CM)" userId="d06abc4d-0cfc-4849-aedb-1cba97d781f9" providerId="ADAL" clId="{50196807-5C57-45E4-84F2-494BBD9DAA35}" dt="2024-06-06T16:35:50.953" v="1468" actId="2696"/>
          <pc:sldLayoutMkLst>
            <pc:docMk/>
            <pc:sldMasterMk cId="1304823156" sldId="2147485438"/>
            <pc:sldLayoutMk cId="673897824" sldId="2147485469"/>
          </pc:sldLayoutMkLst>
        </pc:sldLayoutChg>
        <pc:sldLayoutChg chg="del">
          <pc:chgData name="Luedecke, Andrea (DI PA CM)" userId="d06abc4d-0cfc-4849-aedb-1cba97d781f9" providerId="ADAL" clId="{50196807-5C57-45E4-84F2-494BBD9DAA35}" dt="2024-06-06T16:35:51.663" v="1469" actId="2696"/>
          <pc:sldLayoutMkLst>
            <pc:docMk/>
            <pc:sldMasterMk cId="1304823156" sldId="2147485438"/>
            <pc:sldLayoutMk cId="3907092054" sldId="2147485470"/>
          </pc:sldLayoutMkLst>
        </pc:sldLayoutChg>
        <pc:sldLayoutChg chg="del">
          <pc:chgData name="Luedecke, Andrea (DI PA CM)" userId="d06abc4d-0cfc-4849-aedb-1cba97d781f9" providerId="ADAL" clId="{50196807-5C57-45E4-84F2-494BBD9DAA35}" dt="2024-06-06T16:35:51.904" v="1470" actId="2696"/>
          <pc:sldLayoutMkLst>
            <pc:docMk/>
            <pc:sldMasterMk cId="1304823156" sldId="2147485438"/>
            <pc:sldLayoutMk cId="154512795" sldId="2147485471"/>
          </pc:sldLayoutMkLst>
        </pc:sldLayoutChg>
        <pc:sldLayoutChg chg="del">
          <pc:chgData name="Luedecke, Andrea (DI PA CM)" userId="d06abc4d-0cfc-4849-aedb-1cba97d781f9" providerId="ADAL" clId="{50196807-5C57-45E4-84F2-494BBD9DAA35}" dt="2024-06-06T16:35:52.120" v="1471" actId="2696"/>
          <pc:sldLayoutMkLst>
            <pc:docMk/>
            <pc:sldMasterMk cId="1304823156" sldId="2147485438"/>
            <pc:sldLayoutMk cId="729746895" sldId="2147485472"/>
          </pc:sldLayoutMkLst>
        </pc:sldLayoutChg>
        <pc:sldLayoutChg chg="del">
          <pc:chgData name="Luedecke, Andrea (DI PA CM)" userId="d06abc4d-0cfc-4849-aedb-1cba97d781f9" providerId="ADAL" clId="{50196807-5C57-45E4-84F2-494BBD9DAA35}" dt="2024-06-06T16:35:52.367" v="1472" actId="2696"/>
          <pc:sldLayoutMkLst>
            <pc:docMk/>
            <pc:sldMasterMk cId="1304823156" sldId="2147485438"/>
            <pc:sldLayoutMk cId="3937755996" sldId="2147485473"/>
          </pc:sldLayoutMkLst>
        </pc:sldLayoutChg>
        <pc:sldLayoutChg chg="del">
          <pc:chgData name="Luedecke, Andrea (DI PA CM)" userId="d06abc4d-0cfc-4849-aedb-1cba97d781f9" providerId="ADAL" clId="{50196807-5C57-45E4-84F2-494BBD9DAA35}" dt="2024-06-06T16:35:52.596" v="1473" actId="2696"/>
          <pc:sldLayoutMkLst>
            <pc:docMk/>
            <pc:sldMasterMk cId="1304823156" sldId="2147485438"/>
            <pc:sldLayoutMk cId="1302104340" sldId="2147485474"/>
          </pc:sldLayoutMkLst>
        </pc:sldLayoutChg>
        <pc:sldLayoutChg chg="del">
          <pc:chgData name="Luedecke, Andrea (DI PA CM)" userId="d06abc4d-0cfc-4849-aedb-1cba97d781f9" providerId="ADAL" clId="{50196807-5C57-45E4-84F2-494BBD9DAA35}" dt="2024-06-06T16:35:53.332" v="1474" actId="2696"/>
          <pc:sldLayoutMkLst>
            <pc:docMk/>
            <pc:sldMasterMk cId="1304823156" sldId="2147485438"/>
            <pc:sldLayoutMk cId="1821322825" sldId="2147485475"/>
          </pc:sldLayoutMkLst>
        </pc:sldLayoutChg>
        <pc:sldLayoutChg chg="del">
          <pc:chgData name="Luedecke, Andrea (DI PA CM)" userId="d06abc4d-0cfc-4849-aedb-1cba97d781f9" providerId="ADAL" clId="{50196807-5C57-45E4-84F2-494BBD9DAA35}" dt="2024-06-06T16:35:53.541" v="1475" actId="2696"/>
          <pc:sldLayoutMkLst>
            <pc:docMk/>
            <pc:sldMasterMk cId="1304823156" sldId="2147485438"/>
            <pc:sldLayoutMk cId="196754824" sldId="2147485476"/>
          </pc:sldLayoutMkLst>
        </pc:sldLayoutChg>
        <pc:sldLayoutChg chg="del">
          <pc:chgData name="Luedecke, Andrea (DI PA CM)" userId="d06abc4d-0cfc-4849-aedb-1cba97d781f9" providerId="ADAL" clId="{50196807-5C57-45E4-84F2-494BBD9DAA35}" dt="2024-06-06T16:35:53.762" v="1476" actId="2696"/>
          <pc:sldLayoutMkLst>
            <pc:docMk/>
            <pc:sldMasterMk cId="1304823156" sldId="2147485438"/>
            <pc:sldLayoutMk cId="2783035820" sldId="2147485477"/>
          </pc:sldLayoutMkLst>
        </pc:sldLayoutChg>
        <pc:sldLayoutChg chg="del">
          <pc:chgData name="Luedecke, Andrea (DI PA CM)" userId="d06abc4d-0cfc-4849-aedb-1cba97d781f9" providerId="ADAL" clId="{50196807-5C57-45E4-84F2-494BBD9DAA35}" dt="2024-06-06T16:35:53.970" v="1477" actId="2696"/>
          <pc:sldLayoutMkLst>
            <pc:docMk/>
            <pc:sldMasterMk cId="1304823156" sldId="2147485438"/>
            <pc:sldLayoutMk cId="1370670285" sldId="2147485478"/>
          </pc:sldLayoutMkLst>
        </pc:sldLayoutChg>
        <pc:sldLayoutChg chg="del">
          <pc:chgData name="Luedecke, Andrea (DI PA CM)" userId="d06abc4d-0cfc-4849-aedb-1cba97d781f9" providerId="ADAL" clId="{50196807-5C57-45E4-84F2-494BBD9DAA35}" dt="2024-06-06T16:35:54.661" v="1478" actId="2696"/>
          <pc:sldLayoutMkLst>
            <pc:docMk/>
            <pc:sldMasterMk cId="1304823156" sldId="2147485438"/>
            <pc:sldLayoutMk cId="3377792939" sldId="2147485479"/>
          </pc:sldLayoutMkLst>
        </pc:sldLayoutChg>
        <pc:sldLayoutChg chg="del">
          <pc:chgData name="Luedecke, Andrea (DI PA CM)" userId="d06abc4d-0cfc-4849-aedb-1cba97d781f9" providerId="ADAL" clId="{50196807-5C57-45E4-84F2-494BBD9DAA35}" dt="2024-06-06T16:35:54.890" v="1479" actId="2696"/>
          <pc:sldLayoutMkLst>
            <pc:docMk/>
            <pc:sldMasterMk cId="1304823156" sldId="2147485438"/>
            <pc:sldLayoutMk cId="3356749787" sldId="2147485480"/>
          </pc:sldLayoutMkLst>
        </pc:sldLayoutChg>
        <pc:sldLayoutChg chg="del">
          <pc:chgData name="Luedecke, Andrea (DI PA CM)" userId="d06abc4d-0cfc-4849-aedb-1cba97d781f9" providerId="ADAL" clId="{50196807-5C57-45E4-84F2-494BBD9DAA35}" dt="2024-06-06T16:35:55.188" v="1480" actId="2696"/>
          <pc:sldLayoutMkLst>
            <pc:docMk/>
            <pc:sldMasterMk cId="1304823156" sldId="2147485438"/>
            <pc:sldLayoutMk cId="2460928096" sldId="2147485481"/>
          </pc:sldLayoutMkLst>
        </pc:sldLayoutChg>
        <pc:sldLayoutChg chg="del">
          <pc:chgData name="Luedecke, Andrea (DI PA CM)" userId="d06abc4d-0cfc-4849-aedb-1cba97d781f9" providerId="ADAL" clId="{50196807-5C57-45E4-84F2-494BBD9DAA35}" dt="2024-06-06T16:35:55.416" v="1481" actId="2696"/>
          <pc:sldLayoutMkLst>
            <pc:docMk/>
            <pc:sldMasterMk cId="1304823156" sldId="2147485438"/>
            <pc:sldLayoutMk cId="3453410311" sldId="2147485482"/>
          </pc:sldLayoutMkLst>
        </pc:sldLayoutChg>
        <pc:sldLayoutChg chg="del">
          <pc:chgData name="Luedecke, Andrea (DI PA CM)" userId="d06abc4d-0cfc-4849-aedb-1cba97d781f9" providerId="ADAL" clId="{50196807-5C57-45E4-84F2-494BBD9DAA35}" dt="2024-06-06T16:35:55.625" v="1482" actId="2696"/>
          <pc:sldLayoutMkLst>
            <pc:docMk/>
            <pc:sldMasterMk cId="1304823156" sldId="2147485438"/>
            <pc:sldLayoutMk cId="2659441974" sldId="2147485483"/>
          </pc:sldLayoutMkLst>
        </pc:sldLayoutChg>
        <pc:sldLayoutChg chg="del">
          <pc:chgData name="Luedecke, Andrea (DI PA CM)" userId="d06abc4d-0cfc-4849-aedb-1cba97d781f9" providerId="ADAL" clId="{50196807-5C57-45E4-84F2-494BBD9DAA35}" dt="2024-06-06T16:35:55.828" v="1483" actId="2696"/>
          <pc:sldLayoutMkLst>
            <pc:docMk/>
            <pc:sldMasterMk cId="1304823156" sldId="2147485438"/>
            <pc:sldLayoutMk cId="1603827370" sldId="2147485484"/>
          </pc:sldLayoutMkLst>
        </pc:sldLayoutChg>
        <pc:sldLayoutChg chg="del">
          <pc:chgData name="Luedecke, Andrea (DI PA CM)" userId="d06abc4d-0cfc-4849-aedb-1cba97d781f9" providerId="ADAL" clId="{50196807-5C57-45E4-84F2-494BBD9DAA35}" dt="2024-06-06T16:35:56.460" v="1484" actId="2696"/>
          <pc:sldLayoutMkLst>
            <pc:docMk/>
            <pc:sldMasterMk cId="1304823156" sldId="2147485438"/>
            <pc:sldLayoutMk cId="123655820" sldId="2147485485"/>
          </pc:sldLayoutMkLst>
        </pc:sldLayoutChg>
        <pc:sldLayoutChg chg="del">
          <pc:chgData name="Luedecke, Andrea (DI PA CM)" userId="d06abc4d-0cfc-4849-aedb-1cba97d781f9" providerId="ADAL" clId="{50196807-5C57-45E4-84F2-494BBD9DAA35}" dt="2024-06-06T16:35:56.748" v="1485" actId="2696"/>
          <pc:sldLayoutMkLst>
            <pc:docMk/>
            <pc:sldMasterMk cId="1304823156" sldId="2147485438"/>
            <pc:sldLayoutMk cId="1464459807" sldId="2147485486"/>
          </pc:sldLayoutMkLst>
        </pc:sldLayoutChg>
        <pc:sldLayoutChg chg="del">
          <pc:chgData name="Luedecke, Andrea (DI PA CM)" userId="d06abc4d-0cfc-4849-aedb-1cba97d781f9" providerId="ADAL" clId="{50196807-5C57-45E4-84F2-494BBD9DAA35}" dt="2024-06-06T16:35:56.992" v="1486" actId="2696"/>
          <pc:sldLayoutMkLst>
            <pc:docMk/>
            <pc:sldMasterMk cId="1304823156" sldId="2147485438"/>
            <pc:sldLayoutMk cId="560163659" sldId="2147485487"/>
          </pc:sldLayoutMkLst>
        </pc:sldLayoutChg>
        <pc:sldLayoutChg chg="del">
          <pc:chgData name="Luedecke, Andrea (DI PA CM)" userId="d06abc4d-0cfc-4849-aedb-1cba97d781f9" providerId="ADAL" clId="{50196807-5C57-45E4-84F2-494BBD9DAA35}" dt="2024-06-06T16:35:57.212" v="1487" actId="2696"/>
          <pc:sldLayoutMkLst>
            <pc:docMk/>
            <pc:sldMasterMk cId="1304823156" sldId="2147485438"/>
            <pc:sldLayoutMk cId="1598097685" sldId="2147485488"/>
          </pc:sldLayoutMkLst>
        </pc:sldLayoutChg>
        <pc:sldLayoutChg chg="del">
          <pc:chgData name="Luedecke, Andrea (DI PA CM)" userId="d06abc4d-0cfc-4849-aedb-1cba97d781f9" providerId="ADAL" clId="{50196807-5C57-45E4-84F2-494BBD9DAA35}" dt="2024-06-06T16:35:57.807" v="1488" actId="2696"/>
          <pc:sldLayoutMkLst>
            <pc:docMk/>
            <pc:sldMasterMk cId="1304823156" sldId="2147485438"/>
            <pc:sldLayoutMk cId="1849042604" sldId="2147485489"/>
          </pc:sldLayoutMkLst>
        </pc:sldLayoutChg>
        <pc:sldLayoutChg chg="del">
          <pc:chgData name="Luedecke, Andrea (DI PA CM)" userId="d06abc4d-0cfc-4849-aedb-1cba97d781f9" providerId="ADAL" clId="{50196807-5C57-45E4-84F2-494BBD9DAA35}" dt="2024-06-06T16:35:58.047" v="1489" actId="2696"/>
          <pc:sldLayoutMkLst>
            <pc:docMk/>
            <pc:sldMasterMk cId="1304823156" sldId="2147485438"/>
            <pc:sldLayoutMk cId="808590929" sldId="2147485490"/>
          </pc:sldLayoutMkLst>
        </pc:sldLayoutChg>
        <pc:sldLayoutChg chg="del">
          <pc:chgData name="Luedecke, Andrea (DI PA CM)" userId="d06abc4d-0cfc-4849-aedb-1cba97d781f9" providerId="ADAL" clId="{50196807-5C57-45E4-84F2-494BBD9DAA35}" dt="2024-06-06T16:35:58.289" v="1490" actId="2696"/>
          <pc:sldLayoutMkLst>
            <pc:docMk/>
            <pc:sldMasterMk cId="1304823156" sldId="2147485438"/>
            <pc:sldLayoutMk cId="4129665945" sldId="2147485491"/>
          </pc:sldLayoutMkLst>
        </pc:sldLayoutChg>
        <pc:sldLayoutChg chg="del">
          <pc:chgData name="Luedecke, Andrea (DI PA CM)" userId="d06abc4d-0cfc-4849-aedb-1cba97d781f9" providerId="ADAL" clId="{50196807-5C57-45E4-84F2-494BBD9DAA35}" dt="2024-06-06T16:35:58.572" v="1491" actId="2696"/>
          <pc:sldLayoutMkLst>
            <pc:docMk/>
            <pc:sldMasterMk cId="1304823156" sldId="2147485438"/>
            <pc:sldLayoutMk cId="3935456607" sldId="2147485492"/>
          </pc:sldLayoutMkLst>
        </pc:sldLayoutChg>
        <pc:sldLayoutChg chg="del">
          <pc:chgData name="Luedecke, Andrea (DI PA CM)" userId="d06abc4d-0cfc-4849-aedb-1cba97d781f9" providerId="ADAL" clId="{50196807-5C57-45E4-84F2-494BBD9DAA35}" dt="2024-06-06T16:35:58.822" v="1492" actId="2696"/>
          <pc:sldLayoutMkLst>
            <pc:docMk/>
            <pc:sldMasterMk cId="1304823156" sldId="2147485438"/>
            <pc:sldLayoutMk cId="1321517122" sldId="2147485493"/>
          </pc:sldLayoutMkLst>
        </pc:sldLayoutChg>
        <pc:sldLayoutChg chg="del">
          <pc:chgData name="Luedecke, Andrea (DI PA CM)" userId="d06abc4d-0cfc-4849-aedb-1cba97d781f9" providerId="ADAL" clId="{50196807-5C57-45E4-84F2-494BBD9DAA35}" dt="2024-06-06T16:35:59.056" v="1493" actId="2696"/>
          <pc:sldLayoutMkLst>
            <pc:docMk/>
            <pc:sldMasterMk cId="1304823156" sldId="2147485438"/>
            <pc:sldLayoutMk cId="2302659957" sldId="2147485494"/>
          </pc:sldLayoutMkLst>
        </pc:sldLayoutChg>
        <pc:sldLayoutChg chg="del">
          <pc:chgData name="Luedecke, Andrea (DI PA CM)" userId="d06abc4d-0cfc-4849-aedb-1cba97d781f9" providerId="ADAL" clId="{50196807-5C57-45E4-84F2-494BBD9DAA35}" dt="2024-06-06T16:35:59.370" v="1494" actId="2696"/>
          <pc:sldLayoutMkLst>
            <pc:docMk/>
            <pc:sldMasterMk cId="1304823156" sldId="2147485438"/>
            <pc:sldLayoutMk cId="2148792401" sldId="2147485495"/>
          </pc:sldLayoutMkLst>
        </pc:sldLayoutChg>
        <pc:sldLayoutChg chg="del">
          <pc:chgData name="Luedecke, Andrea (DI PA CM)" userId="d06abc4d-0cfc-4849-aedb-1cba97d781f9" providerId="ADAL" clId="{50196807-5C57-45E4-84F2-494BBD9DAA35}" dt="2024-06-06T16:35:59.624" v="1495" actId="2696"/>
          <pc:sldLayoutMkLst>
            <pc:docMk/>
            <pc:sldMasterMk cId="1304823156" sldId="2147485438"/>
            <pc:sldLayoutMk cId="2893995892" sldId="2147485496"/>
          </pc:sldLayoutMkLst>
        </pc:sldLayoutChg>
        <pc:sldLayoutChg chg="del">
          <pc:chgData name="Luedecke, Andrea (DI PA CM)" userId="d06abc4d-0cfc-4849-aedb-1cba97d781f9" providerId="ADAL" clId="{50196807-5C57-45E4-84F2-494BBD9DAA35}" dt="2024-06-06T16:35:59.862" v="1496" actId="2696"/>
          <pc:sldLayoutMkLst>
            <pc:docMk/>
            <pc:sldMasterMk cId="1304823156" sldId="2147485438"/>
            <pc:sldLayoutMk cId="2793768681" sldId="2147485497"/>
          </pc:sldLayoutMkLst>
        </pc:sldLayoutChg>
        <pc:sldLayoutChg chg="del">
          <pc:chgData name="Luedecke, Andrea (DI PA CM)" userId="d06abc4d-0cfc-4849-aedb-1cba97d781f9" providerId="ADAL" clId="{50196807-5C57-45E4-84F2-494BBD9DAA35}" dt="2024-06-06T16:36:00.093" v="1497" actId="2696"/>
          <pc:sldLayoutMkLst>
            <pc:docMk/>
            <pc:sldMasterMk cId="1304823156" sldId="2147485438"/>
            <pc:sldLayoutMk cId="2323328784" sldId="2147485498"/>
          </pc:sldLayoutMkLst>
        </pc:sldLayoutChg>
        <pc:sldLayoutChg chg="del">
          <pc:chgData name="Luedecke, Andrea (DI PA CM)" userId="d06abc4d-0cfc-4849-aedb-1cba97d781f9" providerId="ADAL" clId="{50196807-5C57-45E4-84F2-494BBD9DAA35}" dt="2024-06-06T16:36:00.314" v="1498" actId="2696"/>
          <pc:sldLayoutMkLst>
            <pc:docMk/>
            <pc:sldMasterMk cId="1304823156" sldId="2147485438"/>
            <pc:sldLayoutMk cId="285853675" sldId="2147485499"/>
          </pc:sldLayoutMkLst>
        </pc:sldLayoutChg>
        <pc:sldLayoutChg chg="del">
          <pc:chgData name="Luedecke, Andrea (DI PA CM)" userId="d06abc4d-0cfc-4849-aedb-1cba97d781f9" providerId="ADAL" clId="{50196807-5C57-45E4-84F2-494BBD9DAA35}" dt="2024-06-06T16:36:00.525" v="1499" actId="2696"/>
          <pc:sldLayoutMkLst>
            <pc:docMk/>
            <pc:sldMasterMk cId="1304823156" sldId="2147485438"/>
            <pc:sldLayoutMk cId="807705546" sldId="2147485500"/>
          </pc:sldLayoutMkLst>
        </pc:sldLayoutChg>
        <pc:sldLayoutChg chg="del">
          <pc:chgData name="Luedecke, Andrea (DI PA CM)" userId="d06abc4d-0cfc-4849-aedb-1cba97d781f9" providerId="ADAL" clId="{50196807-5C57-45E4-84F2-494BBD9DAA35}" dt="2024-06-06T16:36:00.752" v="1500" actId="2696"/>
          <pc:sldLayoutMkLst>
            <pc:docMk/>
            <pc:sldMasterMk cId="1304823156" sldId="2147485438"/>
            <pc:sldLayoutMk cId="2005249948" sldId="2147485501"/>
          </pc:sldLayoutMkLst>
        </pc:sldLayoutChg>
        <pc:sldLayoutChg chg="del">
          <pc:chgData name="Luedecke, Andrea (DI PA CM)" userId="d06abc4d-0cfc-4849-aedb-1cba97d781f9" providerId="ADAL" clId="{50196807-5C57-45E4-84F2-494BBD9DAA35}" dt="2024-06-06T16:36:01.007" v="1501" actId="2696"/>
          <pc:sldLayoutMkLst>
            <pc:docMk/>
            <pc:sldMasterMk cId="1304823156" sldId="2147485438"/>
            <pc:sldLayoutMk cId="866338180" sldId="2147485502"/>
          </pc:sldLayoutMkLst>
        </pc:sldLayoutChg>
        <pc:sldLayoutChg chg="del">
          <pc:chgData name="Luedecke, Andrea (DI PA CM)" userId="d06abc4d-0cfc-4849-aedb-1cba97d781f9" providerId="ADAL" clId="{50196807-5C57-45E4-84F2-494BBD9DAA35}" dt="2024-06-06T16:36:01.162" v="1502" actId="2696"/>
          <pc:sldLayoutMkLst>
            <pc:docMk/>
            <pc:sldMasterMk cId="1304823156" sldId="2147485438"/>
            <pc:sldLayoutMk cId="3960796725" sldId="2147485503"/>
          </pc:sldLayoutMkLst>
        </pc:sldLayoutChg>
        <pc:sldLayoutChg chg="del">
          <pc:chgData name="Luedecke, Andrea (DI PA CM)" userId="d06abc4d-0cfc-4849-aedb-1cba97d781f9" providerId="ADAL" clId="{50196807-5C57-45E4-84F2-494BBD9DAA35}" dt="2024-06-06T16:36:01.361" v="1503" actId="2696"/>
          <pc:sldLayoutMkLst>
            <pc:docMk/>
            <pc:sldMasterMk cId="1304823156" sldId="2147485438"/>
            <pc:sldLayoutMk cId="3698401231" sldId="2147485504"/>
          </pc:sldLayoutMkLst>
        </pc:sldLayoutChg>
        <pc:sldLayoutChg chg="del">
          <pc:chgData name="Luedecke, Andrea (DI PA CM)" userId="d06abc4d-0cfc-4849-aedb-1cba97d781f9" providerId="ADAL" clId="{50196807-5C57-45E4-84F2-494BBD9DAA35}" dt="2024-06-06T16:36:01.561" v="1504" actId="2696"/>
          <pc:sldLayoutMkLst>
            <pc:docMk/>
            <pc:sldMasterMk cId="1304823156" sldId="2147485438"/>
            <pc:sldLayoutMk cId="1865794201" sldId="2147485505"/>
          </pc:sldLayoutMkLst>
        </pc:sldLayoutChg>
        <pc:sldLayoutChg chg="del">
          <pc:chgData name="Luedecke, Andrea (DI PA CM)" userId="d06abc4d-0cfc-4849-aedb-1cba97d781f9" providerId="ADAL" clId="{50196807-5C57-45E4-84F2-494BBD9DAA35}" dt="2024-06-06T16:36:01.775" v="1505" actId="2696"/>
          <pc:sldLayoutMkLst>
            <pc:docMk/>
            <pc:sldMasterMk cId="1304823156" sldId="2147485438"/>
            <pc:sldLayoutMk cId="1654037993" sldId="2147485506"/>
          </pc:sldLayoutMkLst>
        </pc:sldLayoutChg>
        <pc:sldLayoutChg chg="del">
          <pc:chgData name="Luedecke, Andrea (DI PA CM)" userId="d06abc4d-0cfc-4849-aedb-1cba97d781f9" providerId="ADAL" clId="{50196807-5C57-45E4-84F2-494BBD9DAA35}" dt="2024-06-06T16:36:01.926" v="1506" actId="2696"/>
          <pc:sldLayoutMkLst>
            <pc:docMk/>
            <pc:sldMasterMk cId="1304823156" sldId="2147485438"/>
            <pc:sldLayoutMk cId="4215349705" sldId="2147485507"/>
          </pc:sldLayoutMkLst>
        </pc:sldLayoutChg>
        <pc:sldLayoutChg chg="del">
          <pc:chgData name="Luedecke, Andrea (DI PA CM)" userId="d06abc4d-0cfc-4849-aedb-1cba97d781f9" providerId="ADAL" clId="{50196807-5C57-45E4-84F2-494BBD9DAA35}" dt="2024-06-06T16:36:02.360" v="1507" actId="2696"/>
          <pc:sldLayoutMkLst>
            <pc:docMk/>
            <pc:sldMasterMk cId="1304823156" sldId="2147485438"/>
            <pc:sldLayoutMk cId="1824286725" sldId="2147485508"/>
          </pc:sldLayoutMkLst>
        </pc:sldLayoutChg>
        <pc:sldLayoutChg chg="del">
          <pc:chgData name="Luedecke, Andrea (DI PA CM)" userId="d06abc4d-0cfc-4849-aedb-1cba97d781f9" providerId="ADAL" clId="{50196807-5C57-45E4-84F2-494BBD9DAA35}" dt="2024-06-06T16:36:02.612" v="1508" actId="2696"/>
          <pc:sldLayoutMkLst>
            <pc:docMk/>
            <pc:sldMasterMk cId="1304823156" sldId="2147485438"/>
            <pc:sldLayoutMk cId="3285918460" sldId="2147485509"/>
          </pc:sldLayoutMkLst>
        </pc:sldLayoutChg>
      </pc:sldMasterChg>
    </pc:docChg>
  </pc:docChgLst>
  <pc:docChgLst>
    <pc:chgData name="Byers, Irina (DI CM&amp;MK ST&amp;B)" userId="c4804133-f4a2-4dfa-aebf-50bcba4f7380" providerId="ADAL" clId="{6D5F49AD-1180-3446-9150-E4337F743C9C}"/>
    <pc:docChg chg="undo redo custSel addSld delSld modSld sldOrd modMainMaster modSection replTag">
      <pc:chgData name="Byers, Irina (DI CM&amp;MK ST&amp;B)" userId="c4804133-f4a2-4dfa-aebf-50bcba4f7380" providerId="ADAL" clId="{6D5F49AD-1180-3446-9150-E4337F743C9C}" dt="2024-05-31T19:15:57.927" v="7411" actId="14100"/>
      <pc:docMkLst>
        <pc:docMk/>
      </pc:docMkLst>
      <pc:sldChg chg="modAnim">
        <pc:chgData name="Byers, Irina (DI CM&amp;MK ST&amp;B)" userId="c4804133-f4a2-4dfa-aebf-50bcba4f7380" providerId="ADAL" clId="{6D5F49AD-1180-3446-9150-E4337F743C9C}" dt="2024-05-31T18:15:51.528" v="7026"/>
        <pc:sldMkLst>
          <pc:docMk/>
          <pc:sldMk cId="2458465722" sldId="260"/>
        </pc:sldMkLst>
      </pc:sldChg>
      <pc:sldChg chg="modSp mod">
        <pc:chgData name="Byers, Irina (DI CM&amp;MK ST&amp;B)" userId="c4804133-f4a2-4dfa-aebf-50bcba4f7380" providerId="ADAL" clId="{6D5F49AD-1180-3446-9150-E4337F743C9C}" dt="2024-05-30T17:52:08.111" v="5724" actId="1076"/>
        <pc:sldMkLst>
          <pc:docMk/>
          <pc:sldMk cId="4034978469" sldId="263"/>
        </pc:sldMkLst>
        <pc:picChg chg="mod">
          <ac:chgData name="Byers, Irina (DI CM&amp;MK ST&amp;B)" userId="c4804133-f4a2-4dfa-aebf-50bcba4f7380" providerId="ADAL" clId="{6D5F49AD-1180-3446-9150-E4337F743C9C}" dt="2024-05-30T17:52:08.111" v="5724" actId="1076"/>
          <ac:picMkLst>
            <pc:docMk/>
            <pc:sldMk cId="4034978469" sldId="263"/>
            <ac:picMk id="4" creationId="{D3CAFBD3-901A-003F-1E1D-5BFAA00226AB}"/>
          </ac:picMkLst>
        </pc:picChg>
      </pc:sldChg>
      <pc:sldChg chg="addSp delSp modSp add mod setBg modAnim">
        <pc:chgData name="Byers, Irina (DI CM&amp;MK ST&amp;B)" userId="c4804133-f4a2-4dfa-aebf-50bcba4f7380" providerId="ADAL" clId="{6D5F49AD-1180-3446-9150-E4337F743C9C}" dt="2024-05-31T18:18:11.725" v="7030"/>
        <pc:sldMkLst>
          <pc:docMk/>
          <pc:sldMk cId="2496441358" sldId="332"/>
        </pc:sldMkLst>
        <pc:spChg chg="del">
          <ac:chgData name="Byers, Irina (DI CM&amp;MK ST&amp;B)" userId="c4804133-f4a2-4dfa-aebf-50bcba4f7380" providerId="ADAL" clId="{6D5F49AD-1180-3446-9150-E4337F743C9C}" dt="2024-05-30T17:45:57.549" v="5687" actId="478"/>
          <ac:spMkLst>
            <pc:docMk/>
            <pc:sldMk cId="2496441358" sldId="332"/>
            <ac:spMk id="2" creationId="{6D50B2FF-A78D-4BE8-90AF-0955B2C183F5}"/>
          </ac:spMkLst>
        </pc:spChg>
        <pc:spChg chg="del mod">
          <ac:chgData name="Byers, Irina (DI CM&amp;MK ST&amp;B)" userId="c4804133-f4a2-4dfa-aebf-50bcba4f7380" providerId="ADAL" clId="{6D5F49AD-1180-3446-9150-E4337F743C9C}" dt="2024-05-31T15:50:29.575" v="6250" actId="478"/>
          <ac:spMkLst>
            <pc:docMk/>
            <pc:sldMk cId="2496441358" sldId="332"/>
            <ac:spMk id="3" creationId="{FCC9C521-9C98-425D-8A44-C88867903CC8}"/>
          </ac:spMkLst>
        </pc:spChg>
        <pc:spChg chg="del">
          <ac:chgData name="Byers, Irina (DI CM&amp;MK ST&amp;B)" userId="c4804133-f4a2-4dfa-aebf-50bcba4f7380" providerId="ADAL" clId="{6D5F49AD-1180-3446-9150-E4337F743C9C}" dt="2024-05-30T17:45:59.382" v="5688" actId="478"/>
          <ac:spMkLst>
            <pc:docMk/>
            <pc:sldMk cId="2496441358" sldId="332"/>
            <ac:spMk id="4" creationId="{6E8188E7-3AA1-40AE-B56A-C6E7C1BB57C9}"/>
          </ac:spMkLst>
        </pc:spChg>
        <pc:spChg chg="del">
          <ac:chgData name="Byers, Irina (DI CM&amp;MK ST&amp;B)" userId="c4804133-f4a2-4dfa-aebf-50bcba4f7380" providerId="ADAL" clId="{6D5F49AD-1180-3446-9150-E4337F743C9C}" dt="2024-05-30T19:29:28.470" v="5910" actId="478"/>
          <ac:spMkLst>
            <pc:docMk/>
            <pc:sldMk cId="2496441358" sldId="332"/>
            <ac:spMk id="8" creationId="{398F5539-E6C6-4266-AE14-C6330303383F}"/>
          </ac:spMkLst>
        </pc:spChg>
        <pc:spChg chg="add mod">
          <ac:chgData name="Byers, Irina (DI CM&amp;MK ST&amp;B)" userId="c4804133-f4a2-4dfa-aebf-50bcba4f7380" providerId="ADAL" clId="{6D5F49AD-1180-3446-9150-E4337F743C9C}" dt="2024-05-31T16:00:03.070" v="6348" actId="948"/>
          <ac:spMkLst>
            <pc:docMk/>
            <pc:sldMk cId="2496441358" sldId="332"/>
            <ac:spMk id="9" creationId="{0B13008E-1321-5ACD-6D6B-E18C998EEEDB}"/>
          </ac:spMkLst>
        </pc:spChg>
        <pc:spChg chg="add del mod">
          <ac:chgData name="Byers, Irina (DI CM&amp;MK ST&amp;B)" userId="c4804133-f4a2-4dfa-aebf-50bcba4f7380" providerId="ADAL" clId="{6D5F49AD-1180-3446-9150-E4337F743C9C}" dt="2024-05-30T17:45:48.635" v="5683" actId="478"/>
          <ac:spMkLst>
            <pc:docMk/>
            <pc:sldMk cId="2496441358" sldId="332"/>
            <ac:spMk id="10" creationId="{4C1B80B4-DCE1-BB06-1C33-56075A289429}"/>
          </ac:spMkLst>
        </pc:spChg>
        <pc:spChg chg="add del mod">
          <ac:chgData name="Byers, Irina (DI CM&amp;MK ST&amp;B)" userId="c4804133-f4a2-4dfa-aebf-50bcba4f7380" providerId="ADAL" clId="{6D5F49AD-1180-3446-9150-E4337F743C9C}" dt="2024-05-30T17:45:55.375" v="5686" actId="478"/>
          <ac:spMkLst>
            <pc:docMk/>
            <pc:sldMk cId="2496441358" sldId="332"/>
            <ac:spMk id="11" creationId="{D2A7256D-E531-90B4-F5C7-6423DCCAB41F}"/>
          </ac:spMkLst>
        </pc:spChg>
        <pc:spChg chg="add mod">
          <ac:chgData name="Byers, Irina (DI CM&amp;MK ST&amp;B)" userId="c4804133-f4a2-4dfa-aebf-50bcba4f7380" providerId="ADAL" clId="{6D5F49AD-1180-3446-9150-E4337F743C9C}" dt="2024-05-30T16:17:12.956" v="5179"/>
          <ac:spMkLst>
            <pc:docMk/>
            <pc:sldMk cId="2496441358" sldId="332"/>
            <ac:spMk id="12" creationId="{97ED54E0-9AA3-D10C-FC44-FFB962E7E27E}"/>
          </ac:spMkLst>
        </pc:spChg>
        <pc:spChg chg="add mod">
          <ac:chgData name="Byers, Irina (DI CM&amp;MK ST&amp;B)" userId="c4804133-f4a2-4dfa-aebf-50bcba4f7380" providerId="ADAL" clId="{6D5F49AD-1180-3446-9150-E4337F743C9C}" dt="2024-05-30T16:17:12.956" v="5179"/>
          <ac:spMkLst>
            <pc:docMk/>
            <pc:sldMk cId="2496441358" sldId="332"/>
            <ac:spMk id="13" creationId="{F2FFA9B4-EEDD-48AC-A7D4-4DCE8A6A295B}"/>
          </ac:spMkLst>
        </pc:spChg>
        <pc:spChg chg="del">
          <ac:chgData name="Byers, Irina (DI CM&amp;MK ST&amp;B)" userId="c4804133-f4a2-4dfa-aebf-50bcba4f7380" providerId="ADAL" clId="{6D5F49AD-1180-3446-9150-E4337F743C9C}" dt="2024-05-30T19:29:13.918" v="5885" actId="478"/>
          <ac:spMkLst>
            <pc:docMk/>
            <pc:sldMk cId="2496441358" sldId="332"/>
            <ac:spMk id="15" creationId="{5DE23D71-51B5-4937-95E6-2843264F8166}"/>
          </ac:spMkLst>
        </pc:spChg>
        <pc:spChg chg="mod">
          <ac:chgData name="Byers, Irina (DI CM&amp;MK ST&amp;B)" userId="c4804133-f4a2-4dfa-aebf-50bcba4f7380" providerId="ADAL" clId="{6D5F49AD-1180-3446-9150-E4337F743C9C}" dt="2024-05-30T17:45:49.122" v="5684"/>
          <ac:spMkLst>
            <pc:docMk/>
            <pc:sldMk cId="2496441358" sldId="332"/>
            <ac:spMk id="16" creationId="{1AC8D7ED-D4C4-ADF0-0D1F-AF18A8D1ADC8}"/>
          </ac:spMkLst>
        </pc:spChg>
        <pc:spChg chg="mod">
          <ac:chgData name="Byers, Irina (DI CM&amp;MK ST&amp;B)" userId="c4804133-f4a2-4dfa-aebf-50bcba4f7380" providerId="ADAL" clId="{6D5F49AD-1180-3446-9150-E4337F743C9C}" dt="2024-05-30T17:45:49.122" v="5684"/>
          <ac:spMkLst>
            <pc:docMk/>
            <pc:sldMk cId="2496441358" sldId="332"/>
            <ac:spMk id="17" creationId="{B89FDA1F-937E-46AC-F38F-12D8F3FFC79F}"/>
          </ac:spMkLst>
        </pc:spChg>
        <pc:spChg chg="add mod">
          <ac:chgData name="Byers, Irina (DI CM&amp;MK ST&amp;B)" userId="c4804133-f4a2-4dfa-aebf-50bcba4f7380" providerId="ADAL" clId="{6D5F49AD-1180-3446-9150-E4337F743C9C}" dt="2024-05-30T17:50:58.848" v="5711" actId="207"/>
          <ac:spMkLst>
            <pc:docMk/>
            <pc:sldMk cId="2496441358" sldId="332"/>
            <ac:spMk id="18" creationId="{B358F85B-C967-4BAF-487F-54B850C4D979}"/>
          </ac:spMkLst>
        </pc:spChg>
        <pc:spChg chg="add mod">
          <ac:chgData name="Byers, Irina (DI CM&amp;MK ST&amp;B)" userId="c4804133-f4a2-4dfa-aebf-50bcba4f7380" providerId="ADAL" clId="{6D5F49AD-1180-3446-9150-E4337F743C9C}" dt="2024-05-30T17:50:58.848" v="5711" actId="207"/>
          <ac:spMkLst>
            <pc:docMk/>
            <pc:sldMk cId="2496441358" sldId="332"/>
            <ac:spMk id="19" creationId="{4647465B-FBD7-040E-211C-A7BC053EE638}"/>
          </ac:spMkLst>
        </pc:spChg>
        <pc:spChg chg="add del mod">
          <ac:chgData name="Byers, Irina (DI CM&amp;MK ST&amp;B)" userId="c4804133-f4a2-4dfa-aebf-50bcba4f7380" providerId="ADAL" clId="{6D5F49AD-1180-3446-9150-E4337F743C9C}" dt="2024-05-30T19:29:07.165" v="5883" actId="478"/>
          <ac:spMkLst>
            <pc:docMk/>
            <pc:sldMk cId="2496441358" sldId="332"/>
            <ac:spMk id="21" creationId="{B60F18FD-ED51-8D28-6C35-6A6609759158}"/>
          </ac:spMkLst>
        </pc:spChg>
        <pc:spChg chg="add del mod">
          <ac:chgData name="Byers, Irina (DI CM&amp;MK ST&amp;B)" userId="c4804133-f4a2-4dfa-aebf-50bcba4f7380" providerId="ADAL" clId="{6D5F49AD-1180-3446-9150-E4337F743C9C}" dt="2024-05-30T19:29:23.692" v="5904" actId="478"/>
          <ac:spMkLst>
            <pc:docMk/>
            <pc:sldMk cId="2496441358" sldId="332"/>
            <ac:spMk id="23" creationId="{577F957C-B2D7-27DF-5646-754C4AFE5F93}"/>
          </ac:spMkLst>
        </pc:spChg>
        <pc:spChg chg="add del mod">
          <ac:chgData name="Byers, Irina (DI CM&amp;MK ST&amp;B)" userId="c4804133-f4a2-4dfa-aebf-50bcba4f7380" providerId="ADAL" clId="{6D5F49AD-1180-3446-9150-E4337F743C9C}" dt="2024-05-31T15:50:52.934" v="6255" actId="478"/>
          <ac:spMkLst>
            <pc:docMk/>
            <pc:sldMk cId="2496441358" sldId="332"/>
            <ac:spMk id="27" creationId="{B8692004-D512-137A-CAB9-520B19FCDC0E}"/>
          </ac:spMkLst>
        </pc:spChg>
        <pc:spChg chg="add del mod">
          <ac:chgData name="Byers, Irina (DI CM&amp;MK ST&amp;B)" userId="c4804133-f4a2-4dfa-aebf-50bcba4f7380" providerId="ADAL" clId="{6D5F49AD-1180-3446-9150-E4337F743C9C}" dt="2024-05-31T15:51:01.553" v="6266" actId="478"/>
          <ac:spMkLst>
            <pc:docMk/>
            <pc:sldMk cId="2496441358" sldId="332"/>
            <ac:spMk id="29" creationId="{8AD0FEFF-E030-44B6-93FB-12C144106758}"/>
          </ac:spMkLst>
        </pc:spChg>
        <pc:grpChg chg="add mod">
          <ac:chgData name="Byers, Irina (DI CM&amp;MK ST&amp;B)" userId="c4804133-f4a2-4dfa-aebf-50bcba4f7380" providerId="ADAL" clId="{6D5F49AD-1180-3446-9150-E4337F743C9C}" dt="2024-05-31T15:51:46.478" v="6271" actId="1076"/>
          <ac:grpSpMkLst>
            <pc:docMk/>
            <pc:sldMk cId="2496441358" sldId="332"/>
            <ac:grpSpMk id="14" creationId="{A34893E6-7FEC-4FDF-81DC-9F7FE2E53F76}"/>
          </ac:grpSpMkLst>
        </pc:grpChg>
        <pc:graphicFrameChg chg="add mod modVis replST">
          <ac:chgData name="Byers, Irina (DI CM&amp;MK ST&amp;B)" userId="c4804133-f4a2-4dfa-aebf-50bcba4f7380" providerId="ADAL" clId="{6D5F49AD-1180-3446-9150-E4337F743C9C}" dt="2024-05-30T19:29:24.307" v="5908"/>
          <ac:graphicFrameMkLst>
            <pc:docMk/>
            <pc:sldMk cId="2496441358" sldId="332"/>
            <ac:graphicFrameMk id="24" creationId="{6B64445E-817B-4906-37CB-3493950DF9C2}"/>
          </ac:graphicFrameMkLst>
        </pc:graphicFrameChg>
        <pc:picChg chg="add del mod modCrop">
          <ac:chgData name="Byers, Irina (DI CM&amp;MK ST&amp;B)" userId="c4804133-f4a2-4dfa-aebf-50bcba4f7380" providerId="ADAL" clId="{6D5F49AD-1180-3446-9150-E4337F743C9C}" dt="2024-05-31T15:49:08.369" v="6236" actId="732"/>
          <ac:picMkLst>
            <pc:docMk/>
            <pc:sldMk cId="2496441358" sldId="332"/>
            <ac:picMk id="5" creationId="{DED94BC9-1D87-6818-65CE-61EA0A430BE3}"/>
          </ac:picMkLst>
        </pc:picChg>
        <pc:picChg chg="del">
          <ac:chgData name="Byers, Irina (DI CM&amp;MK ST&amp;B)" userId="c4804133-f4a2-4dfa-aebf-50bcba4f7380" providerId="ADAL" clId="{6D5F49AD-1180-3446-9150-E4337F743C9C}" dt="2024-05-30T19:29:05.430" v="5882" actId="478"/>
          <ac:picMkLst>
            <pc:docMk/>
            <pc:sldMk cId="2496441358" sldId="332"/>
            <ac:picMk id="6" creationId="{72C808FC-C776-4654-93F3-67A8893B1B12}"/>
          </ac:picMkLst>
        </pc:picChg>
        <pc:picChg chg="add mod">
          <ac:chgData name="Byers, Irina (DI CM&amp;MK ST&amp;B)" userId="c4804133-f4a2-4dfa-aebf-50bcba4f7380" providerId="ADAL" clId="{6D5F49AD-1180-3446-9150-E4337F743C9C}" dt="2024-05-30T16:15:35.941" v="5163"/>
          <ac:picMkLst>
            <pc:docMk/>
            <pc:sldMk cId="2496441358" sldId="332"/>
            <ac:picMk id="7" creationId="{09BD3719-C55C-53C3-02F6-869F77F22C10}"/>
          </ac:picMkLst>
        </pc:picChg>
        <pc:picChg chg="add mod">
          <ac:chgData name="Byers, Irina (DI CM&amp;MK ST&amp;B)" userId="c4804133-f4a2-4dfa-aebf-50bcba4f7380" providerId="ADAL" clId="{6D5F49AD-1180-3446-9150-E4337F743C9C}" dt="2024-05-31T15:48:28.357" v="6231"/>
          <ac:picMkLst>
            <pc:docMk/>
            <pc:sldMk cId="2496441358" sldId="332"/>
            <ac:picMk id="25" creationId="{50F41A11-13C6-178A-9F86-A2F7597F087E}"/>
          </ac:picMkLst>
        </pc:picChg>
      </pc:sldChg>
      <pc:sldChg chg="addSp delSp modSp add del mod">
        <pc:chgData name="Byers, Irina (DI CM&amp;MK ST&amp;B)" userId="c4804133-f4a2-4dfa-aebf-50bcba4f7380" providerId="ADAL" clId="{6D5F49AD-1180-3446-9150-E4337F743C9C}" dt="2024-05-30T17:59:45.686" v="5792" actId="2696"/>
        <pc:sldMkLst>
          <pc:docMk/>
          <pc:sldMk cId="1172274543" sldId="1196"/>
        </pc:sldMkLst>
        <pc:spChg chg="mod">
          <ac:chgData name="Byers, Irina (DI CM&amp;MK ST&amp;B)" userId="c4804133-f4a2-4dfa-aebf-50bcba4f7380" providerId="ADAL" clId="{6D5F49AD-1180-3446-9150-E4337F743C9C}" dt="2024-05-30T17:51:26.426" v="5713" actId="1076"/>
          <ac:spMkLst>
            <pc:docMk/>
            <pc:sldMk cId="1172274543" sldId="1196"/>
            <ac:spMk id="2" creationId="{6D50B2FF-A78D-4BE8-90AF-0955B2C183F5}"/>
          </ac:spMkLst>
        </pc:spChg>
        <pc:spChg chg="mod">
          <ac:chgData name="Byers, Irina (DI CM&amp;MK ST&amp;B)" userId="c4804133-f4a2-4dfa-aebf-50bcba4f7380" providerId="ADAL" clId="{6D5F49AD-1180-3446-9150-E4337F743C9C}" dt="2024-05-30T16:13:28.839" v="5133"/>
          <ac:spMkLst>
            <pc:docMk/>
            <pc:sldMk cId="1172274543" sldId="1196"/>
            <ac:spMk id="3" creationId="{94607F6A-67E4-4A97-9612-5EF9EB82E858}"/>
          </ac:spMkLst>
        </pc:spChg>
        <pc:spChg chg="add del mod modVis">
          <ac:chgData name="Byers, Irina (DI CM&amp;MK ST&amp;B)" userId="c4804133-f4a2-4dfa-aebf-50bcba4f7380" providerId="ADAL" clId="{6D5F49AD-1180-3446-9150-E4337F743C9C}" dt="2024-05-30T16:13:28.841" v="5137"/>
          <ac:spMkLst>
            <pc:docMk/>
            <pc:sldMk cId="1172274543" sldId="1196"/>
            <ac:spMk id="5" creationId="{4DFFBC5C-D708-4A0A-3494-E9AF5A4AC4E7}"/>
          </ac:spMkLst>
        </pc:spChg>
        <pc:spChg chg="del">
          <ac:chgData name="Byers, Irina (DI CM&amp;MK ST&amp;B)" userId="c4804133-f4a2-4dfa-aebf-50bcba4f7380" providerId="ADAL" clId="{6D5F49AD-1180-3446-9150-E4337F743C9C}" dt="2024-05-30T16:13:13.313" v="5106" actId="478"/>
          <ac:spMkLst>
            <pc:docMk/>
            <pc:sldMk cId="1172274543" sldId="1196"/>
            <ac:spMk id="7" creationId="{2EFDD2C6-68B9-4511-BF63-95A9F5A804D0}"/>
          </ac:spMkLst>
        </pc:spChg>
        <pc:spChg chg="add del mod">
          <ac:chgData name="Byers, Irina (DI CM&amp;MK ST&amp;B)" userId="c4804133-f4a2-4dfa-aebf-50bcba4f7380" providerId="ADAL" clId="{6D5F49AD-1180-3446-9150-E4337F743C9C}" dt="2024-05-30T16:13:47.281" v="5154" actId="478"/>
          <ac:spMkLst>
            <pc:docMk/>
            <pc:sldMk cId="1172274543" sldId="1196"/>
            <ac:spMk id="10" creationId="{FC20EB3C-EC65-EC0C-4CD5-4A6885399E86}"/>
          </ac:spMkLst>
        </pc:spChg>
        <pc:spChg chg="mod">
          <ac:chgData name="Byers, Irina (DI CM&amp;MK ST&amp;B)" userId="c4804133-f4a2-4dfa-aebf-50bcba4f7380" providerId="ADAL" clId="{6D5F49AD-1180-3446-9150-E4337F743C9C}" dt="2024-05-30T16:13:28.838" v="5131"/>
          <ac:spMkLst>
            <pc:docMk/>
            <pc:sldMk cId="1172274543" sldId="1196"/>
            <ac:spMk id="15" creationId="{CA69BF1A-2035-4ECC-800E-05F8EFBE116C}"/>
          </ac:spMkLst>
        </pc:spChg>
        <pc:graphicFrameChg chg="add mod modVis replST">
          <ac:chgData name="Byers, Irina (DI CM&amp;MK ST&amp;B)" userId="c4804133-f4a2-4dfa-aebf-50bcba4f7380" providerId="ADAL" clId="{6D5F49AD-1180-3446-9150-E4337F743C9C}" dt="2024-05-30T16:13:28.881" v="5151"/>
          <ac:graphicFrameMkLst>
            <pc:docMk/>
            <pc:sldMk cId="1172274543" sldId="1196"/>
            <ac:graphicFrameMk id="6" creationId="{4F7A452F-3DAF-51DC-D041-70E12F426EBF}"/>
          </ac:graphicFrameMkLst>
        </pc:graphicFrameChg>
        <pc:picChg chg="add mod modCrop">
          <ac:chgData name="Byers, Irina (DI CM&amp;MK ST&amp;B)" userId="c4804133-f4a2-4dfa-aebf-50bcba4f7380" providerId="ADAL" clId="{6D5F49AD-1180-3446-9150-E4337F743C9C}" dt="2024-05-30T16:13:44.310" v="5153" actId="732"/>
          <ac:picMkLst>
            <pc:docMk/>
            <pc:sldMk cId="1172274543" sldId="1196"/>
            <ac:picMk id="4" creationId="{42E683B3-FE44-50D2-7E17-EDC86714D77E}"/>
          </ac:picMkLst>
        </pc:picChg>
        <pc:picChg chg="del mod">
          <ac:chgData name="Byers, Irina (DI CM&amp;MK ST&amp;B)" userId="c4804133-f4a2-4dfa-aebf-50bcba4f7380" providerId="ADAL" clId="{6D5F49AD-1180-3446-9150-E4337F743C9C}" dt="2024-05-30T16:13:32.616" v="5152" actId="478"/>
          <ac:picMkLst>
            <pc:docMk/>
            <pc:sldMk cId="1172274543" sldId="1196"/>
            <ac:picMk id="9" creationId="{3ABA9F74-94EE-4A3B-805B-65FAF3276D71}"/>
          </ac:picMkLst>
        </pc:picChg>
      </pc:sldChg>
      <pc:sldChg chg="addSp delSp modSp mod modClrScheme chgLayout">
        <pc:chgData name="Byers, Irina (DI CM&amp;MK ST&amp;B)" userId="c4804133-f4a2-4dfa-aebf-50bcba4f7380" providerId="ADAL" clId="{6D5F49AD-1180-3446-9150-E4337F743C9C}" dt="2024-05-31T18:52:42.089" v="7221"/>
        <pc:sldMkLst>
          <pc:docMk/>
          <pc:sldMk cId="3145148728" sldId="1332"/>
        </pc:sldMkLst>
        <pc:spChg chg="add mod">
          <ac:chgData name="Byers, Irina (DI CM&amp;MK ST&amp;B)" userId="c4804133-f4a2-4dfa-aebf-50bcba4f7380" providerId="ADAL" clId="{6D5F49AD-1180-3446-9150-E4337F743C9C}" dt="2024-05-29T21:29:28.022" v="2944"/>
          <ac:spMkLst>
            <pc:docMk/>
            <pc:sldMk cId="3145148728" sldId="1332"/>
            <ac:spMk id="2" creationId="{37E72470-7A79-951A-A88C-9B3D2FDB5291}"/>
          </ac:spMkLst>
        </pc:spChg>
        <pc:spChg chg="del">
          <ac:chgData name="Byers, Irina (DI CM&amp;MK ST&amp;B)" userId="c4804133-f4a2-4dfa-aebf-50bcba4f7380" providerId="ADAL" clId="{6D5F49AD-1180-3446-9150-E4337F743C9C}" dt="2024-05-29T20:03:41.266" v="166" actId="478"/>
          <ac:spMkLst>
            <pc:docMk/>
            <pc:sldMk cId="3145148728" sldId="1332"/>
            <ac:spMk id="2" creationId="{A1DE8375-23EF-4B11-BED2-2043BED9FCCF}"/>
          </ac:spMkLst>
        </pc:spChg>
        <pc:spChg chg="add del mod modVis">
          <ac:chgData name="Byers, Irina (DI CM&amp;MK ST&amp;B)" userId="c4804133-f4a2-4dfa-aebf-50bcba4f7380" providerId="ADAL" clId="{6D5F49AD-1180-3446-9150-E4337F743C9C}" dt="2024-05-30T15:35:14.268" v="3797"/>
          <ac:spMkLst>
            <pc:docMk/>
            <pc:sldMk cId="3145148728" sldId="1332"/>
            <ac:spMk id="3" creationId="{5F17A8CD-EA16-A955-0722-C84D689AE822}"/>
          </ac:spMkLst>
        </pc:spChg>
        <pc:spChg chg="add del mod modVis">
          <ac:chgData name="Byers, Irina (DI CM&amp;MK ST&amp;B)" userId="c4804133-f4a2-4dfa-aebf-50bcba4f7380" providerId="ADAL" clId="{6D5F49AD-1180-3446-9150-E4337F743C9C}" dt="2024-05-29T20:03:37.333" v="130"/>
          <ac:spMkLst>
            <pc:docMk/>
            <pc:sldMk cId="3145148728" sldId="1332"/>
            <ac:spMk id="3" creationId="{FA39C23F-A53F-705E-52DF-C9C59EA3F1C6}"/>
          </ac:spMkLst>
        </pc:spChg>
        <pc:spChg chg="add del mod ord">
          <ac:chgData name="Byers, Irina (DI CM&amp;MK ST&amp;B)" userId="c4804133-f4a2-4dfa-aebf-50bcba4f7380" providerId="ADAL" clId="{6D5F49AD-1180-3446-9150-E4337F743C9C}" dt="2024-05-29T20:42:46.686" v="1870" actId="478"/>
          <ac:spMkLst>
            <pc:docMk/>
            <pc:sldMk cId="3145148728" sldId="1332"/>
            <ac:spMk id="5" creationId="{7036F4DE-F607-3FB2-01BB-BA54873B34C6}"/>
          </ac:spMkLst>
        </pc:spChg>
        <pc:spChg chg="add del mod modVis">
          <ac:chgData name="Byers, Irina (DI CM&amp;MK ST&amp;B)" userId="c4804133-f4a2-4dfa-aebf-50bcba4f7380" providerId="ADAL" clId="{6D5F49AD-1180-3446-9150-E4337F743C9C}" dt="2024-05-30T15:35:16.810" v="3839"/>
          <ac:spMkLst>
            <pc:docMk/>
            <pc:sldMk cId="3145148728" sldId="1332"/>
            <ac:spMk id="5" creationId="{C7156255-1C5E-E55A-DA30-756C3F2EA14D}"/>
          </ac:spMkLst>
        </pc:spChg>
        <pc:spChg chg="add del mod ord">
          <ac:chgData name="Byers, Irina (DI CM&amp;MK ST&amp;B)" userId="c4804133-f4a2-4dfa-aebf-50bcba4f7380" providerId="ADAL" clId="{6D5F49AD-1180-3446-9150-E4337F743C9C}" dt="2024-05-29T20:42:46.686" v="1870" actId="478"/>
          <ac:spMkLst>
            <pc:docMk/>
            <pc:sldMk cId="3145148728" sldId="1332"/>
            <ac:spMk id="6" creationId="{B1437859-3C8E-7426-2EA2-41D15A19962E}"/>
          </ac:spMkLst>
        </pc:spChg>
        <pc:spChg chg="add del mod modVis">
          <ac:chgData name="Byers, Irina (DI CM&amp;MK ST&amp;B)" userId="c4804133-f4a2-4dfa-aebf-50bcba4f7380" providerId="ADAL" clId="{6D5F49AD-1180-3446-9150-E4337F743C9C}" dt="2024-05-31T16:56:09.801" v="6394"/>
          <ac:spMkLst>
            <pc:docMk/>
            <pc:sldMk cId="3145148728" sldId="1332"/>
            <ac:spMk id="7" creationId="{EAE90AED-08A5-6B0C-A54A-E6E89449F432}"/>
          </ac:spMkLst>
        </pc:spChg>
        <pc:spChg chg="add del mod">
          <ac:chgData name="Byers, Irina (DI CM&amp;MK ST&amp;B)" userId="c4804133-f4a2-4dfa-aebf-50bcba4f7380" providerId="ADAL" clId="{6D5F49AD-1180-3446-9150-E4337F743C9C}" dt="2024-05-29T20:18:19.057" v="451" actId="478"/>
          <ac:spMkLst>
            <pc:docMk/>
            <pc:sldMk cId="3145148728" sldId="1332"/>
            <ac:spMk id="8" creationId="{04A67B94-7816-BBD0-AC55-6175EFE97BC8}"/>
          </ac:spMkLst>
        </pc:spChg>
        <pc:spChg chg="add del mod modVis">
          <ac:chgData name="Byers, Irina (DI CM&amp;MK ST&amp;B)" userId="c4804133-f4a2-4dfa-aebf-50bcba4f7380" providerId="ADAL" clId="{6D5F49AD-1180-3446-9150-E4337F743C9C}" dt="2024-05-31T16:56:20.038" v="6428"/>
          <ac:spMkLst>
            <pc:docMk/>
            <pc:sldMk cId="3145148728" sldId="1332"/>
            <ac:spMk id="8" creationId="{085A51A1-CA90-B98F-5E95-7D4CE0B3751F}"/>
          </ac:spMkLst>
        </pc:spChg>
        <pc:spChg chg="add del mod modVis">
          <ac:chgData name="Byers, Irina (DI CM&amp;MK ST&amp;B)" userId="c4804133-f4a2-4dfa-aebf-50bcba4f7380" providerId="ADAL" clId="{6D5F49AD-1180-3446-9150-E4337F743C9C}" dt="2024-05-31T16:58:13.597" v="6773"/>
          <ac:spMkLst>
            <pc:docMk/>
            <pc:sldMk cId="3145148728" sldId="1332"/>
            <ac:spMk id="9" creationId="{A2399896-735F-FF09-3181-1A62EDFAD544}"/>
          </ac:spMkLst>
        </pc:spChg>
        <pc:spChg chg="add del mod modVis">
          <ac:chgData name="Byers, Irina (DI CM&amp;MK ST&amp;B)" userId="c4804133-f4a2-4dfa-aebf-50bcba4f7380" providerId="ADAL" clId="{6D5F49AD-1180-3446-9150-E4337F743C9C}" dt="2024-05-29T20:07:55.263" v="404"/>
          <ac:spMkLst>
            <pc:docMk/>
            <pc:sldMk cId="3145148728" sldId="1332"/>
            <ac:spMk id="9" creationId="{F34F262E-FE31-8EE8-733F-015E3BF86769}"/>
          </ac:spMkLst>
        </pc:spChg>
        <pc:spChg chg="add del mod modVis">
          <ac:chgData name="Byers, Irina (DI CM&amp;MK ST&amp;B)" userId="c4804133-f4a2-4dfa-aebf-50bcba4f7380" providerId="ADAL" clId="{6D5F49AD-1180-3446-9150-E4337F743C9C}" dt="2024-05-29T20:08:00.419" v="438"/>
          <ac:spMkLst>
            <pc:docMk/>
            <pc:sldMk cId="3145148728" sldId="1332"/>
            <ac:spMk id="10" creationId="{729BA3D9-3DC2-6CFD-FB56-D293558261D3}"/>
          </ac:spMkLst>
        </pc:spChg>
        <pc:spChg chg="add del mod modVis">
          <ac:chgData name="Byers, Irina (DI CM&amp;MK ST&amp;B)" userId="c4804133-f4a2-4dfa-aebf-50bcba4f7380" providerId="ADAL" clId="{6D5F49AD-1180-3446-9150-E4337F743C9C}" dt="2024-05-31T16:58:20.303" v="6807"/>
          <ac:spMkLst>
            <pc:docMk/>
            <pc:sldMk cId="3145148728" sldId="1332"/>
            <ac:spMk id="10" creationId="{EC5BFBB4-7161-F82A-CBAE-271179FCAD41}"/>
          </ac:spMkLst>
        </pc:spChg>
        <pc:spChg chg="add del mod modVis">
          <ac:chgData name="Byers, Irina (DI CM&amp;MK ST&amp;B)" userId="c4804133-f4a2-4dfa-aebf-50bcba4f7380" providerId="ADAL" clId="{6D5F49AD-1180-3446-9150-E4337F743C9C}" dt="2024-05-31T16:58:33.217" v="6842"/>
          <ac:spMkLst>
            <pc:docMk/>
            <pc:sldMk cId="3145148728" sldId="1332"/>
            <ac:spMk id="11" creationId="{7128AAF2-C607-29FB-039B-FF818B8EADD6}"/>
          </ac:spMkLst>
        </pc:spChg>
        <pc:spChg chg="add del mod modVis">
          <ac:chgData name="Byers, Irina (DI CM&amp;MK ST&amp;B)" userId="c4804133-f4a2-4dfa-aebf-50bcba4f7380" providerId="ADAL" clId="{6D5F49AD-1180-3446-9150-E4337F743C9C}" dt="2024-05-31T16:58:35.415" v="6884"/>
          <ac:spMkLst>
            <pc:docMk/>
            <pc:sldMk cId="3145148728" sldId="1332"/>
            <ac:spMk id="12" creationId="{23E49401-50E0-ABCD-0EBC-F3A436DAD2FA}"/>
          </ac:spMkLst>
        </pc:spChg>
        <pc:spChg chg="add del mod modVis">
          <ac:chgData name="Byers, Irina (DI CM&amp;MK ST&amp;B)" userId="c4804133-f4a2-4dfa-aebf-50bcba4f7380" providerId="ADAL" clId="{6D5F49AD-1180-3446-9150-E4337F743C9C}" dt="2024-05-31T18:52:42.085" v="7217" actId="962"/>
          <ac:spMkLst>
            <pc:docMk/>
            <pc:sldMk cId="3145148728" sldId="1332"/>
            <ac:spMk id="13" creationId="{BA4BE5EF-F83C-BDC1-3A9F-AD7209CDE232}"/>
          </ac:spMkLst>
        </pc:spChg>
        <pc:spChg chg="add del mod modVis">
          <ac:chgData name="Byers, Irina (DI CM&amp;MK ST&amp;B)" userId="c4804133-f4a2-4dfa-aebf-50bcba4f7380" providerId="ADAL" clId="{6D5F49AD-1180-3446-9150-E4337F743C9C}" dt="2024-05-29T20:19:33.536" v="491"/>
          <ac:spMkLst>
            <pc:docMk/>
            <pc:sldMk cId="3145148728" sldId="1332"/>
            <ac:spMk id="13" creationId="{C4C14077-35E9-1AA2-68B1-41801971F40D}"/>
          </ac:spMkLst>
        </pc:spChg>
        <pc:spChg chg="add del mod modVis">
          <ac:chgData name="Byers, Irina (DI CM&amp;MK ST&amp;B)" userId="c4804133-f4a2-4dfa-aebf-50bcba4f7380" providerId="ADAL" clId="{6D5F49AD-1180-3446-9150-E4337F743C9C}" dt="2024-05-31T18:52:40.372" v="7176" actId="962"/>
          <ac:spMkLst>
            <pc:docMk/>
            <pc:sldMk cId="3145148728" sldId="1332"/>
            <ac:spMk id="14" creationId="{6769ACDB-015D-D811-F93D-C85930EEE06A}"/>
          </ac:spMkLst>
        </pc:spChg>
        <pc:spChg chg="add del mod modVis">
          <ac:chgData name="Byers, Irina (DI CM&amp;MK ST&amp;B)" userId="c4804133-f4a2-4dfa-aebf-50bcba4f7380" providerId="ADAL" clId="{6D5F49AD-1180-3446-9150-E4337F743C9C}" dt="2024-05-29T20:19:34.240" v="525"/>
          <ac:spMkLst>
            <pc:docMk/>
            <pc:sldMk cId="3145148728" sldId="1332"/>
            <ac:spMk id="14" creationId="{C62E82B9-55FC-618B-7B67-51EC7158B75F}"/>
          </ac:spMkLst>
        </pc:spChg>
        <pc:spChg chg="add del mod modVis">
          <ac:chgData name="Byers, Irina (DI CM&amp;MK ST&amp;B)" userId="c4804133-f4a2-4dfa-aebf-50bcba4f7380" providerId="ADAL" clId="{6D5F49AD-1180-3446-9150-E4337F743C9C}" dt="2024-05-29T20:19:35.451" v="559"/>
          <ac:spMkLst>
            <pc:docMk/>
            <pc:sldMk cId="3145148728" sldId="1332"/>
            <ac:spMk id="15" creationId="{690A317E-E697-3BCB-D650-EC38CF43C47F}"/>
          </ac:spMkLst>
        </pc:spChg>
        <pc:spChg chg="add del mod modVis">
          <ac:chgData name="Byers, Irina (DI CM&amp;MK ST&amp;B)" userId="c4804133-f4a2-4dfa-aebf-50bcba4f7380" providerId="ADAL" clId="{6D5F49AD-1180-3446-9150-E4337F743C9C}" dt="2024-05-29T20:19:40.854" v="596"/>
          <ac:spMkLst>
            <pc:docMk/>
            <pc:sldMk cId="3145148728" sldId="1332"/>
            <ac:spMk id="16" creationId="{FD9D0FF9-875C-0EAF-E75D-91432BA7DAC7}"/>
          </ac:spMkLst>
        </pc:spChg>
        <pc:spChg chg="add del mod modVis">
          <ac:chgData name="Byers, Irina (DI CM&amp;MK ST&amp;B)" userId="c4804133-f4a2-4dfa-aebf-50bcba4f7380" providerId="ADAL" clId="{6D5F49AD-1180-3446-9150-E4337F743C9C}" dt="2024-05-29T20:19:47.721" v="630"/>
          <ac:spMkLst>
            <pc:docMk/>
            <pc:sldMk cId="3145148728" sldId="1332"/>
            <ac:spMk id="17" creationId="{CAAD5BE8-B35A-31A3-0F48-E4D0E45E6DC8}"/>
          </ac:spMkLst>
        </pc:spChg>
        <pc:spChg chg="add del mod modVis">
          <ac:chgData name="Byers, Irina (DI CM&amp;MK ST&amp;B)" userId="c4804133-f4a2-4dfa-aebf-50bcba4f7380" providerId="ADAL" clId="{6D5F49AD-1180-3446-9150-E4337F743C9C}" dt="2024-05-29T20:19:54.790" v="664"/>
          <ac:spMkLst>
            <pc:docMk/>
            <pc:sldMk cId="3145148728" sldId="1332"/>
            <ac:spMk id="18" creationId="{B0124770-DDF3-0EF1-F6B4-F880F463BE6D}"/>
          </ac:spMkLst>
        </pc:spChg>
        <pc:spChg chg="add del mod modVis">
          <ac:chgData name="Byers, Irina (DI CM&amp;MK ST&amp;B)" userId="c4804133-f4a2-4dfa-aebf-50bcba4f7380" providerId="ADAL" clId="{6D5F49AD-1180-3446-9150-E4337F743C9C}" dt="2024-05-29T20:22:23.704" v="711"/>
          <ac:spMkLst>
            <pc:docMk/>
            <pc:sldMk cId="3145148728" sldId="1332"/>
            <ac:spMk id="21" creationId="{02F4C3E9-D854-E5DE-5FB3-878B3A1A48C2}"/>
          </ac:spMkLst>
        </pc:spChg>
        <pc:spChg chg="add del mod modVis">
          <ac:chgData name="Byers, Irina (DI CM&amp;MK ST&amp;B)" userId="c4804133-f4a2-4dfa-aebf-50bcba4f7380" providerId="ADAL" clId="{6D5F49AD-1180-3446-9150-E4337F743C9C}" dt="2024-05-29T20:42:35.248" v="1855"/>
          <ac:spMkLst>
            <pc:docMk/>
            <pc:sldMk cId="3145148728" sldId="1332"/>
            <ac:spMk id="22" creationId="{7BECAE8C-4D59-EB60-082B-D28318F30228}"/>
          </ac:spMkLst>
        </pc:spChg>
        <pc:spChg chg="add del mod">
          <ac:chgData name="Byers, Irina (DI CM&amp;MK ST&amp;B)" userId="c4804133-f4a2-4dfa-aebf-50bcba4f7380" providerId="ADAL" clId="{6D5F49AD-1180-3446-9150-E4337F743C9C}" dt="2024-05-29T20:42:45.384" v="1867" actId="478"/>
          <ac:spMkLst>
            <pc:docMk/>
            <pc:sldMk cId="3145148728" sldId="1332"/>
            <ac:spMk id="24" creationId="{942BF1C1-7958-9CFA-7D34-F13CBEBC6D30}"/>
          </ac:spMkLst>
        </pc:spChg>
        <pc:spChg chg="add del mod">
          <ac:chgData name="Byers, Irina (DI CM&amp;MK ST&amp;B)" userId="c4804133-f4a2-4dfa-aebf-50bcba4f7380" providerId="ADAL" clId="{6D5F49AD-1180-3446-9150-E4337F743C9C}" dt="2024-05-29T20:42:45.384" v="1867" actId="478"/>
          <ac:spMkLst>
            <pc:docMk/>
            <pc:sldMk cId="3145148728" sldId="1332"/>
            <ac:spMk id="26" creationId="{D8979D78-8194-0152-4AB9-A8FEE5F80BBF}"/>
          </ac:spMkLst>
        </pc:spChg>
        <pc:spChg chg="add mod">
          <ac:chgData name="Byers, Irina (DI CM&amp;MK ST&amp;B)" userId="c4804133-f4a2-4dfa-aebf-50bcba4f7380" providerId="ADAL" clId="{6D5F49AD-1180-3446-9150-E4337F743C9C}" dt="2024-05-29T20:42:44.191" v="1859"/>
          <ac:spMkLst>
            <pc:docMk/>
            <pc:sldMk cId="3145148728" sldId="1332"/>
            <ac:spMk id="27" creationId="{80AD1D95-C62A-1025-40CA-3A03649B9E9B}"/>
          </ac:spMkLst>
        </pc:spChg>
        <pc:spChg chg="add mod">
          <ac:chgData name="Byers, Irina (DI CM&amp;MK ST&amp;B)" userId="c4804133-f4a2-4dfa-aebf-50bcba4f7380" providerId="ADAL" clId="{6D5F49AD-1180-3446-9150-E4337F743C9C}" dt="2024-05-29T20:42:44.191" v="1859"/>
          <ac:spMkLst>
            <pc:docMk/>
            <pc:sldMk cId="3145148728" sldId="1332"/>
            <ac:spMk id="28" creationId="{70967BF8-DB10-D38A-9CA1-DCD2C37D6C6F}"/>
          </ac:spMkLst>
        </pc:spChg>
        <pc:spChg chg="add del mod">
          <ac:chgData name="Byers, Irina (DI CM&amp;MK ST&amp;B)" userId="c4804133-f4a2-4dfa-aebf-50bcba4f7380" providerId="ADAL" clId="{6D5F49AD-1180-3446-9150-E4337F743C9C}" dt="2024-05-29T20:42:49.969" v="1875" actId="478"/>
          <ac:spMkLst>
            <pc:docMk/>
            <pc:sldMk cId="3145148728" sldId="1332"/>
            <ac:spMk id="30" creationId="{3FBF96C4-ED6D-6916-B1D3-38DBC104286A}"/>
          </ac:spMkLst>
        </pc:spChg>
        <pc:spChg chg="add del mod">
          <ac:chgData name="Byers, Irina (DI CM&amp;MK ST&amp;B)" userId="c4804133-f4a2-4dfa-aebf-50bcba4f7380" providerId="ADAL" clId="{6D5F49AD-1180-3446-9150-E4337F743C9C}" dt="2024-05-29T20:42:49.969" v="1875" actId="478"/>
          <ac:spMkLst>
            <pc:docMk/>
            <pc:sldMk cId="3145148728" sldId="1332"/>
            <ac:spMk id="32" creationId="{456D649B-D1C0-C468-AE8B-9AE3427C4701}"/>
          </ac:spMkLst>
        </pc:spChg>
        <pc:spChg chg="add mod">
          <ac:chgData name="Byers, Irina (DI CM&amp;MK ST&amp;B)" userId="c4804133-f4a2-4dfa-aebf-50bcba4f7380" providerId="ADAL" clId="{6D5F49AD-1180-3446-9150-E4337F743C9C}" dt="2024-05-29T20:43:24.784" v="1965" actId="113"/>
          <ac:spMkLst>
            <pc:docMk/>
            <pc:sldMk cId="3145148728" sldId="1332"/>
            <ac:spMk id="33" creationId="{F0D0FD7B-DDFD-C654-11D1-96AD5C2F1DB3}"/>
          </ac:spMkLst>
        </pc:spChg>
        <pc:spChg chg="add mod">
          <ac:chgData name="Byers, Irina (DI CM&amp;MK ST&amp;B)" userId="c4804133-f4a2-4dfa-aebf-50bcba4f7380" providerId="ADAL" clId="{6D5F49AD-1180-3446-9150-E4337F743C9C}" dt="2024-05-31T18:52:42.086" v="7219" actId="207"/>
          <ac:spMkLst>
            <pc:docMk/>
            <pc:sldMk cId="3145148728" sldId="1332"/>
            <ac:spMk id="34" creationId="{368E437B-41A4-C3F0-C52C-7ED5C964B5AC}"/>
          </ac:spMkLst>
        </pc:spChg>
        <pc:spChg chg="add del mod modVis">
          <ac:chgData name="Byers, Irina (DI CM&amp;MK ST&amp;B)" userId="c4804133-f4a2-4dfa-aebf-50bcba4f7380" providerId="ADAL" clId="{6D5F49AD-1180-3446-9150-E4337F743C9C}" dt="2024-05-29T20:43:02.223" v="1920"/>
          <ac:spMkLst>
            <pc:docMk/>
            <pc:sldMk cId="3145148728" sldId="1332"/>
            <ac:spMk id="35" creationId="{FC2CCE5D-BA98-0B32-AEC8-E011BB46DEAA}"/>
          </ac:spMkLst>
        </pc:spChg>
        <pc:spChg chg="add del mod modVis">
          <ac:chgData name="Byers, Irina (DI CM&amp;MK ST&amp;B)" userId="c4804133-f4a2-4dfa-aebf-50bcba4f7380" providerId="ADAL" clId="{6D5F49AD-1180-3446-9150-E4337F743C9C}" dt="2024-05-29T20:43:10.502" v="1962"/>
          <ac:spMkLst>
            <pc:docMk/>
            <pc:sldMk cId="3145148728" sldId="1332"/>
            <ac:spMk id="36" creationId="{F22F8EB4-402B-36EE-56A0-82D8A331D2FA}"/>
          </ac:spMkLst>
        </pc:spChg>
        <pc:graphicFrameChg chg="add mod modVis replST">
          <ac:chgData name="Byers, Irina (DI CM&amp;MK ST&amp;B)" userId="c4804133-f4a2-4dfa-aebf-50bcba4f7380" providerId="ADAL" clId="{6D5F49AD-1180-3446-9150-E4337F743C9C}" dt="2024-05-31T18:52:42.089" v="7221"/>
          <ac:graphicFrameMkLst>
            <pc:docMk/>
            <pc:sldMk cId="3145148728" sldId="1332"/>
            <ac:graphicFrameMk id="4" creationId="{1315F84D-C954-3C4D-7EF4-923965CEB515}"/>
          </ac:graphicFrameMkLst>
        </pc:graphicFrameChg>
        <pc:picChg chg="add mod">
          <ac:chgData name="Byers, Irina (DI CM&amp;MK ST&amp;B)" userId="c4804133-f4a2-4dfa-aebf-50bcba4f7380" providerId="ADAL" clId="{6D5F49AD-1180-3446-9150-E4337F743C9C}" dt="2024-05-30T18:09:31.034" v="5819"/>
          <ac:picMkLst>
            <pc:docMk/>
            <pc:sldMk cId="3145148728" sldId="1332"/>
            <ac:picMk id="6" creationId="{9F11ED8F-1233-8EE3-7A8D-875FEA636985}"/>
          </ac:picMkLst>
        </pc:picChg>
        <pc:picChg chg="add del mod">
          <ac:chgData name="Byers, Irina (DI CM&amp;MK ST&amp;B)" userId="c4804133-f4a2-4dfa-aebf-50bcba4f7380" providerId="ADAL" clId="{6D5F49AD-1180-3446-9150-E4337F743C9C}" dt="2024-05-29T20:17:37.991" v="446" actId="478"/>
          <ac:picMkLst>
            <pc:docMk/>
            <pc:sldMk cId="3145148728" sldId="1332"/>
            <ac:picMk id="7" creationId="{A157CC81-673F-FAA5-8CE7-25FDA351FB6B}"/>
          </ac:picMkLst>
        </pc:picChg>
        <pc:picChg chg="add del mod">
          <ac:chgData name="Byers, Irina (DI CM&amp;MK ST&amp;B)" userId="c4804133-f4a2-4dfa-aebf-50bcba4f7380" providerId="ADAL" clId="{6D5F49AD-1180-3446-9150-E4337F743C9C}" dt="2024-05-29T20:21:47.096" v="667" actId="478"/>
          <ac:picMkLst>
            <pc:docMk/>
            <pc:sldMk cId="3145148728" sldId="1332"/>
            <ac:picMk id="12" creationId="{9A683B1B-EEDB-F41A-61AA-73689EA9E699}"/>
          </ac:picMkLst>
        </pc:picChg>
        <pc:picChg chg="add mod">
          <ac:chgData name="Byers, Irina (DI CM&amp;MK ST&amp;B)" userId="c4804133-f4a2-4dfa-aebf-50bcba4f7380" providerId="ADAL" clId="{6D5F49AD-1180-3446-9150-E4337F743C9C}" dt="2024-05-31T15:10:00.688" v="5913" actId="1076"/>
          <ac:picMkLst>
            <pc:docMk/>
            <pc:sldMk cId="3145148728" sldId="1332"/>
            <ac:picMk id="20" creationId="{9FBDA3C2-C77B-4C44-5C43-C77E04D7605D}"/>
          </ac:picMkLst>
        </pc:picChg>
      </pc:sldChg>
      <pc:sldChg chg="modSp mod ord modShow">
        <pc:chgData name="Byers, Irina (DI CM&amp;MK ST&amp;B)" userId="c4804133-f4a2-4dfa-aebf-50bcba4f7380" providerId="ADAL" clId="{6D5F49AD-1180-3446-9150-E4337F743C9C}" dt="2024-05-29T21:33:08.364" v="3450" actId="729"/>
        <pc:sldMkLst>
          <pc:docMk/>
          <pc:sldMk cId="2072657460" sldId="2147474062"/>
        </pc:sldMkLst>
        <pc:picChg chg="mod">
          <ac:chgData name="Byers, Irina (DI CM&amp;MK ST&amp;B)" userId="c4804133-f4a2-4dfa-aebf-50bcba4f7380" providerId="ADAL" clId="{6D5F49AD-1180-3446-9150-E4337F743C9C}" dt="2024-05-29T20:46:50.312" v="1969" actId="1076"/>
          <ac:picMkLst>
            <pc:docMk/>
            <pc:sldMk cId="2072657460" sldId="2147474062"/>
            <ac:picMk id="71" creationId="{883F1B68-8919-D110-94CB-4083AD8A1532}"/>
          </ac:picMkLst>
        </pc:picChg>
      </pc:sldChg>
      <pc:sldChg chg="addSp modSp mod">
        <pc:chgData name="Byers, Irina (DI CM&amp;MK ST&amp;B)" userId="c4804133-f4a2-4dfa-aebf-50bcba4f7380" providerId="ADAL" clId="{6D5F49AD-1180-3446-9150-E4337F743C9C}" dt="2024-05-30T17:50:22.766" v="5706" actId="1076"/>
        <pc:sldMkLst>
          <pc:docMk/>
          <pc:sldMk cId="1949905817" sldId="2147476393"/>
        </pc:sldMkLst>
        <pc:spChg chg="mod">
          <ac:chgData name="Byers, Irina (DI CM&amp;MK ST&amp;B)" userId="c4804133-f4a2-4dfa-aebf-50bcba4f7380" providerId="ADAL" clId="{6D5F49AD-1180-3446-9150-E4337F743C9C}" dt="2024-05-30T17:50:22.766" v="5706" actId="1076"/>
          <ac:spMkLst>
            <pc:docMk/>
            <pc:sldMk cId="1949905817" sldId="2147476393"/>
            <ac:spMk id="2" creationId="{285F7421-F7DA-4730-9F02-2F4E2B4FA43A}"/>
          </ac:spMkLst>
        </pc:spChg>
        <pc:spChg chg="add mod">
          <ac:chgData name="Byers, Irina (DI CM&amp;MK ST&amp;B)" userId="c4804133-f4a2-4dfa-aebf-50bcba4f7380" providerId="ADAL" clId="{6D5F49AD-1180-3446-9150-E4337F743C9C}" dt="2024-05-29T21:29:28.022" v="2944"/>
          <ac:spMkLst>
            <pc:docMk/>
            <pc:sldMk cId="1949905817" sldId="2147476393"/>
            <ac:spMk id="8" creationId="{C761FD2D-DE49-EADC-D9DC-1D950CA52768}"/>
          </ac:spMkLst>
        </pc:spChg>
      </pc:sldChg>
      <pc:sldChg chg="addSp modSp">
        <pc:chgData name="Byers, Irina (DI CM&amp;MK ST&amp;B)" userId="c4804133-f4a2-4dfa-aebf-50bcba4f7380" providerId="ADAL" clId="{6D5F49AD-1180-3446-9150-E4337F743C9C}" dt="2024-05-29T21:29:28.022" v="2944"/>
        <pc:sldMkLst>
          <pc:docMk/>
          <pc:sldMk cId="332930158" sldId="2147478438"/>
        </pc:sldMkLst>
        <pc:spChg chg="add mod">
          <ac:chgData name="Byers, Irina (DI CM&amp;MK ST&amp;B)" userId="c4804133-f4a2-4dfa-aebf-50bcba4f7380" providerId="ADAL" clId="{6D5F49AD-1180-3446-9150-E4337F743C9C}" dt="2024-05-29T21:29:28.022" v="2944"/>
          <ac:spMkLst>
            <pc:docMk/>
            <pc:sldMk cId="332930158" sldId="2147478438"/>
            <ac:spMk id="4" creationId="{63AC6CEB-555C-3BBD-F4BE-2DC274B53382}"/>
          </ac:spMkLst>
        </pc:spChg>
      </pc:sldChg>
      <pc:sldChg chg="addSp modSp modAnim">
        <pc:chgData name="Byers, Irina (DI CM&amp;MK ST&amp;B)" userId="c4804133-f4a2-4dfa-aebf-50bcba4f7380" providerId="ADAL" clId="{6D5F49AD-1180-3446-9150-E4337F743C9C}" dt="2024-05-31T18:56:12.046" v="7366"/>
        <pc:sldMkLst>
          <pc:docMk/>
          <pc:sldMk cId="1903040946" sldId="2147482077"/>
        </pc:sldMkLst>
        <pc:picChg chg="add mod">
          <ac:chgData name="Byers, Irina (DI CM&amp;MK ST&amp;B)" userId="c4804133-f4a2-4dfa-aebf-50bcba4f7380" providerId="ADAL" clId="{6D5F49AD-1180-3446-9150-E4337F743C9C}" dt="2024-05-31T15:48:10.737" v="6229"/>
          <ac:picMkLst>
            <pc:docMk/>
            <pc:sldMk cId="1903040946" sldId="2147482077"/>
            <ac:picMk id="3" creationId="{8690B48D-9F1F-5D83-74CC-BD62A993F5F2}"/>
          </ac:picMkLst>
        </pc:picChg>
      </pc:sldChg>
      <pc:sldChg chg="addSp delSp modSp mod modAnim">
        <pc:chgData name="Byers, Irina (DI CM&amp;MK ST&amp;B)" userId="c4804133-f4a2-4dfa-aebf-50bcba4f7380" providerId="ADAL" clId="{6D5F49AD-1180-3446-9150-E4337F743C9C}" dt="2024-05-31T19:15:57.927" v="7411" actId="14100"/>
        <pc:sldMkLst>
          <pc:docMk/>
          <pc:sldMk cId="968701388" sldId="2147482079"/>
        </pc:sldMkLst>
        <pc:spChg chg="mod">
          <ac:chgData name="Byers, Irina (DI CM&amp;MK ST&amp;B)" userId="c4804133-f4a2-4dfa-aebf-50bcba4f7380" providerId="ADAL" clId="{6D5F49AD-1180-3446-9150-E4337F743C9C}" dt="2024-05-31T15:41:35.706" v="6114"/>
          <ac:spMkLst>
            <pc:docMk/>
            <pc:sldMk cId="968701388" sldId="2147482079"/>
            <ac:spMk id="2" creationId="{FD70B5AD-CC46-CADE-564E-1F2488FDA385}"/>
          </ac:spMkLst>
        </pc:spChg>
        <pc:spChg chg="mod">
          <ac:chgData name="Byers, Irina (DI CM&amp;MK ST&amp;B)" userId="c4804133-f4a2-4dfa-aebf-50bcba4f7380" providerId="ADAL" clId="{6D5F49AD-1180-3446-9150-E4337F743C9C}" dt="2024-05-31T15:41:35.706" v="6115"/>
          <ac:spMkLst>
            <pc:docMk/>
            <pc:sldMk cId="968701388" sldId="2147482079"/>
            <ac:spMk id="3" creationId="{8493153D-12DB-8942-ACCE-4BE8FC3BBE9C}"/>
          </ac:spMkLst>
        </pc:spChg>
        <pc:spChg chg="add del mod">
          <ac:chgData name="Byers, Irina (DI CM&amp;MK ST&amp;B)" userId="c4804133-f4a2-4dfa-aebf-50bcba4f7380" providerId="ADAL" clId="{6D5F49AD-1180-3446-9150-E4337F743C9C}" dt="2024-05-29T21:59:05.247" v="3627" actId="478"/>
          <ac:spMkLst>
            <pc:docMk/>
            <pc:sldMk cId="968701388" sldId="2147482079"/>
            <ac:spMk id="4" creationId="{2D2E5A43-ED4E-BA05-FDF0-E95ADE3220F3}"/>
          </ac:spMkLst>
        </pc:spChg>
        <pc:spChg chg="mod">
          <ac:chgData name="Byers, Irina (DI CM&amp;MK ST&amp;B)" userId="c4804133-f4a2-4dfa-aebf-50bcba4f7380" providerId="ADAL" clId="{6D5F49AD-1180-3446-9150-E4337F743C9C}" dt="2024-05-31T15:41:35.707" v="6116"/>
          <ac:spMkLst>
            <pc:docMk/>
            <pc:sldMk cId="968701388" sldId="2147482079"/>
            <ac:spMk id="6" creationId="{718AFC48-E9BC-8B0D-E596-EF5D8EF947E7}"/>
          </ac:spMkLst>
        </pc:spChg>
        <pc:spChg chg="mod">
          <ac:chgData name="Byers, Irina (DI CM&amp;MK ST&amp;B)" userId="c4804133-f4a2-4dfa-aebf-50bcba4f7380" providerId="ADAL" clId="{6D5F49AD-1180-3446-9150-E4337F743C9C}" dt="2024-05-31T19:15:30.057" v="7407" actId="207"/>
          <ac:spMkLst>
            <pc:docMk/>
            <pc:sldMk cId="968701388" sldId="2147482079"/>
            <ac:spMk id="7" creationId="{167C98B7-2AAD-045B-A232-72B46A3B940F}"/>
          </ac:spMkLst>
        </pc:spChg>
        <pc:spChg chg="add del mod">
          <ac:chgData name="Byers, Irina (DI CM&amp;MK ST&amp;B)" userId="c4804133-f4a2-4dfa-aebf-50bcba4f7380" providerId="ADAL" clId="{6D5F49AD-1180-3446-9150-E4337F743C9C}" dt="2024-05-29T21:59:05.247" v="3627" actId="478"/>
          <ac:spMkLst>
            <pc:docMk/>
            <pc:sldMk cId="968701388" sldId="2147482079"/>
            <ac:spMk id="8" creationId="{CEAB555E-1C8D-23AA-06D5-4A5A4ADFB50D}"/>
          </ac:spMkLst>
        </pc:spChg>
        <pc:spChg chg="mod">
          <ac:chgData name="Byers, Irina (DI CM&amp;MK ST&amp;B)" userId="c4804133-f4a2-4dfa-aebf-50bcba4f7380" providerId="ADAL" clId="{6D5F49AD-1180-3446-9150-E4337F743C9C}" dt="2024-05-31T19:14:52.825" v="7400" actId="207"/>
          <ac:spMkLst>
            <pc:docMk/>
            <pc:sldMk cId="968701388" sldId="2147482079"/>
            <ac:spMk id="10" creationId="{D905A18F-AC68-3406-EB9D-5A383612271F}"/>
          </ac:spMkLst>
        </pc:spChg>
        <pc:spChg chg="del mod">
          <ac:chgData name="Byers, Irina (DI CM&amp;MK ST&amp;B)" userId="c4804133-f4a2-4dfa-aebf-50bcba4f7380" providerId="ADAL" clId="{6D5F49AD-1180-3446-9150-E4337F743C9C}" dt="2024-05-31T15:43:34.276" v="6200" actId="478"/>
          <ac:spMkLst>
            <pc:docMk/>
            <pc:sldMk cId="968701388" sldId="2147482079"/>
            <ac:spMk id="11" creationId="{12212CB5-2B54-686C-52AA-C1FF9AD1DC70}"/>
          </ac:spMkLst>
        </pc:spChg>
        <pc:spChg chg="del mod">
          <ac:chgData name="Byers, Irina (DI CM&amp;MK ST&amp;B)" userId="c4804133-f4a2-4dfa-aebf-50bcba4f7380" providerId="ADAL" clId="{6D5F49AD-1180-3446-9150-E4337F743C9C}" dt="2024-05-31T15:43:34.276" v="6200" actId="478"/>
          <ac:spMkLst>
            <pc:docMk/>
            <pc:sldMk cId="968701388" sldId="2147482079"/>
            <ac:spMk id="13" creationId="{953366CE-7BB5-EA42-9BAB-B58C4DAC7C71}"/>
          </ac:spMkLst>
        </pc:spChg>
        <pc:spChg chg="del mod">
          <ac:chgData name="Byers, Irina (DI CM&amp;MK ST&amp;B)" userId="c4804133-f4a2-4dfa-aebf-50bcba4f7380" providerId="ADAL" clId="{6D5F49AD-1180-3446-9150-E4337F743C9C}" dt="2024-05-31T15:43:34.276" v="6200" actId="478"/>
          <ac:spMkLst>
            <pc:docMk/>
            <pc:sldMk cId="968701388" sldId="2147482079"/>
            <ac:spMk id="14" creationId="{1ABB9009-D161-10DE-9F07-685AEA22E12A}"/>
          </ac:spMkLst>
        </pc:spChg>
        <pc:spChg chg="del mod">
          <ac:chgData name="Byers, Irina (DI CM&amp;MK ST&amp;B)" userId="c4804133-f4a2-4dfa-aebf-50bcba4f7380" providerId="ADAL" clId="{6D5F49AD-1180-3446-9150-E4337F743C9C}" dt="2024-05-31T15:43:34.276" v="6200" actId="478"/>
          <ac:spMkLst>
            <pc:docMk/>
            <pc:sldMk cId="968701388" sldId="2147482079"/>
            <ac:spMk id="15" creationId="{A0D6142A-8BE1-6815-3E60-C39D005B6B21}"/>
          </ac:spMkLst>
        </pc:spChg>
        <pc:spChg chg="add del mod">
          <ac:chgData name="Byers, Irina (DI CM&amp;MK ST&amp;B)" userId="c4804133-f4a2-4dfa-aebf-50bcba4f7380" providerId="ADAL" clId="{6D5F49AD-1180-3446-9150-E4337F743C9C}" dt="2024-05-29T21:59:05.247" v="3627" actId="478"/>
          <ac:spMkLst>
            <pc:docMk/>
            <pc:sldMk cId="968701388" sldId="2147482079"/>
            <ac:spMk id="17" creationId="{26DF38A2-81D5-6602-574E-2EF771423105}"/>
          </ac:spMkLst>
        </pc:spChg>
        <pc:spChg chg="add del mod">
          <ac:chgData name="Byers, Irina (DI CM&amp;MK ST&amp;B)" userId="c4804133-f4a2-4dfa-aebf-50bcba4f7380" providerId="ADAL" clId="{6D5F49AD-1180-3446-9150-E4337F743C9C}" dt="2024-05-29T21:59:05.247" v="3627" actId="478"/>
          <ac:spMkLst>
            <pc:docMk/>
            <pc:sldMk cId="968701388" sldId="2147482079"/>
            <ac:spMk id="18" creationId="{978E4E10-CADC-24CA-27A3-A4CE692A2FF6}"/>
          </ac:spMkLst>
        </pc:spChg>
        <pc:spChg chg="add del mod modVis">
          <ac:chgData name="Byers, Irina (DI CM&amp;MK ST&amp;B)" userId="c4804133-f4a2-4dfa-aebf-50bcba4f7380" providerId="ADAL" clId="{6D5F49AD-1180-3446-9150-E4337F743C9C}" dt="2024-05-29T21:57:46.381" v="3577"/>
          <ac:spMkLst>
            <pc:docMk/>
            <pc:sldMk cId="968701388" sldId="2147482079"/>
            <ac:spMk id="19" creationId="{9808FFB6-0978-F6EC-9354-0395F2132FE8}"/>
          </ac:spMkLst>
        </pc:spChg>
        <pc:spChg chg="add mod">
          <ac:chgData name="Byers, Irina (DI CM&amp;MK ST&amp;B)" userId="c4804133-f4a2-4dfa-aebf-50bcba4f7380" providerId="ADAL" clId="{6D5F49AD-1180-3446-9150-E4337F743C9C}" dt="2024-05-31T15:41:35.709" v="6122"/>
          <ac:spMkLst>
            <pc:docMk/>
            <pc:sldMk cId="968701388" sldId="2147482079"/>
            <ac:spMk id="22" creationId="{E25F7033-6691-8256-75AB-D8D8DB6AA3AE}"/>
          </ac:spMkLst>
        </pc:spChg>
        <pc:spChg chg="add mod">
          <ac:chgData name="Byers, Irina (DI CM&amp;MK ST&amp;B)" userId="c4804133-f4a2-4dfa-aebf-50bcba4f7380" providerId="ADAL" clId="{6D5F49AD-1180-3446-9150-E4337F743C9C}" dt="2024-05-30T15:37:57.365" v="3865" actId="571"/>
          <ac:spMkLst>
            <pc:docMk/>
            <pc:sldMk cId="968701388" sldId="2147482079"/>
            <ac:spMk id="23" creationId="{8F36EFFD-4DF4-D251-5A9B-D373ED2E0561}"/>
          </ac:spMkLst>
        </pc:spChg>
        <pc:spChg chg="add mod">
          <ac:chgData name="Byers, Irina (DI CM&amp;MK ST&amp;B)" userId="c4804133-f4a2-4dfa-aebf-50bcba4f7380" providerId="ADAL" clId="{6D5F49AD-1180-3446-9150-E4337F743C9C}" dt="2024-05-30T15:37:57.095" v="3864" actId="571"/>
          <ac:spMkLst>
            <pc:docMk/>
            <pc:sldMk cId="968701388" sldId="2147482079"/>
            <ac:spMk id="24" creationId="{17A69B19-B440-605B-ED63-F28F70A424EE}"/>
          </ac:spMkLst>
        </pc:spChg>
        <pc:spChg chg="add mod">
          <ac:chgData name="Byers, Irina (DI CM&amp;MK ST&amp;B)" userId="c4804133-f4a2-4dfa-aebf-50bcba4f7380" providerId="ADAL" clId="{6D5F49AD-1180-3446-9150-E4337F743C9C}" dt="2024-05-30T15:37:56.889" v="3863" actId="571"/>
          <ac:spMkLst>
            <pc:docMk/>
            <pc:sldMk cId="968701388" sldId="2147482079"/>
            <ac:spMk id="25" creationId="{86E86DAA-99B9-1693-05ED-FDAFFCBF4889}"/>
          </ac:spMkLst>
        </pc:spChg>
        <pc:spChg chg="add mod">
          <ac:chgData name="Byers, Irina (DI CM&amp;MK ST&amp;B)" userId="c4804133-f4a2-4dfa-aebf-50bcba4f7380" providerId="ADAL" clId="{6D5F49AD-1180-3446-9150-E4337F743C9C}" dt="2024-05-31T19:15:57.120" v="7410" actId="14100"/>
          <ac:spMkLst>
            <pc:docMk/>
            <pc:sldMk cId="968701388" sldId="2147482079"/>
            <ac:spMk id="29" creationId="{F7716693-5FEF-C05F-8CE1-5FCF2F8990E0}"/>
          </ac:spMkLst>
        </pc:spChg>
        <pc:spChg chg="add del mod">
          <ac:chgData name="Byers, Irina (DI CM&amp;MK ST&amp;B)" userId="c4804133-f4a2-4dfa-aebf-50bcba4f7380" providerId="ADAL" clId="{6D5F49AD-1180-3446-9150-E4337F743C9C}" dt="2024-05-31T15:38:45.213" v="6027" actId="478"/>
          <ac:spMkLst>
            <pc:docMk/>
            <pc:sldMk cId="968701388" sldId="2147482079"/>
            <ac:spMk id="30" creationId="{E44C23F1-4D2C-A8C6-07D0-3B0DCA6BF9AD}"/>
          </ac:spMkLst>
        </pc:spChg>
        <pc:spChg chg="add del mod">
          <ac:chgData name="Byers, Irina (DI CM&amp;MK ST&amp;B)" userId="c4804133-f4a2-4dfa-aebf-50bcba4f7380" providerId="ADAL" clId="{6D5F49AD-1180-3446-9150-E4337F743C9C}" dt="2024-05-31T15:40:08.134" v="6079" actId="478"/>
          <ac:spMkLst>
            <pc:docMk/>
            <pc:sldMk cId="968701388" sldId="2147482079"/>
            <ac:spMk id="35" creationId="{B25DC9C9-A8DC-7B85-A493-A9EA1CD7B53A}"/>
          </ac:spMkLst>
        </pc:spChg>
        <pc:spChg chg="add mod">
          <ac:chgData name="Byers, Irina (DI CM&amp;MK ST&amp;B)" userId="c4804133-f4a2-4dfa-aebf-50bcba4f7380" providerId="ADAL" clId="{6D5F49AD-1180-3446-9150-E4337F743C9C}" dt="2024-05-31T19:15:57.927" v="7411" actId="14100"/>
          <ac:spMkLst>
            <pc:docMk/>
            <pc:sldMk cId="968701388" sldId="2147482079"/>
            <ac:spMk id="36" creationId="{0D0F402B-2FBD-5D8B-29A2-3ECF6F33512E}"/>
          </ac:spMkLst>
        </pc:spChg>
        <pc:spChg chg="add del mod">
          <ac:chgData name="Byers, Irina (DI CM&amp;MK ST&amp;B)" userId="c4804133-f4a2-4dfa-aebf-50bcba4f7380" providerId="ADAL" clId="{6D5F49AD-1180-3446-9150-E4337F743C9C}" dt="2024-05-31T15:46:09.932" v="6210" actId="478"/>
          <ac:spMkLst>
            <pc:docMk/>
            <pc:sldMk cId="968701388" sldId="2147482079"/>
            <ac:spMk id="37" creationId="{0F473139-255E-4080-8DF2-3A2C41D142E7}"/>
          </ac:spMkLst>
        </pc:spChg>
        <pc:spChg chg="add mod">
          <ac:chgData name="Byers, Irina (DI CM&amp;MK ST&amp;B)" userId="c4804133-f4a2-4dfa-aebf-50bcba4f7380" providerId="ADAL" clId="{6D5F49AD-1180-3446-9150-E4337F743C9C}" dt="2024-05-31T19:15:18.190" v="7406" actId="207"/>
          <ac:spMkLst>
            <pc:docMk/>
            <pc:sldMk cId="968701388" sldId="2147482079"/>
            <ac:spMk id="38" creationId="{3238EEBD-6E46-33DF-9403-3C2A228211E5}"/>
          </ac:spMkLst>
        </pc:spChg>
        <pc:grpChg chg="del mod">
          <ac:chgData name="Byers, Irina (DI CM&amp;MK ST&amp;B)" userId="c4804133-f4a2-4dfa-aebf-50bcba4f7380" providerId="ADAL" clId="{6D5F49AD-1180-3446-9150-E4337F743C9C}" dt="2024-05-31T15:38:41.486" v="6026" actId="478"/>
          <ac:grpSpMkLst>
            <pc:docMk/>
            <pc:sldMk cId="968701388" sldId="2147482079"/>
            <ac:grpSpMk id="39" creationId="{5D66F65D-644A-4145-E855-39023F2E741F}"/>
          </ac:grpSpMkLst>
        </pc:grpChg>
        <pc:graphicFrameChg chg="mod">
          <ac:chgData name="Byers, Irina (DI CM&amp;MK ST&amp;B)" userId="c4804133-f4a2-4dfa-aebf-50bcba4f7380" providerId="ADAL" clId="{6D5F49AD-1180-3446-9150-E4337F743C9C}" dt="2024-05-31T15:41:35.718" v="6129"/>
          <ac:graphicFrameMkLst>
            <pc:docMk/>
            <pc:sldMk cId="968701388" sldId="2147482079"/>
            <ac:graphicFrameMk id="5" creationId="{274DBC4A-680F-F609-666F-DA0593EBB732}"/>
          </ac:graphicFrameMkLst>
        </pc:graphicFrameChg>
        <pc:picChg chg="add del mod">
          <ac:chgData name="Byers, Irina (DI CM&amp;MK ST&amp;B)" userId="c4804133-f4a2-4dfa-aebf-50bcba4f7380" providerId="ADAL" clId="{6D5F49AD-1180-3446-9150-E4337F743C9C}" dt="2024-05-31T15:28:48.531" v="5959" actId="1076"/>
          <ac:picMkLst>
            <pc:docMk/>
            <pc:sldMk cId="968701388" sldId="2147482079"/>
            <ac:picMk id="9" creationId="{9CCE2DFA-A5DA-F623-C223-2F1520678330}"/>
          </ac:picMkLst>
        </pc:picChg>
        <pc:picChg chg="add del mod">
          <ac:chgData name="Byers, Irina (DI CM&amp;MK ST&amp;B)" userId="c4804133-f4a2-4dfa-aebf-50bcba4f7380" providerId="ADAL" clId="{6D5F49AD-1180-3446-9150-E4337F743C9C}" dt="2024-05-31T15:33:34.484" v="5968" actId="478"/>
          <ac:picMkLst>
            <pc:docMk/>
            <pc:sldMk cId="968701388" sldId="2147482079"/>
            <ac:picMk id="32" creationId="{F0A29B37-60A6-E628-E938-9789C6A5AC89}"/>
          </ac:picMkLst>
        </pc:picChg>
        <pc:picChg chg="add mod modCrop">
          <ac:chgData name="Byers, Irina (DI CM&amp;MK ST&amp;B)" userId="c4804133-f4a2-4dfa-aebf-50bcba4f7380" providerId="ADAL" clId="{6D5F49AD-1180-3446-9150-E4337F743C9C}" dt="2024-05-31T19:05:10.934" v="7386" actId="12789"/>
          <ac:picMkLst>
            <pc:docMk/>
            <pc:sldMk cId="968701388" sldId="2147482079"/>
            <ac:picMk id="34" creationId="{67856980-FB83-697B-9D45-4692EC0E5756}"/>
          </ac:picMkLst>
        </pc:picChg>
        <pc:picChg chg="add mod">
          <ac:chgData name="Byers, Irina (DI CM&amp;MK ST&amp;B)" userId="c4804133-f4a2-4dfa-aebf-50bcba4f7380" providerId="ADAL" clId="{6D5F49AD-1180-3446-9150-E4337F743C9C}" dt="2024-05-31T15:48:17.674" v="6230"/>
          <ac:picMkLst>
            <pc:docMk/>
            <pc:sldMk cId="968701388" sldId="2147482079"/>
            <ac:picMk id="40" creationId="{B58488DC-1887-0DDB-3BEB-3CD0372A4E99}"/>
          </ac:picMkLst>
        </pc:picChg>
        <pc:cxnChg chg="add del mod">
          <ac:chgData name="Byers, Irina (DI CM&amp;MK ST&amp;B)" userId="c4804133-f4a2-4dfa-aebf-50bcba4f7380" providerId="ADAL" clId="{6D5F49AD-1180-3446-9150-E4337F743C9C}" dt="2024-05-29T22:00:48.732" v="3649" actId="478"/>
          <ac:cxnSpMkLst>
            <pc:docMk/>
            <pc:sldMk cId="968701388" sldId="2147482079"/>
            <ac:cxnSpMk id="21" creationId="{2DB32319-E66D-CCB6-EE2C-86CA1ED8E808}"/>
          </ac:cxnSpMkLst>
        </pc:cxnChg>
        <pc:cxnChg chg="add del">
          <ac:chgData name="Byers, Irina (DI CM&amp;MK ST&amp;B)" userId="c4804133-f4a2-4dfa-aebf-50bcba4f7380" providerId="ADAL" clId="{6D5F49AD-1180-3446-9150-E4337F743C9C}" dt="2024-05-31T19:06:14.855" v="7390" actId="478"/>
          <ac:cxnSpMkLst>
            <pc:docMk/>
            <pc:sldMk cId="968701388" sldId="2147482079"/>
            <ac:cxnSpMk id="42" creationId="{66819F2B-F733-EA03-F214-02AC90476EB6}"/>
          </ac:cxnSpMkLst>
        </pc:cxnChg>
      </pc:sldChg>
      <pc:sldChg chg="modSp mod ord modShow">
        <pc:chgData name="Byers, Irina (DI CM&amp;MK ST&amp;B)" userId="c4804133-f4a2-4dfa-aebf-50bcba4f7380" providerId="ADAL" clId="{6D5F49AD-1180-3446-9150-E4337F743C9C}" dt="2024-05-29T22:05:45.909" v="3672" actId="729"/>
        <pc:sldMkLst>
          <pc:docMk/>
          <pc:sldMk cId="3405905672" sldId="2147483269"/>
        </pc:sldMkLst>
        <pc:spChg chg="mod">
          <ac:chgData name="Byers, Irina (DI CM&amp;MK ST&amp;B)" userId="c4804133-f4a2-4dfa-aebf-50bcba4f7380" providerId="ADAL" clId="{6D5F49AD-1180-3446-9150-E4337F743C9C}" dt="2024-05-29T21:50:08.929" v="3453" actId="1076"/>
          <ac:spMkLst>
            <pc:docMk/>
            <pc:sldMk cId="3405905672" sldId="2147483269"/>
            <ac:spMk id="9" creationId="{1192559B-7EB7-469A-BC41-8FE2AC9E39F4}"/>
          </ac:spMkLst>
        </pc:spChg>
        <pc:spChg chg="mod">
          <ac:chgData name="Byers, Irina (DI CM&amp;MK ST&amp;B)" userId="c4804133-f4a2-4dfa-aebf-50bcba4f7380" providerId="ADAL" clId="{6D5F49AD-1180-3446-9150-E4337F743C9C}" dt="2024-05-29T21:50:14.690" v="3454" actId="1076"/>
          <ac:spMkLst>
            <pc:docMk/>
            <pc:sldMk cId="3405905672" sldId="2147483269"/>
            <ac:spMk id="11" creationId="{C3B9B201-59F3-FE8D-8AFA-460A03B6677F}"/>
          </ac:spMkLst>
        </pc:spChg>
        <pc:picChg chg="mod">
          <ac:chgData name="Byers, Irina (DI CM&amp;MK ST&amp;B)" userId="c4804133-f4a2-4dfa-aebf-50bcba4f7380" providerId="ADAL" clId="{6D5F49AD-1180-3446-9150-E4337F743C9C}" dt="2024-05-29T21:50:03.102" v="3452" actId="408"/>
          <ac:picMkLst>
            <pc:docMk/>
            <pc:sldMk cId="3405905672" sldId="2147483269"/>
            <ac:picMk id="6" creationId="{27426BD8-B295-992F-A173-E4C4C4E49AE5}"/>
          </ac:picMkLst>
        </pc:picChg>
        <pc:picChg chg="mod">
          <ac:chgData name="Byers, Irina (DI CM&amp;MK ST&amp;B)" userId="c4804133-f4a2-4dfa-aebf-50bcba4f7380" providerId="ADAL" clId="{6D5F49AD-1180-3446-9150-E4337F743C9C}" dt="2024-05-29T21:50:03.102" v="3452" actId="408"/>
          <ac:picMkLst>
            <pc:docMk/>
            <pc:sldMk cId="3405905672" sldId="2147483269"/>
            <ac:picMk id="12" creationId="{BC34D8E6-4CA4-76B0-FB22-3CDD3E9BF52A}"/>
          </ac:picMkLst>
        </pc:picChg>
        <pc:picChg chg="mod">
          <ac:chgData name="Byers, Irina (DI CM&amp;MK ST&amp;B)" userId="c4804133-f4a2-4dfa-aebf-50bcba4f7380" providerId="ADAL" clId="{6D5F49AD-1180-3446-9150-E4337F743C9C}" dt="2024-05-29T21:50:03.102" v="3452" actId="408"/>
          <ac:picMkLst>
            <pc:docMk/>
            <pc:sldMk cId="3405905672" sldId="2147483269"/>
            <ac:picMk id="1026" creationId="{D178D830-67CC-D8A2-9E0D-C6749B0D7BEF}"/>
          </ac:picMkLst>
        </pc:picChg>
      </pc:sldChg>
      <pc:sldChg chg="modSp mod">
        <pc:chgData name="Byers, Irina (DI CM&amp;MK ST&amp;B)" userId="c4804133-f4a2-4dfa-aebf-50bcba4f7380" providerId="ADAL" clId="{6D5F49AD-1180-3446-9150-E4337F743C9C}" dt="2024-05-30T17:52:28.011" v="5726" actId="1076"/>
        <pc:sldMkLst>
          <pc:docMk/>
          <pc:sldMk cId="743801589" sldId="2147483452"/>
        </pc:sldMkLst>
        <pc:picChg chg="mod">
          <ac:chgData name="Byers, Irina (DI CM&amp;MK ST&amp;B)" userId="c4804133-f4a2-4dfa-aebf-50bcba4f7380" providerId="ADAL" clId="{6D5F49AD-1180-3446-9150-E4337F743C9C}" dt="2024-05-30T17:52:28.011" v="5726" actId="1076"/>
          <ac:picMkLst>
            <pc:docMk/>
            <pc:sldMk cId="743801589" sldId="2147483452"/>
            <ac:picMk id="6" creationId="{D2B59DA0-B654-F49C-5043-5E7B8B11F190}"/>
          </ac:picMkLst>
        </pc:picChg>
      </pc:sldChg>
      <pc:sldChg chg="modSp mod">
        <pc:chgData name="Byers, Irina (DI CM&amp;MK ST&amp;B)" userId="c4804133-f4a2-4dfa-aebf-50bcba4f7380" providerId="ADAL" clId="{6D5F49AD-1180-3446-9150-E4337F743C9C}" dt="2024-05-29T20:04:00.874" v="168" actId="1076"/>
        <pc:sldMkLst>
          <pc:docMk/>
          <pc:sldMk cId="2204945138" sldId="2147483454"/>
        </pc:sldMkLst>
        <pc:spChg chg="mod">
          <ac:chgData name="Byers, Irina (DI CM&amp;MK ST&amp;B)" userId="c4804133-f4a2-4dfa-aebf-50bcba4f7380" providerId="ADAL" clId="{6D5F49AD-1180-3446-9150-E4337F743C9C}" dt="2024-05-29T20:04:00.874" v="168" actId="1076"/>
          <ac:spMkLst>
            <pc:docMk/>
            <pc:sldMk cId="2204945138" sldId="2147483454"/>
            <ac:spMk id="9" creationId="{D171D147-EABA-5B4D-C05E-F31ABB4F2807}"/>
          </ac:spMkLst>
        </pc:spChg>
      </pc:sldChg>
      <pc:sldChg chg="addSp modSp">
        <pc:chgData name="Byers, Irina (DI CM&amp;MK ST&amp;B)" userId="c4804133-f4a2-4dfa-aebf-50bcba4f7380" providerId="ADAL" clId="{6D5F49AD-1180-3446-9150-E4337F743C9C}" dt="2024-05-29T21:29:28.022" v="2944"/>
        <pc:sldMkLst>
          <pc:docMk/>
          <pc:sldMk cId="3125289050" sldId="2147483457"/>
        </pc:sldMkLst>
        <pc:spChg chg="add mod">
          <ac:chgData name="Byers, Irina (DI CM&amp;MK ST&amp;B)" userId="c4804133-f4a2-4dfa-aebf-50bcba4f7380" providerId="ADAL" clId="{6D5F49AD-1180-3446-9150-E4337F743C9C}" dt="2024-05-29T21:29:28.022" v="2944"/>
          <ac:spMkLst>
            <pc:docMk/>
            <pc:sldMk cId="3125289050" sldId="2147483457"/>
            <ac:spMk id="6" creationId="{A73CF016-C63E-6064-DD26-EC9111898637}"/>
          </ac:spMkLst>
        </pc:spChg>
      </pc:sldChg>
      <pc:sldChg chg="addSp delSp modSp del mod">
        <pc:chgData name="Byers, Irina (DI CM&amp;MK ST&amp;B)" userId="c4804133-f4a2-4dfa-aebf-50bcba4f7380" providerId="ADAL" clId="{6D5F49AD-1180-3446-9150-E4337F743C9C}" dt="2024-05-31T15:48:46.104" v="6232" actId="2696"/>
        <pc:sldMkLst>
          <pc:docMk/>
          <pc:sldMk cId="384845413" sldId="2147483458"/>
        </pc:sldMkLst>
        <pc:spChg chg="del mod">
          <ac:chgData name="Byers, Irina (DI CM&amp;MK ST&amp;B)" userId="c4804133-f4a2-4dfa-aebf-50bcba4f7380" providerId="ADAL" clId="{6D5F49AD-1180-3446-9150-E4337F743C9C}" dt="2024-05-30T16:28:24.555" v="5564" actId="478"/>
          <ac:spMkLst>
            <pc:docMk/>
            <pc:sldMk cId="384845413" sldId="2147483458"/>
            <ac:spMk id="2" creationId="{08AE8BB8-70A8-E057-F5D5-9A5B855E9637}"/>
          </ac:spMkLst>
        </pc:spChg>
        <pc:spChg chg="del mod">
          <ac:chgData name="Byers, Irina (DI CM&amp;MK ST&amp;B)" userId="c4804133-f4a2-4dfa-aebf-50bcba4f7380" providerId="ADAL" clId="{6D5F49AD-1180-3446-9150-E4337F743C9C}" dt="2024-05-30T17:49:29.120" v="5701" actId="478"/>
          <ac:spMkLst>
            <pc:docMk/>
            <pc:sldMk cId="384845413" sldId="2147483458"/>
            <ac:spMk id="3" creationId="{9BADCCA8-1EA3-882A-D11D-7207B6F7FBAA}"/>
          </ac:spMkLst>
        </pc:spChg>
        <pc:spChg chg="mod">
          <ac:chgData name="Byers, Irina (DI CM&amp;MK ST&amp;B)" userId="c4804133-f4a2-4dfa-aebf-50bcba4f7380" providerId="ADAL" clId="{6D5F49AD-1180-3446-9150-E4337F743C9C}" dt="2024-05-30T17:42:04.446" v="5604" actId="1038"/>
          <ac:spMkLst>
            <pc:docMk/>
            <pc:sldMk cId="384845413" sldId="2147483458"/>
            <ac:spMk id="4" creationId="{CAE6E98C-1E51-D524-41AE-BD8E45D9F738}"/>
          </ac:spMkLst>
        </pc:spChg>
        <pc:spChg chg="del mod">
          <ac:chgData name="Byers, Irina (DI CM&amp;MK ST&amp;B)" userId="c4804133-f4a2-4dfa-aebf-50bcba4f7380" providerId="ADAL" clId="{6D5F49AD-1180-3446-9150-E4337F743C9C}" dt="2024-05-30T16:28:12.628" v="5562" actId="478"/>
          <ac:spMkLst>
            <pc:docMk/>
            <pc:sldMk cId="384845413" sldId="2147483458"/>
            <ac:spMk id="5" creationId="{74CF0812-8C21-954A-8F01-77B2EAB4EBF3}"/>
          </ac:spMkLst>
        </pc:spChg>
        <pc:spChg chg="mod">
          <ac:chgData name="Byers, Irina (DI CM&amp;MK ST&amp;B)" userId="c4804133-f4a2-4dfa-aebf-50bcba4f7380" providerId="ADAL" clId="{6D5F49AD-1180-3446-9150-E4337F743C9C}" dt="2024-05-30T15:56:19.291" v="4951" actId="948"/>
          <ac:spMkLst>
            <pc:docMk/>
            <pc:sldMk cId="384845413" sldId="2147483458"/>
            <ac:spMk id="6" creationId="{B000B6E3-593E-1F66-794D-214111F01C46}"/>
          </ac:spMkLst>
        </pc:spChg>
        <pc:spChg chg="add del">
          <ac:chgData name="Byers, Irina (DI CM&amp;MK ST&amp;B)" userId="c4804133-f4a2-4dfa-aebf-50bcba4f7380" providerId="ADAL" clId="{6D5F49AD-1180-3446-9150-E4337F743C9C}" dt="2024-05-30T15:42:58.709" v="4421" actId="478"/>
          <ac:spMkLst>
            <pc:docMk/>
            <pc:sldMk cId="384845413" sldId="2147483458"/>
            <ac:spMk id="7" creationId="{288FE45C-E2CE-9058-81B8-353A6B9DAABC}"/>
          </ac:spMkLst>
        </pc:spChg>
        <pc:spChg chg="del mod">
          <ac:chgData name="Byers, Irina (DI CM&amp;MK ST&amp;B)" userId="c4804133-f4a2-4dfa-aebf-50bcba4f7380" providerId="ADAL" clId="{6D5F49AD-1180-3446-9150-E4337F743C9C}" dt="2024-05-30T16:28:08.142" v="5561" actId="478"/>
          <ac:spMkLst>
            <pc:docMk/>
            <pc:sldMk cId="384845413" sldId="2147483458"/>
            <ac:spMk id="8" creationId="{098C549B-2562-E66F-C1BC-5E3965D82A66}"/>
          </ac:spMkLst>
        </pc:spChg>
        <pc:spChg chg="add del mod">
          <ac:chgData name="Byers, Irina (DI CM&amp;MK ST&amp;B)" userId="c4804133-f4a2-4dfa-aebf-50bcba4f7380" providerId="ADAL" clId="{6D5F49AD-1180-3446-9150-E4337F743C9C}" dt="2024-05-30T16:05:04.775" v="5070" actId="478"/>
          <ac:spMkLst>
            <pc:docMk/>
            <pc:sldMk cId="384845413" sldId="2147483458"/>
            <ac:spMk id="9" creationId="{EB90DDED-F11D-D03D-E5DF-4147EC654671}"/>
          </ac:spMkLst>
        </pc:spChg>
        <pc:spChg chg="add del mod">
          <ac:chgData name="Byers, Irina (DI CM&amp;MK ST&amp;B)" userId="c4804133-f4a2-4dfa-aebf-50bcba4f7380" providerId="ADAL" clId="{6D5F49AD-1180-3446-9150-E4337F743C9C}" dt="2024-05-30T16:28:28.827" v="5566" actId="478"/>
          <ac:spMkLst>
            <pc:docMk/>
            <pc:sldMk cId="384845413" sldId="2147483458"/>
            <ac:spMk id="11" creationId="{54BE6B2E-FCBE-1406-C73B-559170E83172}"/>
          </ac:spMkLst>
        </pc:spChg>
        <pc:spChg chg="del mod">
          <ac:chgData name="Byers, Irina (DI CM&amp;MK ST&amp;B)" userId="c4804133-f4a2-4dfa-aebf-50bcba4f7380" providerId="ADAL" clId="{6D5F49AD-1180-3446-9150-E4337F743C9C}" dt="2024-05-30T15:43:14.730" v="4425" actId="478"/>
          <ac:spMkLst>
            <pc:docMk/>
            <pc:sldMk cId="384845413" sldId="2147483458"/>
            <ac:spMk id="13" creationId="{9FF9F59D-CFA6-5E19-6E8E-E1F4287B1028}"/>
          </ac:spMkLst>
        </pc:spChg>
        <pc:spChg chg="add del mod">
          <ac:chgData name="Byers, Irina (DI CM&amp;MK ST&amp;B)" userId="c4804133-f4a2-4dfa-aebf-50bcba4f7380" providerId="ADAL" clId="{6D5F49AD-1180-3446-9150-E4337F743C9C}" dt="2024-05-30T15:42:54.852" v="4420" actId="478"/>
          <ac:spMkLst>
            <pc:docMk/>
            <pc:sldMk cId="384845413" sldId="2147483458"/>
            <ac:spMk id="16" creationId="{38880B12-7A33-C5A9-5312-4A3C29CC583A}"/>
          </ac:spMkLst>
        </pc:spChg>
        <pc:spChg chg="add del mod modVis">
          <ac:chgData name="Byers, Irina (DI CM&amp;MK ST&amp;B)" userId="c4804133-f4a2-4dfa-aebf-50bcba4f7380" providerId="ADAL" clId="{6D5F49AD-1180-3446-9150-E4337F743C9C}" dt="2024-05-30T15:42:53.934" v="4413" actId="962"/>
          <ac:spMkLst>
            <pc:docMk/>
            <pc:sldMk cId="384845413" sldId="2147483458"/>
            <ac:spMk id="17" creationId="{0E030A9B-BA5C-3E81-83FA-5D5692AFB0E5}"/>
          </ac:spMkLst>
        </pc:spChg>
        <pc:spChg chg="add del mod modVis">
          <ac:chgData name="Byers, Irina (DI CM&amp;MK ST&amp;B)" userId="c4804133-f4a2-4dfa-aebf-50bcba4f7380" providerId="ADAL" clId="{6D5F49AD-1180-3446-9150-E4337F743C9C}" dt="2024-05-30T15:42:53.808" v="4386" actId="962"/>
          <ac:spMkLst>
            <pc:docMk/>
            <pc:sldMk cId="384845413" sldId="2147483458"/>
            <ac:spMk id="18" creationId="{CA233AFD-BCE5-356C-00D1-B9861105AF72}"/>
          </ac:spMkLst>
        </pc:spChg>
        <pc:spChg chg="add del mod">
          <ac:chgData name="Byers, Irina (DI CM&amp;MK ST&amp;B)" userId="c4804133-f4a2-4dfa-aebf-50bcba4f7380" providerId="ADAL" clId="{6D5F49AD-1180-3446-9150-E4337F743C9C}" dt="2024-05-30T15:43:04.562" v="4422" actId="478"/>
          <ac:spMkLst>
            <pc:docMk/>
            <pc:sldMk cId="384845413" sldId="2147483458"/>
            <ac:spMk id="20" creationId="{728CB352-8D31-BD66-6269-05881A408D16}"/>
          </ac:spMkLst>
        </pc:spChg>
        <pc:spChg chg="add mod">
          <ac:chgData name="Byers, Irina (DI CM&amp;MK ST&amp;B)" userId="c4804133-f4a2-4dfa-aebf-50bcba4f7380" providerId="ADAL" clId="{6D5F49AD-1180-3446-9150-E4337F743C9C}" dt="2024-05-30T15:55:17.525" v="4818"/>
          <ac:spMkLst>
            <pc:docMk/>
            <pc:sldMk cId="384845413" sldId="2147483458"/>
            <ac:spMk id="21" creationId="{55D0B927-9D5C-C5EA-442A-12735BE28F08}"/>
          </ac:spMkLst>
        </pc:spChg>
        <pc:spChg chg="add del mod modVis">
          <ac:chgData name="Byers, Irina (DI CM&amp;MK ST&amp;B)" userId="c4804133-f4a2-4dfa-aebf-50bcba4f7380" providerId="ADAL" clId="{6D5F49AD-1180-3446-9150-E4337F743C9C}" dt="2024-05-30T15:43:55.044" v="4671"/>
          <ac:spMkLst>
            <pc:docMk/>
            <pc:sldMk cId="384845413" sldId="2147483458"/>
            <ac:spMk id="22" creationId="{EEB3360C-0CA7-E2FE-5639-62710307EB83}"/>
          </ac:spMkLst>
        </pc:spChg>
        <pc:spChg chg="add del mod modVis">
          <ac:chgData name="Byers, Irina (DI CM&amp;MK ST&amp;B)" userId="c4804133-f4a2-4dfa-aebf-50bcba4f7380" providerId="ADAL" clId="{6D5F49AD-1180-3446-9150-E4337F743C9C}" dt="2024-05-30T15:44:07.827" v="4715"/>
          <ac:spMkLst>
            <pc:docMk/>
            <pc:sldMk cId="384845413" sldId="2147483458"/>
            <ac:spMk id="23" creationId="{C2C22D0F-4144-7A55-C457-A1D8B17C8CE8}"/>
          </ac:spMkLst>
        </pc:spChg>
        <pc:spChg chg="add del mod modVis">
          <ac:chgData name="Byers, Irina (DI CM&amp;MK ST&amp;B)" userId="c4804133-f4a2-4dfa-aebf-50bcba4f7380" providerId="ADAL" clId="{6D5F49AD-1180-3446-9150-E4337F743C9C}" dt="2024-05-30T15:44:27.298" v="4744"/>
          <ac:spMkLst>
            <pc:docMk/>
            <pc:sldMk cId="384845413" sldId="2147483458"/>
            <ac:spMk id="24" creationId="{73CF2F40-3264-A860-B489-247ADD0DB238}"/>
          </ac:spMkLst>
        </pc:spChg>
        <pc:spChg chg="add del mod modVis">
          <ac:chgData name="Byers, Irina (DI CM&amp;MK ST&amp;B)" userId="c4804133-f4a2-4dfa-aebf-50bcba4f7380" providerId="ADAL" clId="{6D5F49AD-1180-3446-9150-E4337F743C9C}" dt="2024-05-30T15:44:30.138" v="4772"/>
          <ac:spMkLst>
            <pc:docMk/>
            <pc:sldMk cId="384845413" sldId="2147483458"/>
            <ac:spMk id="25" creationId="{CD4EB35E-A095-10C1-2291-C9781495F4D8}"/>
          </ac:spMkLst>
        </pc:spChg>
        <pc:spChg chg="add del mod modVis">
          <ac:chgData name="Byers, Irina (DI CM&amp;MK ST&amp;B)" userId="c4804133-f4a2-4dfa-aebf-50bcba4f7380" providerId="ADAL" clId="{6D5F49AD-1180-3446-9150-E4337F743C9C}" dt="2024-05-30T15:44:55.527" v="4801"/>
          <ac:spMkLst>
            <pc:docMk/>
            <pc:sldMk cId="384845413" sldId="2147483458"/>
            <ac:spMk id="26" creationId="{AF42B18B-7E34-1921-BA2A-7BEAA888DEB0}"/>
          </ac:spMkLst>
        </pc:spChg>
        <pc:spChg chg="add del mod modVis">
          <ac:chgData name="Byers, Irina (DI CM&amp;MK ST&amp;B)" userId="c4804133-f4a2-4dfa-aebf-50bcba4f7380" providerId="ADAL" clId="{6D5F49AD-1180-3446-9150-E4337F743C9C}" dt="2024-05-30T15:55:38.294" v="4859"/>
          <ac:spMkLst>
            <pc:docMk/>
            <pc:sldMk cId="384845413" sldId="2147483458"/>
            <ac:spMk id="27" creationId="{4D96C388-7206-5515-A889-F1116B3E0153}"/>
          </ac:spMkLst>
        </pc:spChg>
        <pc:spChg chg="add del mod modVis">
          <ac:chgData name="Byers, Irina (DI CM&amp;MK ST&amp;B)" userId="c4804133-f4a2-4dfa-aebf-50bcba4f7380" providerId="ADAL" clId="{6D5F49AD-1180-3446-9150-E4337F743C9C}" dt="2024-05-30T15:56:00.060" v="4891"/>
          <ac:spMkLst>
            <pc:docMk/>
            <pc:sldMk cId="384845413" sldId="2147483458"/>
            <ac:spMk id="28" creationId="{1EED6D44-6EC0-47F8-3A56-65D6EC197730}"/>
          </ac:spMkLst>
        </pc:spChg>
        <pc:spChg chg="add del mod modVis">
          <ac:chgData name="Byers, Irina (DI CM&amp;MK ST&amp;B)" userId="c4804133-f4a2-4dfa-aebf-50bcba4f7380" providerId="ADAL" clId="{6D5F49AD-1180-3446-9150-E4337F743C9C}" dt="2024-05-30T15:56:09.804" v="4919"/>
          <ac:spMkLst>
            <pc:docMk/>
            <pc:sldMk cId="384845413" sldId="2147483458"/>
            <ac:spMk id="29" creationId="{5751F9D4-AD1D-07FE-4E31-ADFBCC5CFFD5}"/>
          </ac:spMkLst>
        </pc:spChg>
        <pc:spChg chg="add del mod modVis">
          <ac:chgData name="Byers, Irina (DI CM&amp;MK ST&amp;B)" userId="c4804133-f4a2-4dfa-aebf-50bcba4f7380" providerId="ADAL" clId="{6D5F49AD-1180-3446-9150-E4337F743C9C}" dt="2024-05-30T15:56:13.905" v="4947"/>
          <ac:spMkLst>
            <pc:docMk/>
            <pc:sldMk cId="384845413" sldId="2147483458"/>
            <ac:spMk id="30" creationId="{EABE1E01-54FB-AD63-6781-20136066359C}"/>
          </ac:spMkLst>
        </pc:spChg>
        <pc:spChg chg="add del mod modVis">
          <ac:chgData name="Byers, Irina (DI CM&amp;MK ST&amp;B)" userId="c4804133-f4a2-4dfa-aebf-50bcba4f7380" providerId="ADAL" clId="{6D5F49AD-1180-3446-9150-E4337F743C9C}" dt="2024-05-30T15:56:19.307" v="4975"/>
          <ac:spMkLst>
            <pc:docMk/>
            <pc:sldMk cId="384845413" sldId="2147483458"/>
            <ac:spMk id="31" creationId="{9765B65A-04C3-E320-1382-D5C9591F7691}"/>
          </ac:spMkLst>
        </pc:spChg>
        <pc:spChg chg="add del mod">
          <ac:chgData name="Byers, Irina (DI CM&amp;MK ST&amp;B)" userId="c4804133-f4a2-4dfa-aebf-50bcba4f7380" providerId="ADAL" clId="{6D5F49AD-1180-3446-9150-E4337F743C9C}" dt="2024-05-30T15:56:51.800" v="4984" actId="11529"/>
          <ac:spMkLst>
            <pc:docMk/>
            <pc:sldMk cId="384845413" sldId="2147483458"/>
            <ac:spMk id="32" creationId="{809B8F1B-5B4C-9949-5F5C-1EAB5038D893}"/>
          </ac:spMkLst>
        </pc:spChg>
        <pc:spChg chg="add mod">
          <ac:chgData name="Byers, Irina (DI CM&amp;MK ST&amp;B)" userId="c4804133-f4a2-4dfa-aebf-50bcba4f7380" providerId="ADAL" clId="{6D5F49AD-1180-3446-9150-E4337F743C9C}" dt="2024-05-30T17:40:28.739" v="5589" actId="164"/>
          <ac:spMkLst>
            <pc:docMk/>
            <pc:sldMk cId="384845413" sldId="2147483458"/>
            <ac:spMk id="33" creationId="{468AA6A7-A412-3A99-F531-85222C6362CD}"/>
          </ac:spMkLst>
        </pc:spChg>
        <pc:spChg chg="add mod">
          <ac:chgData name="Byers, Irina (DI CM&amp;MK ST&amp;B)" userId="c4804133-f4a2-4dfa-aebf-50bcba4f7380" providerId="ADAL" clId="{6D5F49AD-1180-3446-9150-E4337F743C9C}" dt="2024-05-30T17:40:28.739" v="5589" actId="164"/>
          <ac:spMkLst>
            <pc:docMk/>
            <pc:sldMk cId="384845413" sldId="2147483458"/>
            <ac:spMk id="34" creationId="{C8B4230D-F636-8130-BA3E-3368AF2007CF}"/>
          </ac:spMkLst>
        </pc:spChg>
        <pc:spChg chg="add del mod">
          <ac:chgData name="Byers, Irina (DI CM&amp;MK ST&amp;B)" userId="c4804133-f4a2-4dfa-aebf-50bcba4f7380" providerId="ADAL" clId="{6D5F49AD-1180-3446-9150-E4337F743C9C}" dt="2024-05-30T16:28:17.861" v="5563" actId="478"/>
          <ac:spMkLst>
            <pc:docMk/>
            <pc:sldMk cId="384845413" sldId="2147483458"/>
            <ac:spMk id="35" creationId="{71542AF5-6229-6288-CDB6-FA0C7F02E87C}"/>
          </ac:spMkLst>
        </pc:spChg>
        <pc:spChg chg="add mod">
          <ac:chgData name="Byers, Irina (DI CM&amp;MK ST&amp;B)" userId="c4804133-f4a2-4dfa-aebf-50bcba4f7380" providerId="ADAL" clId="{6D5F49AD-1180-3446-9150-E4337F743C9C}" dt="2024-05-30T17:41:16.031" v="5595" actId="767"/>
          <ac:spMkLst>
            <pc:docMk/>
            <pc:sldMk cId="384845413" sldId="2147483458"/>
            <ac:spMk id="37" creationId="{2B83C5BF-509A-B549-C629-ED305B666BD8}"/>
          </ac:spMkLst>
        </pc:spChg>
        <pc:spChg chg="add del mod">
          <ac:chgData name="Byers, Irina (DI CM&amp;MK ST&amp;B)" userId="c4804133-f4a2-4dfa-aebf-50bcba4f7380" providerId="ADAL" clId="{6D5F49AD-1180-3446-9150-E4337F743C9C}" dt="2024-05-30T17:48:02.666" v="5692" actId="478"/>
          <ac:spMkLst>
            <pc:docMk/>
            <pc:sldMk cId="384845413" sldId="2147483458"/>
            <ac:spMk id="38" creationId="{190F00BE-FF75-F6BC-BA31-0328EC888CE3}"/>
          </ac:spMkLst>
        </pc:spChg>
        <pc:spChg chg="add del mod">
          <ac:chgData name="Byers, Irina (DI CM&amp;MK ST&amp;B)" userId="c4804133-f4a2-4dfa-aebf-50bcba4f7380" providerId="ADAL" clId="{6D5F49AD-1180-3446-9150-E4337F743C9C}" dt="2024-05-30T17:48:19.010" v="5696" actId="478"/>
          <ac:spMkLst>
            <pc:docMk/>
            <pc:sldMk cId="384845413" sldId="2147483458"/>
            <ac:spMk id="39" creationId="{972C7264-1CD5-C164-4B9C-04D1FB5E4D0B}"/>
          </ac:spMkLst>
        </pc:spChg>
        <pc:spChg chg="add mod">
          <ac:chgData name="Byers, Irina (DI CM&amp;MK ST&amp;B)" userId="c4804133-f4a2-4dfa-aebf-50bcba4f7380" providerId="ADAL" clId="{6D5F49AD-1180-3446-9150-E4337F743C9C}" dt="2024-05-30T17:49:18.749" v="5699" actId="207"/>
          <ac:spMkLst>
            <pc:docMk/>
            <pc:sldMk cId="384845413" sldId="2147483458"/>
            <ac:spMk id="40" creationId="{7C4CB252-EEA4-013E-5FD6-42E16D0A04F9}"/>
          </ac:spMkLst>
        </pc:spChg>
        <pc:spChg chg="add del mod">
          <ac:chgData name="Byers, Irina (DI CM&amp;MK ST&amp;B)" userId="c4804133-f4a2-4dfa-aebf-50bcba4f7380" providerId="ADAL" clId="{6D5F49AD-1180-3446-9150-E4337F743C9C}" dt="2024-05-30T17:49:32.186" v="5702" actId="478"/>
          <ac:spMkLst>
            <pc:docMk/>
            <pc:sldMk cId="384845413" sldId="2147483458"/>
            <ac:spMk id="41" creationId="{D113669B-27EA-FE5D-1B05-F9486EBBA2B5}"/>
          </ac:spMkLst>
        </pc:spChg>
        <pc:spChg chg="add mod">
          <ac:chgData name="Byers, Irina (DI CM&amp;MK ST&amp;B)" userId="c4804133-f4a2-4dfa-aebf-50bcba4f7380" providerId="ADAL" clId="{6D5F49AD-1180-3446-9150-E4337F743C9C}" dt="2024-05-30T17:50:15.311" v="5704" actId="207"/>
          <ac:spMkLst>
            <pc:docMk/>
            <pc:sldMk cId="384845413" sldId="2147483458"/>
            <ac:spMk id="42" creationId="{E7BB698C-BE50-B5BA-5224-600091AABEEF}"/>
          </ac:spMkLst>
        </pc:spChg>
        <pc:grpChg chg="add mod">
          <ac:chgData name="Byers, Irina (DI CM&amp;MK ST&amp;B)" userId="c4804133-f4a2-4dfa-aebf-50bcba4f7380" providerId="ADAL" clId="{6D5F49AD-1180-3446-9150-E4337F743C9C}" dt="2024-05-30T17:40:28.739" v="5589" actId="164"/>
          <ac:grpSpMkLst>
            <pc:docMk/>
            <pc:sldMk cId="384845413" sldId="2147483458"/>
            <ac:grpSpMk id="36" creationId="{17353126-50F8-A40A-DB15-D66487469190}"/>
          </ac:grpSpMkLst>
        </pc:grpChg>
        <pc:graphicFrameChg chg="mod">
          <ac:chgData name="Byers, Irina (DI CM&amp;MK ST&amp;B)" userId="c4804133-f4a2-4dfa-aebf-50bcba4f7380" providerId="ADAL" clId="{6D5F49AD-1180-3446-9150-E4337F743C9C}" dt="2024-05-30T15:56:19.310" v="4977"/>
          <ac:graphicFrameMkLst>
            <pc:docMk/>
            <pc:sldMk cId="384845413" sldId="2147483458"/>
            <ac:graphicFrameMk id="10" creationId="{8DEB6DFC-D492-A54D-6477-ADE7EE08C60C}"/>
          </ac:graphicFrameMkLst>
        </pc:graphicFrameChg>
        <pc:picChg chg="mod">
          <ac:chgData name="Byers, Irina (DI CM&amp;MK ST&amp;B)" userId="c4804133-f4a2-4dfa-aebf-50bcba4f7380" providerId="ADAL" clId="{6D5F49AD-1180-3446-9150-E4337F743C9C}" dt="2024-05-30T15:55:17.528" v="4822"/>
          <ac:picMkLst>
            <pc:docMk/>
            <pc:sldMk cId="384845413" sldId="2147483458"/>
            <ac:picMk id="12" creationId="{B27B8D57-C8A3-6578-3960-4A8246AFCD6A}"/>
          </ac:picMkLst>
        </pc:picChg>
        <pc:picChg chg="mod modCrop">
          <ac:chgData name="Byers, Irina (DI CM&amp;MK ST&amp;B)" userId="c4804133-f4a2-4dfa-aebf-50bcba4f7380" providerId="ADAL" clId="{6D5F49AD-1180-3446-9150-E4337F743C9C}" dt="2024-05-30T17:41:37.603" v="5601" actId="732"/>
          <ac:picMkLst>
            <pc:docMk/>
            <pc:sldMk cId="384845413" sldId="2147483458"/>
            <ac:picMk id="15" creationId="{BC7C17D2-9FE3-1F66-C0B1-3D4A2F288919}"/>
          </ac:picMkLst>
        </pc:picChg>
      </pc:sldChg>
      <pc:sldChg chg="addSp delSp modSp del mod modShow">
        <pc:chgData name="Byers, Irina (DI CM&amp;MK ST&amp;B)" userId="c4804133-f4a2-4dfa-aebf-50bcba4f7380" providerId="ADAL" clId="{6D5F49AD-1180-3446-9150-E4337F743C9C}" dt="2024-05-31T16:01:22.468" v="6351" actId="2696"/>
        <pc:sldMkLst>
          <pc:docMk/>
          <pc:sldMk cId="2815524443" sldId="2147483459"/>
        </pc:sldMkLst>
        <pc:spChg chg="del">
          <ac:chgData name="Byers, Irina (DI CM&amp;MK ST&amp;B)" userId="c4804133-f4a2-4dfa-aebf-50bcba4f7380" providerId="ADAL" clId="{6D5F49AD-1180-3446-9150-E4337F743C9C}" dt="2024-05-30T17:51:55.626" v="5720" actId="478"/>
          <ac:spMkLst>
            <pc:docMk/>
            <pc:sldMk cId="2815524443" sldId="2147483459"/>
            <ac:spMk id="2" creationId="{999EDF4C-8FF0-B0A6-DB3A-7586AC44DD0A}"/>
          </ac:spMkLst>
        </pc:spChg>
        <pc:spChg chg="del">
          <ac:chgData name="Byers, Irina (DI CM&amp;MK ST&amp;B)" userId="c4804133-f4a2-4dfa-aebf-50bcba4f7380" providerId="ADAL" clId="{6D5F49AD-1180-3446-9150-E4337F743C9C}" dt="2024-05-30T17:52:00.316" v="5722" actId="478"/>
          <ac:spMkLst>
            <pc:docMk/>
            <pc:sldMk cId="2815524443" sldId="2147483459"/>
            <ac:spMk id="3" creationId="{FB977774-059F-FC2F-243E-759DDB55EB19}"/>
          </ac:spMkLst>
        </pc:spChg>
        <pc:spChg chg="add del mod">
          <ac:chgData name="Byers, Irina (DI CM&amp;MK ST&amp;B)" userId="c4804133-f4a2-4dfa-aebf-50bcba4f7380" providerId="ADAL" clId="{6D5F49AD-1180-3446-9150-E4337F743C9C}" dt="2024-05-30T17:51:53.764" v="5719" actId="478"/>
          <ac:spMkLst>
            <pc:docMk/>
            <pc:sldMk cId="2815524443" sldId="2147483459"/>
            <ac:spMk id="8" creationId="{C79137AF-BA7D-D4DA-C725-4C03FA1E9AEA}"/>
          </ac:spMkLst>
        </pc:spChg>
        <pc:spChg chg="add del mod">
          <ac:chgData name="Byers, Irina (DI CM&amp;MK ST&amp;B)" userId="c4804133-f4a2-4dfa-aebf-50bcba4f7380" providerId="ADAL" clId="{6D5F49AD-1180-3446-9150-E4337F743C9C}" dt="2024-05-30T17:51:58.090" v="5721" actId="478"/>
          <ac:spMkLst>
            <pc:docMk/>
            <pc:sldMk cId="2815524443" sldId="2147483459"/>
            <ac:spMk id="11" creationId="{9B9902B1-F19E-F440-74D8-ECD11D19BA49}"/>
          </ac:spMkLst>
        </pc:spChg>
        <pc:spChg chg="add mod">
          <ac:chgData name="Byers, Irina (DI CM&amp;MK ST&amp;B)" userId="c4804133-f4a2-4dfa-aebf-50bcba4f7380" providerId="ADAL" clId="{6D5F49AD-1180-3446-9150-E4337F743C9C}" dt="2024-05-30T17:53:55.876" v="5729" actId="207"/>
          <ac:spMkLst>
            <pc:docMk/>
            <pc:sldMk cId="2815524443" sldId="2147483459"/>
            <ac:spMk id="14" creationId="{6145BFC6-75A3-5DFF-A64A-E486707CB2B9}"/>
          </ac:spMkLst>
        </pc:spChg>
        <pc:spChg chg="add mod">
          <ac:chgData name="Byers, Irina (DI CM&amp;MK ST&amp;B)" userId="c4804133-f4a2-4dfa-aebf-50bcba4f7380" providerId="ADAL" clId="{6D5F49AD-1180-3446-9150-E4337F743C9C}" dt="2024-05-30T17:53:55.876" v="5729" actId="207"/>
          <ac:spMkLst>
            <pc:docMk/>
            <pc:sldMk cId="2815524443" sldId="2147483459"/>
            <ac:spMk id="15" creationId="{354A56D3-454E-F695-E89F-06B889CA82AA}"/>
          </ac:spMkLst>
        </pc:spChg>
      </pc:sldChg>
      <pc:sldChg chg="addSp delSp modSp mod modAnim">
        <pc:chgData name="Byers, Irina (DI CM&amp;MK ST&amp;B)" userId="c4804133-f4a2-4dfa-aebf-50bcba4f7380" providerId="ADAL" clId="{6D5F49AD-1180-3446-9150-E4337F743C9C}" dt="2024-05-31T18:48:31.181" v="7034"/>
        <pc:sldMkLst>
          <pc:docMk/>
          <pc:sldMk cId="276816055" sldId="2147483460"/>
        </pc:sldMkLst>
        <pc:spChg chg="mod">
          <ac:chgData name="Byers, Irina (DI CM&amp;MK ST&amp;B)" userId="c4804133-f4a2-4dfa-aebf-50bcba4f7380" providerId="ADAL" clId="{6D5F49AD-1180-3446-9150-E4337F743C9C}" dt="2024-05-30T17:58:06.897" v="5746" actId="948"/>
          <ac:spMkLst>
            <pc:docMk/>
            <pc:sldMk cId="276816055" sldId="2147483460"/>
            <ac:spMk id="2" creationId="{3AA9827E-ABA2-70DC-DD8F-5CE1E0EBA945}"/>
          </ac:spMkLst>
        </pc:spChg>
        <pc:spChg chg="add del mod modVis">
          <ac:chgData name="Byers, Irina (DI CM&amp;MK ST&amp;B)" userId="c4804133-f4a2-4dfa-aebf-50bcba4f7380" providerId="ADAL" clId="{6D5F49AD-1180-3446-9150-E4337F743C9C}" dt="2024-05-30T17:58:06.927" v="5777"/>
          <ac:spMkLst>
            <pc:docMk/>
            <pc:sldMk cId="276816055" sldId="2147483460"/>
            <ac:spMk id="7" creationId="{438FE76E-0CB1-A674-D099-53106B9A1761}"/>
          </ac:spMkLst>
        </pc:spChg>
        <pc:spChg chg="mod">
          <ac:chgData name="Byers, Irina (DI CM&amp;MK ST&amp;B)" userId="c4804133-f4a2-4dfa-aebf-50bcba4f7380" providerId="ADAL" clId="{6D5F49AD-1180-3446-9150-E4337F743C9C}" dt="2024-05-30T17:57:50.235" v="5744" actId="14100"/>
          <ac:spMkLst>
            <pc:docMk/>
            <pc:sldMk cId="276816055" sldId="2147483460"/>
            <ac:spMk id="8" creationId="{1B6FBC9A-1422-0D28-9CB1-63F5204FD4FE}"/>
          </ac:spMkLst>
        </pc:spChg>
        <pc:spChg chg="mod">
          <ac:chgData name="Byers, Irina (DI CM&amp;MK ST&amp;B)" userId="c4804133-f4a2-4dfa-aebf-50bcba4f7380" providerId="ADAL" clId="{6D5F49AD-1180-3446-9150-E4337F743C9C}" dt="2024-05-30T17:57:25.829" v="5742" actId="408"/>
          <ac:spMkLst>
            <pc:docMk/>
            <pc:sldMk cId="276816055" sldId="2147483460"/>
            <ac:spMk id="9" creationId="{1192559B-7EB7-469A-BC41-8FE2AC9E39F4}"/>
          </ac:spMkLst>
        </pc:spChg>
        <pc:spChg chg="mod">
          <ac:chgData name="Byers, Irina (DI CM&amp;MK ST&amp;B)" userId="c4804133-f4a2-4dfa-aebf-50bcba4f7380" providerId="ADAL" clId="{6D5F49AD-1180-3446-9150-E4337F743C9C}" dt="2024-05-30T17:57:25.829" v="5742" actId="408"/>
          <ac:spMkLst>
            <pc:docMk/>
            <pc:sldMk cId="276816055" sldId="2147483460"/>
            <ac:spMk id="10" creationId="{C0CF1D99-EB81-9D83-07DE-567AE91C14DC}"/>
          </ac:spMkLst>
        </pc:spChg>
        <pc:spChg chg="mod">
          <ac:chgData name="Byers, Irina (DI CM&amp;MK ST&amp;B)" userId="c4804133-f4a2-4dfa-aebf-50bcba4f7380" providerId="ADAL" clId="{6D5F49AD-1180-3446-9150-E4337F743C9C}" dt="2024-05-30T17:57:25.829" v="5742" actId="408"/>
          <ac:spMkLst>
            <pc:docMk/>
            <pc:sldMk cId="276816055" sldId="2147483460"/>
            <ac:spMk id="11" creationId="{C3B9B201-59F3-FE8D-8AFA-460A03B6677F}"/>
          </ac:spMkLst>
        </pc:spChg>
        <pc:graphicFrameChg chg="add mod modVis replST">
          <ac:chgData name="Byers, Irina (DI CM&amp;MK ST&amp;B)" userId="c4804133-f4a2-4dfa-aebf-50bcba4f7380" providerId="ADAL" clId="{6D5F49AD-1180-3446-9150-E4337F743C9C}" dt="2024-05-30T17:58:06.966" v="5791"/>
          <ac:graphicFrameMkLst>
            <pc:docMk/>
            <pc:sldMk cId="276816055" sldId="2147483460"/>
            <ac:graphicFrameMk id="12" creationId="{581156DC-C27C-E588-BB22-C699E1260071}"/>
          </ac:graphicFrameMkLst>
        </pc:graphicFrameChg>
        <pc:picChg chg="mod">
          <ac:chgData name="Byers, Irina (DI CM&amp;MK ST&amp;B)" userId="c4804133-f4a2-4dfa-aebf-50bcba4f7380" providerId="ADAL" clId="{6D5F49AD-1180-3446-9150-E4337F743C9C}" dt="2024-05-30T17:57:12.747" v="5740" actId="408"/>
          <ac:picMkLst>
            <pc:docMk/>
            <pc:sldMk cId="276816055" sldId="2147483460"/>
            <ac:picMk id="5" creationId="{5CB66D07-9A31-9BEA-3A53-AA9D2FA302A5}"/>
          </ac:picMkLst>
        </pc:picChg>
        <pc:picChg chg="mod modCrop">
          <ac:chgData name="Byers, Irina (DI CM&amp;MK ST&amp;B)" userId="c4804133-f4a2-4dfa-aebf-50bcba4f7380" providerId="ADAL" clId="{6D5F49AD-1180-3446-9150-E4337F743C9C}" dt="2024-05-30T17:57:42.410" v="5743" actId="732"/>
          <ac:picMkLst>
            <pc:docMk/>
            <pc:sldMk cId="276816055" sldId="2147483460"/>
            <ac:picMk id="6" creationId="{27426BD8-B295-992F-A173-E4C4C4E49AE5}"/>
          </ac:picMkLst>
        </pc:picChg>
        <pc:picChg chg="mod">
          <ac:chgData name="Byers, Irina (DI CM&amp;MK ST&amp;B)" userId="c4804133-f4a2-4dfa-aebf-50bcba4f7380" providerId="ADAL" clId="{6D5F49AD-1180-3446-9150-E4337F743C9C}" dt="2024-05-30T17:57:12.747" v="5740" actId="408"/>
          <ac:picMkLst>
            <pc:docMk/>
            <pc:sldMk cId="276816055" sldId="2147483460"/>
            <ac:picMk id="1026" creationId="{D178D830-67CC-D8A2-9E0D-C6749B0D7BEF}"/>
          </ac:picMkLst>
        </pc:picChg>
      </pc:sldChg>
      <pc:sldChg chg="addSp modSp add mod modShow">
        <pc:chgData name="Byers, Irina (DI CM&amp;MK ST&amp;B)" userId="c4804133-f4a2-4dfa-aebf-50bcba4f7380" providerId="ADAL" clId="{6D5F49AD-1180-3446-9150-E4337F743C9C}" dt="2024-05-29T21:29:28.022" v="2944"/>
        <pc:sldMkLst>
          <pc:docMk/>
          <pc:sldMk cId="3415850287" sldId="2147483461"/>
        </pc:sldMkLst>
        <pc:spChg chg="add mod">
          <ac:chgData name="Byers, Irina (DI CM&amp;MK ST&amp;B)" userId="c4804133-f4a2-4dfa-aebf-50bcba4f7380" providerId="ADAL" clId="{6D5F49AD-1180-3446-9150-E4337F743C9C}" dt="2024-05-29T21:29:28.022" v="2944"/>
          <ac:spMkLst>
            <pc:docMk/>
            <pc:sldMk cId="3415850287" sldId="2147483461"/>
            <ac:spMk id="3" creationId="{39F1475B-F110-51FB-F8C3-D1C885363AB0}"/>
          </ac:spMkLst>
        </pc:spChg>
      </pc:sldChg>
      <pc:sldChg chg="addSp delSp modSp add mod">
        <pc:chgData name="Byers, Irina (DI CM&amp;MK ST&amp;B)" userId="c4804133-f4a2-4dfa-aebf-50bcba4f7380" providerId="ADAL" clId="{6D5F49AD-1180-3446-9150-E4337F743C9C}" dt="2024-05-31T18:53:12.484" v="7357"/>
        <pc:sldMkLst>
          <pc:docMk/>
          <pc:sldMk cId="965640219" sldId="2147483462"/>
        </pc:sldMkLst>
        <pc:spChg chg="add mod">
          <ac:chgData name="Byers, Irina (DI CM&amp;MK ST&amp;B)" userId="c4804133-f4a2-4dfa-aebf-50bcba4f7380" providerId="ADAL" clId="{6D5F49AD-1180-3446-9150-E4337F743C9C}" dt="2024-05-29T21:29:28.022" v="2944"/>
          <ac:spMkLst>
            <pc:docMk/>
            <pc:sldMk cId="965640219" sldId="2147483462"/>
            <ac:spMk id="2" creationId="{A70DF9B4-81C6-5FED-31BB-445466F234D0}"/>
          </ac:spMkLst>
        </pc:spChg>
        <pc:spChg chg="add del mod modVis">
          <ac:chgData name="Byers, Irina (DI CM&amp;MK ST&amp;B)" userId="c4804133-f4a2-4dfa-aebf-50bcba4f7380" providerId="ADAL" clId="{6D5F49AD-1180-3446-9150-E4337F743C9C}" dt="2024-05-30T15:35:03.508" v="3713"/>
          <ac:spMkLst>
            <pc:docMk/>
            <pc:sldMk cId="965640219" sldId="2147483462"/>
            <ac:spMk id="3" creationId="{E507C942-5C71-09D6-0D5A-3F83E20C45E5}"/>
          </ac:spMkLst>
        </pc:spChg>
        <pc:spChg chg="add del mod">
          <ac:chgData name="Byers, Irina (DI CM&amp;MK ST&amp;B)" userId="c4804133-f4a2-4dfa-aebf-50bcba4f7380" providerId="ADAL" clId="{6D5F49AD-1180-3446-9150-E4337F743C9C}" dt="2024-05-31T18:53:12.467" v="7325" actId="948"/>
          <ac:spMkLst>
            <pc:docMk/>
            <pc:sldMk cId="965640219" sldId="2147483462"/>
            <ac:spMk id="5" creationId="{7036F4DE-F607-3FB2-01BB-BA54873B34C6}"/>
          </ac:spMkLst>
        </pc:spChg>
        <pc:spChg chg="add del mod">
          <ac:chgData name="Byers, Irina (DI CM&amp;MK ST&amp;B)" userId="c4804133-f4a2-4dfa-aebf-50bcba4f7380" providerId="ADAL" clId="{6D5F49AD-1180-3446-9150-E4337F743C9C}" dt="2024-05-29T20:43:36.915" v="1966" actId="113"/>
          <ac:spMkLst>
            <pc:docMk/>
            <pc:sldMk cId="965640219" sldId="2147483462"/>
            <ac:spMk id="6" creationId="{B1437859-3C8E-7426-2EA2-41D15A19962E}"/>
          </ac:spMkLst>
        </pc:spChg>
        <pc:spChg chg="add del mod modVis">
          <ac:chgData name="Byers, Irina (DI CM&amp;MK ST&amp;B)" userId="c4804133-f4a2-4dfa-aebf-50bcba4f7380" providerId="ADAL" clId="{6D5F49AD-1180-3446-9150-E4337F743C9C}" dt="2024-05-30T15:35:06.967" v="3755"/>
          <ac:spMkLst>
            <pc:docMk/>
            <pc:sldMk cId="965640219" sldId="2147483462"/>
            <ac:spMk id="7" creationId="{87F17193-8CD7-2439-8C61-33052C7AC553}"/>
          </ac:spMkLst>
        </pc:spChg>
        <pc:spChg chg="add del mod modVis">
          <ac:chgData name="Byers, Irina (DI CM&amp;MK ST&amp;B)" userId="c4804133-f4a2-4dfa-aebf-50bcba4f7380" providerId="ADAL" clId="{6D5F49AD-1180-3446-9150-E4337F743C9C}" dt="2024-05-29T20:34:18.490" v="769"/>
          <ac:spMkLst>
            <pc:docMk/>
            <pc:sldMk cId="965640219" sldId="2147483462"/>
            <ac:spMk id="9" creationId="{157F6DCA-C521-9B79-1AF5-27DD56F39099}"/>
          </ac:spMkLst>
        </pc:spChg>
        <pc:spChg chg="add del mod modVis">
          <ac:chgData name="Byers, Irina (DI CM&amp;MK ST&amp;B)" userId="c4804133-f4a2-4dfa-aebf-50bcba4f7380" providerId="ADAL" clId="{6D5F49AD-1180-3446-9150-E4337F743C9C}" dt="2024-05-31T16:56:33.602" v="6470"/>
          <ac:spMkLst>
            <pc:docMk/>
            <pc:sldMk cId="965640219" sldId="2147483462"/>
            <ac:spMk id="11" creationId="{0799E8E3-F5C6-F34E-839A-F1526AD711D3}"/>
          </ac:spMkLst>
        </pc:spChg>
        <pc:spChg chg="add del mod">
          <ac:chgData name="Byers, Irina (DI CM&amp;MK ST&amp;B)" userId="c4804133-f4a2-4dfa-aebf-50bcba4f7380" providerId="ADAL" clId="{6D5F49AD-1180-3446-9150-E4337F743C9C}" dt="2024-05-29T20:34:21.795" v="780" actId="478"/>
          <ac:spMkLst>
            <pc:docMk/>
            <pc:sldMk cId="965640219" sldId="2147483462"/>
            <ac:spMk id="11" creationId="{68396E6D-98AE-D072-977B-7CFA70496292}"/>
          </ac:spMkLst>
        </pc:spChg>
        <pc:spChg chg="add del mod modVis">
          <ac:chgData name="Byers, Irina (DI CM&amp;MK ST&amp;B)" userId="c4804133-f4a2-4dfa-aebf-50bcba4f7380" providerId="ADAL" clId="{6D5F49AD-1180-3446-9150-E4337F743C9C}" dt="2024-05-31T16:56:34.885" v="6503"/>
          <ac:spMkLst>
            <pc:docMk/>
            <pc:sldMk cId="965640219" sldId="2147483462"/>
            <ac:spMk id="12" creationId="{8EA37114-E0A6-EE93-5BE6-4B35442976D1}"/>
          </ac:spMkLst>
        </pc:spChg>
        <pc:spChg chg="add del mod modVis">
          <ac:chgData name="Byers, Irina (DI CM&amp;MK ST&amp;B)" userId="c4804133-f4a2-4dfa-aebf-50bcba4f7380" providerId="ADAL" clId="{6D5F49AD-1180-3446-9150-E4337F743C9C}" dt="2024-05-29T20:34:33.542" v="814"/>
          <ac:spMkLst>
            <pc:docMk/>
            <pc:sldMk cId="965640219" sldId="2147483462"/>
            <ac:spMk id="12" creationId="{C488F72C-0C13-6FE5-AF63-575AF2D4FBAA}"/>
          </ac:spMkLst>
        </pc:spChg>
        <pc:spChg chg="add del mod modVis">
          <ac:chgData name="Byers, Irina (DI CM&amp;MK ST&amp;B)" userId="c4804133-f4a2-4dfa-aebf-50bcba4f7380" providerId="ADAL" clId="{6D5F49AD-1180-3446-9150-E4337F743C9C}" dt="2024-05-31T16:56:37.006" v="6537"/>
          <ac:spMkLst>
            <pc:docMk/>
            <pc:sldMk cId="965640219" sldId="2147483462"/>
            <ac:spMk id="13" creationId="{74683D3B-07BC-0948-3E9A-2D0D0FB53CA4}"/>
          </ac:spMkLst>
        </pc:spChg>
        <pc:spChg chg="add del mod modVis">
          <ac:chgData name="Byers, Irina (DI CM&amp;MK ST&amp;B)" userId="c4804133-f4a2-4dfa-aebf-50bcba4f7380" providerId="ADAL" clId="{6D5F49AD-1180-3446-9150-E4337F743C9C}" dt="2024-05-29T20:34:58.796" v="864"/>
          <ac:spMkLst>
            <pc:docMk/>
            <pc:sldMk cId="965640219" sldId="2147483462"/>
            <ac:spMk id="13" creationId="{8C43E504-1FA7-BBB5-3A6F-8313EAF02062}"/>
          </ac:spMkLst>
        </pc:spChg>
        <pc:spChg chg="add del mod modVis">
          <ac:chgData name="Byers, Irina (DI CM&amp;MK ST&amp;B)" userId="c4804133-f4a2-4dfa-aebf-50bcba4f7380" providerId="ADAL" clId="{6D5F49AD-1180-3446-9150-E4337F743C9C}" dt="2024-05-29T20:35:07.658" v="898"/>
          <ac:spMkLst>
            <pc:docMk/>
            <pc:sldMk cId="965640219" sldId="2147483462"/>
            <ac:spMk id="14" creationId="{DDD8402D-EAEB-3065-0889-0CB071AF8C52}"/>
          </ac:spMkLst>
        </pc:spChg>
        <pc:spChg chg="add del mod modVis">
          <ac:chgData name="Byers, Irina (DI CM&amp;MK ST&amp;B)" userId="c4804133-f4a2-4dfa-aebf-50bcba4f7380" providerId="ADAL" clId="{6D5F49AD-1180-3446-9150-E4337F743C9C}" dt="2024-05-31T16:56:49.118" v="6571"/>
          <ac:spMkLst>
            <pc:docMk/>
            <pc:sldMk cId="965640219" sldId="2147483462"/>
            <ac:spMk id="14" creationId="{F84EBC6B-60D5-4BE5-79B8-C93DD27D49CD}"/>
          </ac:spMkLst>
        </pc:spChg>
        <pc:spChg chg="add del mod modVis">
          <ac:chgData name="Byers, Irina (DI CM&amp;MK ST&amp;B)" userId="c4804133-f4a2-4dfa-aebf-50bcba4f7380" providerId="ADAL" clId="{6D5F49AD-1180-3446-9150-E4337F743C9C}" dt="2024-05-31T16:57:02.875" v="6605"/>
          <ac:spMkLst>
            <pc:docMk/>
            <pc:sldMk cId="965640219" sldId="2147483462"/>
            <ac:spMk id="15" creationId="{96CC437B-BBDB-515A-8CA2-3667C2A4142D}"/>
          </ac:spMkLst>
        </pc:spChg>
        <pc:spChg chg="add del mod modVis">
          <ac:chgData name="Byers, Irina (DI CM&amp;MK ST&amp;B)" userId="c4804133-f4a2-4dfa-aebf-50bcba4f7380" providerId="ADAL" clId="{6D5F49AD-1180-3446-9150-E4337F743C9C}" dt="2024-05-29T20:35:28.416" v="1117" actId="962"/>
          <ac:spMkLst>
            <pc:docMk/>
            <pc:sldMk cId="965640219" sldId="2147483462"/>
            <ac:spMk id="15" creationId="{EEE36E0B-0B9F-AB42-5FA4-944F2F44A00B}"/>
          </ac:spMkLst>
        </pc:spChg>
        <pc:spChg chg="add del mod modVis">
          <ac:chgData name="Byers, Irina (DI CM&amp;MK ST&amp;B)" userId="c4804133-f4a2-4dfa-aebf-50bcba4f7380" providerId="ADAL" clId="{6D5F49AD-1180-3446-9150-E4337F743C9C}" dt="2024-05-29T20:35:27.118" v="1084" actId="962"/>
          <ac:spMkLst>
            <pc:docMk/>
            <pc:sldMk cId="965640219" sldId="2147483462"/>
            <ac:spMk id="16" creationId="{09200E9B-AE05-0271-D9E4-11619AE356DF}"/>
          </ac:spMkLst>
        </pc:spChg>
        <pc:spChg chg="add del mod modVis">
          <ac:chgData name="Byers, Irina (DI CM&amp;MK ST&amp;B)" userId="c4804133-f4a2-4dfa-aebf-50bcba4f7380" providerId="ADAL" clId="{6D5F49AD-1180-3446-9150-E4337F743C9C}" dt="2024-05-31T16:57:04.767" v="6639"/>
          <ac:spMkLst>
            <pc:docMk/>
            <pc:sldMk cId="965640219" sldId="2147483462"/>
            <ac:spMk id="16" creationId="{C818FFDA-415C-4C1E-94BD-DBE971A37230}"/>
          </ac:spMkLst>
        </pc:spChg>
        <pc:spChg chg="add del mod modVis">
          <ac:chgData name="Byers, Irina (DI CM&amp;MK ST&amp;B)" userId="c4804133-f4a2-4dfa-aebf-50bcba4f7380" providerId="ADAL" clId="{6D5F49AD-1180-3446-9150-E4337F743C9C}" dt="2024-05-31T16:57:24.081" v="6703" actId="962"/>
          <ac:spMkLst>
            <pc:docMk/>
            <pc:sldMk cId="965640219" sldId="2147483462"/>
            <ac:spMk id="17" creationId="{15AB6F3B-EAB0-1525-3DAF-98AADFDFE9AE}"/>
          </ac:spMkLst>
        </pc:spChg>
        <pc:spChg chg="add del mod modVis">
          <ac:chgData name="Byers, Irina (DI CM&amp;MK ST&amp;B)" userId="c4804133-f4a2-4dfa-aebf-50bcba4f7380" providerId="ADAL" clId="{6D5F49AD-1180-3446-9150-E4337F743C9C}" dt="2024-05-29T20:35:25.266" v="1035" actId="962"/>
          <ac:spMkLst>
            <pc:docMk/>
            <pc:sldMk cId="965640219" sldId="2147483462"/>
            <ac:spMk id="17" creationId="{AF457252-4115-BB86-2B79-132D6E1876C6}"/>
          </ac:spMkLst>
        </pc:spChg>
        <pc:spChg chg="add del mod modVis">
          <ac:chgData name="Byers, Irina (DI CM&amp;MK ST&amp;B)" userId="c4804133-f4a2-4dfa-aebf-50bcba4f7380" providerId="ADAL" clId="{6D5F49AD-1180-3446-9150-E4337F743C9C}" dt="2024-05-31T16:57:29.462" v="6739"/>
          <ac:spMkLst>
            <pc:docMk/>
            <pc:sldMk cId="965640219" sldId="2147483462"/>
            <ac:spMk id="18" creationId="{C249CA83-7D41-62FB-6112-795AE3756EC2}"/>
          </ac:spMkLst>
        </pc:spChg>
        <pc:spChg chg="add del mod modVis">
          <ac:chgData name="Byers, Irina (DI CM&amp;MK ST&amp;B)" userId="c4804133-f4a2-4dfa-aebf-50bcba4f7380" providerId="ADAL" clId="{6D5F49AD-1180-3446-9150-E4337F743C9C}" dt="2024-05-31T16:58:48.865" v="6918"/>
          <ac:spMkLst>
            <pc:docMk/>
            <pc:sldMk cId="965640219" sldId="2147483462"/>
            <ac:spMk id="19" creationId="{49BBCB5B-56B2-E8E1-55D9-0F7934E954EF}"/>
          </ac:spMkLst>
        </pc:spChg>
        <pc:spChg chg="add del mod">
          <ac:chgData name="Byers, Irina (DI CM&amp;MK ST&amp;B)" userId="c4804133-f4a2-4dfa-aebf-50bcba4f7380" providerId="ADAL" clId="{6D5F49AD-1180-3446-9150-E4337F743C9C}" dt="2024-05-29T20:35:26.282" v="1048" actId="21"/>
          <ac:spMkLst>
            <pc:docMk/>
            <pc:sldMk cId="965640219" sldId="2147483462"/>
            <ac:spMk id="19" creationId="{AD0842E0-6A1A-DD64-A892-A03DE733BFB7}"/>
          </ac:spMkLst>
        </pc:spChg>
        <pc:spChg chg="add del mod modVis">
          <ac:chgData name="Byers, Irina (DI CM&amp;MK ST&amp;B)" userId="c4804133-f4a2-4dfa-aebf-50bcba4f7380" providerId="ADAL" clId="{6D5F49AD-1180-3446-9150-E4337F743C9C}" dt="2024-05-31T16:59:38.994" v="6962"/>
          <ac:spMkLst>
            <pc:docMk/>
            <pc:sldMk cId="965640219" sldId="2147483462"/>
            <ac:spMk id="20" creationId="{7CFE017E-2804-A481-17B1-B05AB10E949D}"/>
          </ac:spMkLst>
        </pc:spChg>
        <pc:spChg chg="add del mod modVis">
          <ac:chgData name="Byers, Irina (DI CM&amp;MK ST&amp;B)" userId="c4804133-f4a2-4dfa-aebf-50bcba4f7380" providerId="ADAL" clId="{6D5F49AD-1180-3446-9150-E4337F743C9C}" dt="2024-05-31T18:52:51.207" v="7253"/>
          <ac:spMkLst>
            <pc:docMk/>
            <pc:sldMk cId="965640219" sldId="2147483462"/>
            <ac:spMk id="21" creationId="{0351CB37-9D28-F48A-825A-074886F335D9}"/>
          </ac:spMkLst>
        </pc:spChg>
        <pc:spChg chg="add del mod modVis">
          <ac:chgData name="Byers, Irina (DI CM&amp;MK ST&amp;B)" userId="c4804133-f4a2-4dfa-aebf-50bcba4f7380" providerId="ADAL" clId="{6D5F49AD-1180-3446-9150-E4337F743C9C}" dt="2024-05-31T18:53:02.172" v="7287"/>
          <ac:spMkLst>
            <pc:docMk/>
            <pc:sldMk cId="965640219" sldId="2147483462"/>
            <ac:spMk id="22" creationId="{5A8F0BEF-BB0B-C320-731B-C26123B7FC28}"/>
          </ac:spMkLst>
        </pc:spChg>
        <pc:spChg chg="add del mod">
          <ac:chgData name="Byers, Irina (DI CM&amp;MK ST&amp;B)" userId="c4804133-f4a2-4dfa-aebf-50bcba4f7380" providerId="ADAL" clId="{6D5F49AD-1180-3446-9150-E4337F743C9C}" dt="2024-05-29T20:35:26.282" v="1048" actId="21"/>
          <ac:spMkLst>
            <pc:docMk/>
            <pc:sldMk cId="965640219" sldId="2147483462"/>
            <ac:spMk id="22" creationId="{81B00853-E664-D167-120A-A8DBABFDA603}"/>
          </ac:spMkLst>
        </pc:spChg>
        <pc:spChg chg="add del mod modVis">
          <ac:chgData name="Byers, Irina (DI CM&amp;MK ST&amp;B)" userId="c4804133-f4a2-4dfa-aebf-50bcba4f7380" providerId="ADAL" clId="{6D5F49AD-1180-3446-9150-E4337F743C9C}" dt="2024-05-31T18:53:10.332" v="7321"/>
          <ac:spMkLst>
            <pc:docMk/>
            <pc:sldMk cId="965640219" sldId="2147483462"/>
            <ac:spMk id="23" creationId="{AC456F64-F01B-F35D-EDD1-0FA903C2B92B}"/>
          </ac:spMkLst>
        </pc:spChg>
        <pc:spChg chg="add del mod modVis">
          <ac:chgData name="Byers, Irina (DI CM&amp;MK ST&amp;B)" userId="c4804133-f4a2-4dfa-aebf-50bcba4f7380" providerId="ADAL" clId="{6D5F49AD-1180-3446-9150-E4337F743C9C}" dt="2024-05-29T20:35:34.928" v="1153"/>
          <ac:spMkLst>
            <pc:docMk/>
            <pc:sldMk cId="965640219" sldId="2147483462"/>
            <ac:spMk id="23" creationId="{EE3B6A1C-219B-791B-4EE0-19848871B2C6}"/>
          </ac:spMkLst>
        </pc:spChg>
        <pc:spChg chg="add del mod modVis">
          <ac:chgData name="Byers, Irina (DI CM&amp;MK ST&amp;B)" userId="c4804133-f4a2-4dfa-aebf-50bcba4f7380" providerId="ADAL" clId="{6D5F49AD-1180-3446-9150-E4337F743C9C}" dt="2024-05-31T18:53:12.483" v="7355"/>
          <ac:spMkLst>
            <pc:docMk/>
            <pc:sldMk cId="965640219" sldId="2147483462"/>
            <ac:spMk id="24" creationId="{CF2FB7BC-50CE-2B9D-BC8B-EF5ED5521DC4}"/>
          </ac:spMkLst>
        </pc:spChg>
        <pc:spChg chg="add del mod modVis">
          <ac:chgData name="Byers, Irina (DI CM&amp;MK ST&amp;B)" userId="c4804133-f4a2-4dfa-aebf-50bcba4f7380" providerId="ADAL" clId="{6D5F49AD-1180-3446-9150-E4337F743C9C}" dt="2024-05-29T20:35:37.548" v="1187"/>
          <ac:spMkLst>
            <pc:docMk/>
            <pc:sldMk cId="965640219" sldId="2147483462"/>
            <ac:spMk id="24" creationId="{E083CC83-7BD6-CEA3-1440-F2B40BCAB493}"/>
          </ac:spMkLst>
        </pc:spChg>
        <pc:spChg chg="add del mod modVis">
          <ac:chgData name="Byers, Irina (DI CM&amp;MK ST&amp;B)" userId="c4804133-f4a2-4dfa-aebf-50bcba4f7380" providerId="ADAL" clId="{6D5F49AD-1180-3446-9150-E4337F743C9C}" dt="2024-05-29T20:36:06.101" v="1251" actId="962"/>
          <ac:spMkLst>
            <pc:docMk/>
            <pc:sldMk cId="965640219" sldId="2147483462"/>
            <ac:spMk id="25" creationId="{5DFDD00B-D755-B604-7395-A8D30B78445C}"/>
          </ac:spMkLst>
        </pc:spChg>
        <pc:spChg chg="add del mod modVis">
          <ac:chgData name="Byers, Irina (DI CM&amp;MK ST&amp;B)" userId="c4804133-f4a2-4dfa-aebf-50bcba4f7380" providerId="ADAL" clId="{6D5F49AD-1180-3446-9150-E4337F743C9C}" dt="2024-05-29T20:36:10.578" v="1287"/>
          <ac:spMkLst>
            <pc:docMk/>
            <pc:sldMk cId="965640219" sldId="2147483462"/>
            <ac:spMk id="26" creationId="{43804BA7-898F-F239-CE9B-993488EDF046}"/>
          </ac:spMkLst>
        </pc:spChg>
        <pc:spChg chg="add del mod modVis">
          <ac:chgData name="Byers, Irina (DI CM&amp;MK ST&amp;B)" userId="c4804133-f4a2-4dfa-aebf-50bcba4f7380" providerId="ADAL" clId="{6D5F49AD-1180-3446-9150-E4337F743C9C}" dt="2024-05-29T20:36:22.685" v="1322"/>
          <ac:spMkLst>
            <pc:docMk/>
            <pc:sldMk cId="965640219" sldId="2147483462"/>
            <ac:spMk id="27" creationId="{67009828-084C-6613-6656-A0A7B7986448}"/>
          </ac:spMkLst>
        </pc:spChg>
        <pc:spChg chg="add del mod modVis">
          <ac:chgData name="Byers, Irina (DI CM&amp;MK ST&amp;B)" userId="c4804133-f4a2-4dfa-aebf-50bcba4f7380" providerId="ADAL" clId="{6D5F49AD-1180-3446-9150-E4337F743C9C}" dt="2024-05-29T20:36:25.170" v="1356"/>
          <ac:spMkLst>
            <pc:docMk/>
            <pc:sldMk cId="965640219" sldId="2147483462"/>
            <ac:spMk id="28" creationId="{77E96EE9-9AF0-5161-6A7A-EDABF1FCAEFB}"/>
          </ac:spMkLst>
        </pc:spChg>
        <pc:spChg chg="add del mod modVis">
          <ac:chgData name="Byers, Irina (DI CM&amp;MK ST&amp;B)" userId="c4804133-f4a2-4dfa-aebf-50bcba4f7380" providerId="ADAL" clId="{6D5F49AD-1180-3446-9150-E4337F743C9C}" dt="2024-05-29T20:36:26.848" v="1390"/>
          <ac:spMkLst>
            <pc:docMk/>
            <pc:sldMk cId="965640219" sldId="2147483462"/>
            <ac:spMk id="29" creationId="{B27A5D38-CF21-5E44-410F-1C23B184581B}"/>
          </ac:spMkLst>
        </pc:spChg>
        <pc:spChg chg="add del mod modVis">
          <ac:chgData name="Byers, Irina (DI CM&amp;MK ST&amp;B)" userId="c4804133-f4a2-4dfa-aebf-50bcba4f7380" providerId="ADAL" clId="{6D5F49AD-1180-3446-9150-E4337F743C9C}" dt="2024-05-29T20:36:33.534" v="1424"/>
          <ac:spMkLst>
            <pc:docMk/>
            <pc:sldMk cId="965640219" sldId="2147483462"/>
            <ac:spMk id="30" creationId="{A9470886-AC8C-1070-CF32-B37B9DF2BC85}"/>
          </ac:spMkLst>
        </pc:spChg>
        <pc:spChg chg="add mod">
          <ac:chgData name="Byers, Irina (DI CM&amp;MK ST&amp;B)" userId="c4804133-f4a2-4dfa-aebf-50bcba4f7380" providerId="ADAL" clId="{6D5F49AD-1180-3446-9150-E4337F743C9C}" dt="2024-05-29T20:36:55.058" v="1432" actId="767"/>
          <ac:spMkLst>
            <pc:docMk/>
            <pc:sldMk cId="965640219" sldId="2147483462"/>
            <ac:spMk id="31" creationId="{43CC9831-1299-BE4E-3C80-B6FB1A81D67F}"/>
          </ac:spMkLst>
        </pc:spChg>
        <pc:spChg chg="add del mod modVis">
          <ac:chgData name="Byers, Irina (DI CM&amp;MK ST&amp;B)" userId="c4804133-f4a2-4dfa-aebf-50bcba4f7380" providerId="ADAL" clId="{6D5F49AD-1180-3446-9150-E4337F743C9C}" dt="2024-05-29T20:37:29.494" v="1477"/>
          <ac:spMkLst>
            <pc:docMk/>
            <pc:sldMk cId="965640219" sldId="2147483462"/>
            <ac:spMk id="32" creationId="{F7F086B1-CC63-D9F3-5C4A-EEFC7B1CADB0}"/>
          </ac:spMkLst>
        </pc:spChg>
        <pc:spChg chg="add del mod modVis">
          <ac:chgData name="Byers, Irina (DI CM&amp;MK ST&amp;B)" userId="c4804133-f4a2-4dfa-aebf-50bcba4f7380" providerId="ADAL" clId="{6D5F49AD-1180-3446-9150-E4337F743C9C}" dt="2024-05-29T20:40:35.244" v="1519"/>
          <ac:spMkLst>
            <pc:docMk/>
            <pc:sldMk cId="965640219" sldId="2147483462"/>
            <ac:spMk id="33" creationId="{415F1FEA-9E65-E119-E15C-D558014F2871}"/>
          </ac:spMkLst>
        </pc:spChg>
        <pc:spChg chg="add del mod modVis">
          <ac:chgData name="Byers, Irina (DI CM&amp;MK ST&amp;B)" userId="c4804133-f4a2-4dfa-aebf-50bcba4f7380" providerId="ADAL" clId="{6D5F49AD-1180-3446-9150-E4337F743C9C}" dt="2024-05-29T20:40:37.360" v="1561"/>
          <ac:spMkLst>
            <pc:docMk/>
            <pc:sldMk cId="965640219" sldId="2147483462"/>
            <ac:spMk id="34" creationId="{3FAA170D-3CFB-5E90-0196-C54A175F944F}"/>
          </ac:spMkLst>
        </pc:spChg>
        <pc:spChg chg="add del mod modVis">
          <ac:chgData name="Byers, Irina (DI CM&amp;MK ST&amp;B)" userId="c4804133-f4a2-4dfa-aebf-50bcba4f7380" providerId="ADAL" clId="{6D5F49AD-1180-3446-9150-E4337F743C9C}" dt="2024-05-29T20:40:38.827" v="1603"/>
          <ac:spMkLst>
            <pc:docMk/>
            <pc:sldMk cId="965640219" sldId="2147483462"/>
            <ac:spMk id="35" creationId="{68CE01C7-923F-4B20-EC31-AB716595D12A}"/>
          </ac:spMkLst>
        </pc:spChg>
        <pc:spChg chg="add del mod modVis">
          <ac:chgData name="Byers, Irina (DI CM&amp;MK ST&amp;B)" userId="c4804133-f4a2-4dfa-aebf-50bcba4f7380" providerId="ADAL" clId="{6D5F49AD-1180-3446-9150-E4337F743C9C}" dt="2024-05-29T20:40:43.129" v="1645"/>
          <ac:spMkLst>
            <pc:docMk/>
            <pc:sldMk cId="965640219" sldId="2147483462"/>
            <ac:spMk id="36" creationId="{A1C991D4-4EC1-1A6A-D190-02F0A4B85A9D}"/>
          </ac:spMkLst>
        </pc:spChg>
        <pc:spChg chg="add del mod modVis">
          <ac:chgData name="Byers, Irina (DI CM&amp;MK ST&amp;B)" userId="c4804133-f4a2-4dfa-aebf-50bcba4f7380" providerId="ADAL" clId="{6D5F49AD-1180-3446-9150-E4337F743C9C}" dt="2024-05-29T20:40:45.818" v="1687"/>
          <ac:spMkLst>
            <pc:docMk/>
            <pc:sldMk cId="965640219" sldId="2147483462"/>
            <ac:spMk id="37" creationId="{98A49987-9A63-7EED-C4B8-9512FAC17798}"/>
          </ac:spMkLst>
        </pc:spChg>
        <pc:spChg chg="add del mod modVis">
          <ac:chgData name="Byers, Irina (DI CM&amp;MK ST&amp;B)" userId="c4804133-f4a2-4dfa-aebf-50bcba4f7380" providerId="ADAL" clId="{6D5F49AD-1180-3446-9150-E4337F743C9C}" dt="2024-05-29T20:41:37.737" v="1729"/>
          <ac:spMkLst>
            <pc:docMk/>
            <pc:sldMk cId="965640219" sldId="2147483462"/>
            <ac:spMk id="38" creationId="{08679E75-BE30-32DD-2483-FEEB17220477}"/>
          </ac:spMkLst>
        </pc:spChg>
        <pc:spChg chg="add del mod modVis">
          <ac:chgData name="Byers, Irina (DI CM&amp;MK ST&amp;B)" userId="c4804133-f4a2-4dfa-aebf-50bcba4f7380" providerId="ADAL" clId="{6D5F49AD-1180-3446-9150-E4337F743C9C}" dt="2024-05-29T20:41:44.298" v="1771"/>
          <ac:spMkLst>
            <pc:docMk/>
            <pc:sldMk cId="965640219" sldId="2147483462"/>
            <ac:spMk id="39" creationId="{AD916FBF-CC77-863D-801C-6AB8A513D4AA}"/>
          </ac:spMkLst>
        </pc:spChg>
        <pc:spChg chg="add del mod modVis">
          <ac:chgData name="Byers, Irina (DI CM&amp;MK ST&amp;B)" userId="c4804133-f4a2-4dfa-aebf-50bcba4f7380" providerId="ADAL" clId="{6D5F49AD-1180-3446-9150-E4337F743C9C}" dt="2024-05-29T20:41:55.516" v="1813"/>
          <ac:spMkLst>
            <pc:docMk/>
            <pc:sldMk cId="965640219" sldId="2147483462"/>
            <ac:spMk id="40" creationId="{9AF9A749-C24D-0EEF-02BD-3D8DF191FC88}"/>
          </ac:spMkLst>
        </pc:spChg>
        <pc:graphicFrameChg chg="mod">
          <ac:chgData name="Byers, Irina (DI CM&amp;MK ST&amp;B)" userId="c4804133-f4a2-4dfa-aebf-50bcba4f7380" providerId="ADAL" clId="{6D5F49AD-1180-3446-9150-E4337F743C9C}" dt="2024-05-31T18:53:12.484" v="7357"/>
          <ac:graphicFrameMkLst>
            <pc:docMk/>
            <pc:sldMk cId="965640219" sldId="2147483462"/>
            <ac:graphicFrameMk id="4" creationId="{1315F84D-C954-3C4D-7EF4-923965CEB515}"/>
          </ac:graphicFrameMkLst>
        </pc:graphicFrameChg>
        <pc:picChg chg="add del mod modCrop">
          <ac:chgData name="Byers, Irina (DI CM&amp;MK ST&amp;B)" userId="c4804133-f4a2-4dfa-aebf-50bcba4f7380" providerId="ADAL" clId="{6D5F49AD-1180-3446-9150-E4337F743C9C}" dt="2024-05-29T20:33:09.122" v="729" actId="478"/>
          <ac:picMkLst>
            <pc:docMk/>
            <pc:sldMk cId="965640219" sldId="2147483462"/>
            <ac:picMk id="3" creationId="{DA42032B-E212-9FF0-5A7F-8F77E45CF093}"/>
          </ac:picMkLst>
        </pc:picChg>
        <pc:picChg chg="add mod modCrop">
          <ac:chgData name="Byers, Irina (DI CM&amp;MK ST&amp;B)" userId="c4804133-f4a2-4dfa-aebf-50bcba4f7380" providerId="ADAL" clId="{6D5F49AD-1180-3446-9150-E4337F743C9C}" dt="2024-05-31T16:59:22.415" v="6922" actId="732"/>
          <ac:picMkLst>
            <pc:docMk/>
            <pc:sldMk cId="965640219" sldId="2147483462"/>
            <ac:picMk id="8" creationId="{295960A4-CF95-0C33-02BF-43715AEAE297}"/>
          </ac:picMkLst>
        </pc:picChg>
        <pc:picChg chg="add del mod">
          <ac:chgData name="Byers, Irina (DI CM&amp;MK ST&amp;B)" userId="c4804133-f4a2-4dfa-aebf-50bcba4f7380" providerId="ADAL" clId="{6D5F49AD-1180-3446-9150-E4337F743C9C}" dt="2024-05-30T18:09:26.785" v="5818" actId="478"/>
          <ac:picMkLst>
            <pc:docMk/>
            <pc:sldMk cId="965640219" sldId="2147483462"/>
            <ac:picMk id="10" creationId="{FD698489-E83F-C55B-20C1-20B510293758}"/>
          </ac:picMkLst>
        </pc:picChg>
        <pc:picChg chg="del">
          <ac:chgData name="Byers, Irina (DI CM&amp;MK ST&amp;B)" userId="c4804133-f4a2-4dfa-aebf-50bcba4f7380" providerId="ADAL" clId="{6D5F49AD-1180-3446-9150-E4337F743C9C}" dt="2024-05-29T20:31:43.573" v="717" actId="478"/>
          <ac:picMkLst>
            <pc:docMk/>
            <pc:sldMk cId="965640219" sldId="2147483462"/>
            <ac:picMk id="20" creationId="{9FBDA3C2-C77B-4C44-5C43-C77E04D7605D}"/>
          </ac:picMkLst>
        </pc:picChg>
      </pc:sldChg>
      <pc:sldChg chg="addSp delSp modSp add mod modTransition setBg modClrScheme modAnim chgLayout">
        <pc:chgData name="Byers, Irina (DI CM&amp;MK ST&amp;B)" userId="c4804133-f4a2-4dfa-aebf-50bcba4f7380" providerId="ADAL" clId="{6D5F49AD-1180-3446-9150-E4337F743C9C}" dt="2024-05-31T18:52:10.406" v="7056"/>
        <pc:sldMkLst>
          <pc:docMk/>
          <pc:sldMk cId="3223252861" sldId="2147483463"/>
        </pc:sldMkLst>
        <pc:spChg chg="mod ord">
          <ac:chgData name="Byers, Irina (DI CM&amp;MK ST&amp;B)" userId="c4804133-f4a2-4dfa-aebf-50bcba4f7380" providerId="ADAL" clId="{6D5F49AD-1180-3446-9150-E4337F743C9C}" dt="2024-05-29T21:32:45.322" v="3421"/>
          <ac:spMkLst>
            <pc:docMk/>
            <pc:sldMk cId="3223252861" sldId="2147483463"/>
            <ac:spMk id="2" creationId="{C0AF3930-36E8-051F-018C-4471C08F9E89}"/>
          </ac:spMkLst>
        </pc:spChg>
        <pc:spChg chg="add del mod">
          <ac:chgData name="Byers, Irina (DI CM&amp;MK ST&amp;B)" userId="c4804133-f4a2-4dfa-aebf-50bcba4f7380" providerId="ADAL" clId="{6D5F49AD-1180-3446-9150-E4337F743C9C}" dt="2024-05-29T21:30:39.354" v="3193" actId="478"/>
          <ac:spMkLst>
            <pc:docMk/>
            <pc:sldMk cId="3223252861" sldId="2147483463"/>
            <ac:spMk id="3" creationId="{84EFE2AE-BAAF-B166-72EE-2E9E9B8393DB}"/>
          </ac:spMkLst>
        </pc:spChg>
        <pc:spChg chg="del">
          <ac:chgData name="Byers, Irina (DI CM&amp;MK ST&amp;B)" userId="c4804133-f4a2-4dfa-aebf-50bcba4f7380" providerId="ADAL" clId="{6D5F49AD-1180-3446-9150-E4337F743C9C}" dt="2024-05-29T20:48:54.304" v="1971" actId="478"/>
          <ac:spMkLst>
            <pc:docMk/>
            <pc:sldMk cId="3223252861" sldId="2147483463"/>
            <ac:spMk id="3" creationId="{C6018E8A-8B1D-3269-5F03-DC5B61DA9D08}"/>
          </ac:spMkLst>
        </pc:spChg>
        <pc:spChg chg="mod ord">
          <ac:chgData name="Byers, Irina (DI CM&amp;MK ST&amp;B)" userId="c4804133-f4a2-4dfa-aebf-50bcba4f7380" providerId="ADAL" clId="{6D5F49AD-1180-3446-9150-E4337F743C9C}" dt="2024-05-29T21:32:45.318" v="3420"/>
          <ac:spMkLst>
            <pc:docMk/>
            <pc:sldMk cId="3223252861" sldId="2147483463"/>
            <ac:spMk id="4" creationId="{AEBCBD54-8EA6-1AE6-B075-6407EA8EFE9B}"/>
          </ac:spMkLst>
        </pc:spChg>
        <pc:spChg chg="mod topLvl">
          <ac:chgData name="Byers, Irina (DI CM&amp;MK ST&amp;B)" userId="c4804133-f4a2-4dfa-aebf-50bcba4f7380" providerId="ADAL" clId="{6D5F49AD-1180-3446-9150-E4337F743C9C}" dt="2024-05-30T18:18:32.651" v="5873" actId="164"/>
          <ac:spMkLst>
            <pc:docMk/>
            <pc:sldMk cId="3223252861" sldId="2147483463"/>
            <ac:spMk id="5" creationId="{89C8C170-4908-321A-AB83-894B3055C206}"/>
          </ac:spMkLst>
        </pc:spChg>
        <pc:spChg chg="add del mod modVis">
          <ac:chgData name="Byers, Irina (DI CM&amp;MK ST&amp;B)" userId="c4804133-f4a2-4dfa-aebf-50bcba4f7380" providerId="ADAL" clId="{6D5F49AD-1180-3446-9150-E4337F743C9C}" dt="2024-05-29T21:22:25.503" v="2617"/>
          <ac:spMkLst>
            <pc:docMk/>
            <pc:sldMk cId="3223252861" sldId="2147483463"/>
            <ac:spMk id="6" creationId="{325F0211-6EE5-59EA-E3D7-FCD9C3741219}"/>
          </ac:spMkLst>
        </pc:spChg>
        <pc:spChg chg="mod topLvl">
          <ac:chgData name="Byers, Irina (DI CM&amp;MK ST&amp;B)" userId="c4804133-f4a2-4dfa-aebf-50bcba4f7380" providerId="ADAL" clId="{6D5F49AD-1180-3446-9150-E4337F743C9C}" dt="2024-05-30T18:18:32.651" v="5873" actId="164"/>
          <ac:spMkLst>
            <pc:docMk/>
            <pc:sldMk cId="3223252861" sldId="2147483463"/>
            <ac:spMk id="7" creationId="{368EA0E7-CF70-BC65-D1CA-A1DC164079D7}"/>
          </ac:spMkLst>
        </pc:spChg>
        <pc:spChg chg="mod topLvl">
          <ac:chgData name="Byers, Irina (DI CM&amp;MK ST&amp;B)" userId="c4804133-f4a2-4dfa-aebf-50bcba4f7380" providerId="ADAL" clId="{6D5F49AD-1180-3446-9150-E4337F743C9C}" dt="2024-05-30T18:18:32.651" v="5873" actId="164"/>
          <ac:spMkLst>
            <pc:docMk/>
            <pc:sldMk cId="3223252861" sldId="2147483463"/>
            <ac:spMk id="8" creationId="{A68C984D-106F-4FDD-DE74-534202DBAEEA}"/>
          </ac:spMkLst>
        </pc:spChg>
        <pc:spChg chg="mod topLvl">
          <ac:chgData name="Byers, Irina (DI CM&amp;MK ST&amp;B)" userId="c4804133-f4a2-4dfa-aebf-50bcba4f7380" providerId="ADAL" clId="{6D5F49AD-1180-3446-9150-E4337F743C9C}" dt="2024-05-30T18:18:32.651" v="5873" actId="164"/>
          <ac:spMkLst>
            <pc:docMk/>
            <pc:sldMk cId="3223252861" sldId="2147483463"/>
            <ac:spMk id="9" creationId="{6A914F7B-0690-16C2-53E5-455C22C4E3FD}"/>
          </ac:spMkLst>
        </pc:spChg>
        <pc:spChg chg="mod topLvl">
          <ac:chgData name="Byers, Irina (DI CM&amp;MK ST&amp;B)" userId="c4804133-f4a2-4dfa-aebf-50bcba4f7380" providerId="ADAL" clId="{6D5F49AD-1180-3446-9150-E4337F743C9C}" dt="2024-05-30T18:18:32.651" v="5873" actId="164"/>
          <ac:spMkLst>
            <pc:docMk/>
            <pc:sldMk cId="3223252861" sldId="2147483463"/>
            <ac:spMk id="11" creationId="{C712CA3D-43D0-6984-1000-D12CCCCFEE35}"/>
          </ac:spMkLst>
        </pc:spChg>
        <pc:spChg chg="mod topLvl">
          <ac:chgData name="Byers, Irina (DI CM&amp;MK ST&amp;B)" userId="c4804133-f4a2-4dfa-aebf-50bcba4f7380" providerId="ADAL" clId="{6D5F49AD-1180-3446-9150-E4337F743C9C}" dt="2024-05-30T18:18:32.651" v="5873" actId="164"/>
          <ac:spMkLst>
            <pc:docMk/>
            <pc:sldMk cId="3223252861" sldId="2147483463"/>
            <ac:spMk id="13" creationId="{91B3DE33-17EF-6736-11A4-4D6B7715E936}"/>
          </ac:spMkLst>
        </pc:spChg>
        <pc:spChg chg="add del mod">
          <ac:chgData name="Byers, Irina (DI CM&amp;MK ST&amp;B)" userId="c4804133-f4a2-4dfa-aebf-50bcba4f7380" providerId="ADAL" clId="{6D5F49AD-1180-3446-9150-E4337F743C9C}" dt="2024-05-29T21:27:17.655" v="2940"/>
          <ac:spMkLst>
            <pc:docMk/>
            <pc:sldMk cId="3223252861" sldId="2147483463"/>
            <ac:spMk id="15" creationId="{6ED7C4DC-FE87-7DA3-9BAD-BBB92E3B7509}"/>
          </ac:spMkLst>
        </pc:spChg>
        <pc:spChg chg="add del mod">
          <ac:chgData name="Byers, Irina (DI CM&amp;MK ST&amp;B)" userId="c4804133-f4a2-4dfa-aebf-50bcba4f7380" providerId="ADAL" clId="{6D5F49AD-1180-3446-9150-E4337F743C9C}" dt="2024-05-29T21:27:32.723" v="2943"/>
          <ac:spMkLst>
            <pc:docMk/>
            <pc:sldMk cId="3223252861" sldId="2147483463"/>
            <ac:spMk id="16" creationId="{B942004D-A235-FFB4-4D7F-C7C987D9F1CC}"/>
          </ac:spMkLst>
        </pc:spChg>
        <pc:spChg chg="add del mod">
          <ac:chgData name="Byers, Irina (DI CM&amp;MK ST&amp;B)" userId="c4804133-f4a2-4dfa-aebf-50bcba4f7380" providerId="ADAL" clId="{6D5F49AD-1180-3446-9150-E4337F743C9C}" dt="2024-05-29T21:29:35.320" v="2947"/>
          <ac:spMkLst>
            <pc:docMk/>
            <pc:sldMk cId="3223252861" sldId="2147483463"/>
            <ac:spMk id="17" creationId="{0981E3FD-D723-5A15-EB83-EE47334A45C5}"/>
          </ac:spMkLst>
        </pc:spChg>
        <pc:spChg chg="add del mod modVis">
          <ac:chgData name="Byers, Irina (DI CM&amp;MK ST&amp;B)" userId="c4804133-f4a2-4dfa-aebf-50bcba4f7380" providerId="ADAL" clId="{6D5F49AD-1180-3446-9150-E4337F743C9C}" dt="2024-05-29T21:30:34.239" v="3189"/>
          <ac:spMkLst>
            <pc:docMk/>
            <pc:sldMk cId="3223252861" sldId="2147483463"/>
            <ac:spMk id="18" creationId="{941B97F4-0216-1F3B-3E8C-782172A4D710}"/>
          </ac:spMkLst>
        </pc:spChg>
        <pc:spChg chg="add del mod modVis">
          <ac:chgData name="Byers, Irina (DI CM&amp;MK ST&amp;B)" userId="c4804133-f4a2-4dfa-aebf-50bcba4f7380" providerId="ADAL" clId="{6D5F49AD-1180-3446-9150-E4337F743C9C}" dt="2024-05-29T21:50:54.417" v="3480"/>
          <ac:spMkLst>
            <pc:docMk/>
            <pc:sldMk cId="3223252861" sldId="2147483463"/>
            <ac:spMk id="19" creationId="{CBC82304-640D-5A19-6457-EAC9C7B3837A}"/>
          </ac:spMkLst>
        </pc:spChg>
        <pc:spChg chg="mod topLvl">
          <ac:chgData name="Byers, Irina (DI CM&amp;MK ST&amp;B)" userId="c4804133-f4a2-4dfa-aebf-50bcba4f7380" providerId="ADAL" clId="{6D5F49AD-1180-3446-9150-E4337F743C9C}" dt="2024-05-30T18:18:32.651" v="5873" actId="164"/>
          <ac:spMkLst>
            <pc:docMk/>
            <pc:sldMk cId="3223252861" sldId="2147483463"/>
            <ac:spMk id="55" creationId="{C7AD7365-2E06-04FE-1F1D-08DA47C7C643}"/>
          </ac:spMkLst>
        </pc:spChg>
        <pc:spChg chg="mod topLvl">
          <ac:chgData name="Byers, Irina (DI CM&amp;MK ST&amp;B)" userId="c4804133-f4a2-4dfa-aebf-50bcba4f7380" providerId="ADAL" clId="{6D5F49AD-1180-3446-9150-E4337F743C9C}" dt="2024-05-30T18:18:32.651" v="5873" actId="164"/>
          <ac:spMkLst>
            <pc:docMk/>
            <pc:sldMk cId="3223252861" sldId="2147483463"/>
            <ac:spMk id="56" creationId="{D1D30A45-9EBC-4D42-EE63-EFF27801B872}"/>
          </ac:spMkLst>
        </pc:spChg>
        <pc:spChg chg="mod topLvl">
          <ac:chgData name="Byers, Irina (DI CM&amp;MK ST&amp;B)" userId="c4804133-f4a2-4dfa-aebf-50bcba4f7380" providerId="ADAL" clId="{6D5F49AD-1180-3446-9150-E4337F743C9C}" dt="2024-05-30T18:18:32.651" v="5873" actId="164"/>
          <ac:spMkLst>
            <pc:docMk/>
            <pc:sldMk cId="3223252861" sldId="2147483463"/>
            <ac:spMk id="57" creationId="{2A7C2168-EE31-4A45-F531-486BF0605A2A}"/>
          </ac:spMkLst>
        </pc:spChg>
        <pc:spChg chg="mod ord">
          <ac:chgData name="Byers, Irina (DI CM&amp;MK ST&amp;B)" userId="c4804133-f4a2-4dfa-aebf-50bcba4f7380" providerId="ADAL" clId="{6D5F49AD-1180-3446-9150-E4337F743C9C}" dt="2024-05-29T21:50:54.382" v="3456" actId="948"/>
          <ac:spMkLst>
            <pc:docMk/>
            <pc:sldMk cId="3223252861" sldId="2147483463"/>
            <ac:spMk id="58" creationId="{6CA26D9B-2DEA-0801-DAD3-7F8A5673C752}"/>
          </ac:spMkLst>
        </pc:spChg>
        <pc:spChg chg="mod topLvl">
          <ac:chgData name="Byers, Irina (DI CM&amp;MK ST&amp;B)" userId="c4804133-f4a2-4dfa-aebf-50bcba4f7380" providerId="ADAL" clId="{6D5F49AD-1180-3446-9150-E4337F743C9C}" dt="2024-05-30T18:18:32.651" v="5873" actId="164"/>
          <ac:spMkLst>
            <pc:docMk/>
            <pc:sldMk cId="3223252861" sldId="2147483463"/>
            <ac:spMk id="59" creationId="{E4A66C49-4A79-DDFB-2169-0747B6CB05D9}"/>
          </ac:spMkLst>
        </pc:spChg>
        <pc:spChg chg="mod topLvl">
          <ac:chgData name="Byers, Irina (DI CM&amp;MK ST&amp;B)" userId="c4804133-f4a2-4dfa-aebf-50bcba4f7380" providerId="ADAL" clId="{6D5F49AD-1180-3446-9150-E4337F743C9C}" dt="2024-05-30T18:18:32.651" v="5873" actId="164"/>
          <ac:spMkLst>
            <pc:docMk/>
            <pc:sldMk cId="3223252861" sldId="2147483463"/>
            <ac:spMk id="60" creationId="{EED203BF-E0EE-03EB-20A8-3EFAD4673E8F}"/>
          </ac:spMkLst>
        </pc:spChg>
        <pc:spChg chg="mod topLvl">
          <ac:chgData name="Byers, Irina (DI CM&amp;MK ST&amp;B)" userId="c4804133-f4a2-4dfa-aebf-50bcba4f7380" providerId="ADAL" clId="{6D5F49AD-1180-3446-9150-E4337F743C9C}" dt="2024-05-30T18:18:32.651" v="5873" actId="164"/>
          <ac:spMkLst>
            <pc:docMk/>
            <pc:sldMk cId="3223252861" sldId="2147483463"/>
            <ac:spMk id="61" creationId="{7A1FF6EA-B3BA-FBB2-78D5-A5E8ECDAC6D8}"/>
          </ac:spMkLst>
        </pc:spChg>
        <pc:spChg chg="mod topLvl">
          <ac:chgData name="Byers, Irina (DI CM&amp;MK ST&amp;B)" userId="c4804133-f4a2-4dfa-aebf-50bcba4f7380" providerId="ADAL" clId="{6D5F49AD-1180-3446-9150-E4337F743C9C}" dt="2024-05-30T18:18:32.651" v="5873" actId="164"/>
          <ac:spMkLst>
            <pc:docMk/>
            <pc:sldMk cId="3223252861" sldId="2147483463"/>
            <ac:spMk id="62" creationId="{F66E3093-C7ED-75C8-6F05-4B99A3668305}"/>
          </ac:spMkLst>
        </pc:spChg>
        <pc:spChg chg="mod topLvl">
          <ac:chgData name="Byers, Irina (DI CM&amp;MK ST&amp;B)" userId="c4804133-f4a2-4dfa-aebf-50bcba4f7380" providerId="ADAL" clId="{6D5F49AD-1180-3446-9150-E4337F743C9C}" dt="2024-05-30T18:18:32.651" v="5873" actId="164"/>
          <ac:spMkLst>
            <pc:docMk/>
            <pc:sldMk cId="3223252861" sldId="2147483463"/>
            <ac:spMk id="63" creationId="{B1362378-D655-380D-81D2-3A80E5B06A45}"/>
          </ac:spMkLst>
        </pc:spChg>
        <pc:spChg chg="mod topLvl">
          <ac:chgData name="Byers, Irina (DI CM&amp;MK ST&amp;B)" userId="c4804133-f4a2-4dfa-aebf-50bcba4f7380" providerId="ADAL" clId="{6D5F49AD-1180-3446-9150-E4337F743C9C}" dt="2024-05-30T18:18:32.651" v="5873" actId="164"/>
          <ac:spMkLst>
            <pc:docMk/>
            <pc:sldMk cId="3223252861" sldId="2147483463"/>
            <ac:spMk id="65" creationId="{6741C3E6-F298-3A66-5B5C-18EE19DBDDBA}"/>
          </ac:spMkLst>
        </pc:spChg>
        <pc:spChg chg="mod topLvl">
          <ac:chgData name="Byers, Irina (DI CM&amp;MK ST&amp;B)" userId="c4804133-f4a2-4dfa-aebf-50bcba4f7380" providerId="ADAL" clId="{6D5F49AD-1180-3446-9150-E4337F743C9C}" dt="2024-05-30T18:18:32.651" v="5873" actId="164"/>
          <ac:spMkLst>
            <pc:docMk/>
            <pc:sldMk cId="3223252861" sldId="2147483463"/>
            <ac:spMk id="66" creationId="{DE1C0029-8FE7-1B10-555A-D2ABF8704391}"/>
          </ac:spMkLst>
        </pc:spChg>
        <pc:spChg chg="mod topLvl">
          <ac:chgData name="Byers, Irina (DI CM&amp;MK ST&amp;B)" userId="c4804133-f4a2-4dfa-aebf-50bcba4f7380" providerId="ADAL" clId="{6D5F49AD-1180-3446-9150-E4337F743C9C}" dt="2024-05-30T18:18:32.651" v="5873" actId="164"/>
          <ac:spMkLst>
            <pc:docMk/>
            <pc:sldMk cId="3223252861" sldId="2147483463"/>
            <ac:spMk id="67" creationId="{88C88A7C-EC64-923C-0F9F-3D59638C926C}"/>
          </ac:spMkLst>
        </pc:spChg>
        <pc:spChg chg="mod topLvl">
          <ac:chgData name="Byers, Irina (DI CM&amp;MK ST&amp;B)" userId="c4804133-f4a2-4dfa-aebf-50bcba4f7380" providerId="ADAL" clId="{6D5F49AD-1180-3446-9150-E4337F743C9C}" dt="2024-05-30T18:18:32.651" v="5873" actId="164"/>
          <ac:spMkLst>
            <pc:docMk/>
            <pc:sldMk cId="3223252861" sldId="2147483463"/>
            <ac:spMk id="68" creationId="{68D5BFB2-AEE0-BF3E-C899-CDCAB67EBFB8}"/>
          </ac:spMkLst>
        </pc:spChg>
        <pc:spChg chg="mod topLvl">
          <ac:chgData name="Byers, Irina (DI CM&amp;MK ST&amp;B)" userId="c4804133-f4a2-4dfa-aebf-50bcba4f7380" providerId="ADAL" clId="{6D5F49AD-1180-3446-9150-E4337F743C9C}" dt="2024-05-30T18:18:32.651" v="5873" actId="164"/>
          <ac:spMkLst>
            <pc:docMk/>
            <pc:sldMk cId="3223252861" sldId="2147483463"/>
            <ac:spMk id="69" creationId="{6A23E949-5141-24F4-43A7-1EA06A0AC546}"/>
          </ac:spMkLst>
        </pc:spChg>
        <pc:spChg chg="mod topLvl">
          <ac:chgData name="Byers, Irina (DI CM&amp;MK ST&amp;B)" userId="c4804133-f4a2-4dfa-aebf-50bcba4f7380" providerId="ADAL" clId="{6D5F49AD-1180-3446-9150-E4337F743C9C}" dt="2024-05-30T18:18:32.651" v="5873" actId="164"/>
          <ac:spMkLst>
            <pc:docMk/>
            <pc:sldMk cId="3223252861" sldId="2147483463"/>
            <ac:spMk id="70" creationId="{D07CD76F-45C9-B6C9-57E8-A5857531E356}"/>
          </ac:spMkLst>
        </pc:spChg>
        <pc:grpChg chg="add del mod">
          <ac:chgData name="Byers, Irina (DI CM&amp;MK ST&amp;B)" userId="c4804133-f4a2-4dfa-aebf-50bcba4f7380" providerId="ADAL" clId="{6D5F49AD-1180-3446-9150-E4337F743C9C}" dt="2024-05-30T18:11:25.505" v="5829" actId="165"/>
          <ac:grpSpMkLst>
            <pc:docMk/>
            <pc:sldMk cId="3223252861" sldId="2147483463"/>
            <ac:grpSpMk id="20" creationId="{75969CBE-37F7-1F40-F9B0-BABDFB5A0EA5}"/>
          </ac:grpSpMkLst>
        </pc:grpChg>
        <pc:grpChg chg="add mod">
          <ac:chgData name="Byers, Irina (DI CM&amp;MK ST&amp;B)" userId="c4804133-f4a2-4dfa-aebf-50bcba4f7380" providerId="ADAL" clId="{6D5F49AD-1180-3446-9150-E4337F743C9C}" dt="2024-05-30T18:18:32.651" v="5873" actId="164"/>
          <ac:grpSpMkLst>
            <pc:docMk/>
            <pc:sldMk cId="3223252861" sldId="2147483463"/>
            <ac:grpSpMk id="21" creationId="{87835D61-258A-B016-036E-9547077DE42C}"/>
          </ac:grpSpMkLst>
        </pc:grpChg>
        <pc:graphicFrameChg chg="add mod modVis replST">
          <ac:chgData name="Byers, Irina (DI CM&amp;MK ST&amp;B)" userId="c4804133-f4a2-4dfa-aebf-50bcba4f7380" providerId="ADAL" clId="{6D5F49AD-1180-3446-9150-E4337F743C9C}" dt="2024-05-29T21:50:54.423" v="3482"/>
          <ac:graphicFrameMkLst>
            <pc:docMk/>
            <pc:sldMk cId="3223252861" sldId="2147483463"/>
            <ac:graphicFrameMk id="10" creationId="{3B5079E6-2756-0C18-2600-2B78CAE3BC66}"/>
          </ac:graphicFrameMkLst>
        </pc:graphicFrameChg>
        <pc:picChg chg="add del mod">
          <ac:chgData name="Byers, Irina (DI CM&amp;MK ST&amp;B)" userId="c4804133-f4a2-4dfa-aebf-50bcba4f7380" providerId="ADAL" clId="{6D5F49AD-1180-3446-9150-E4337F743C9C}" dt="2024-05-29T21:32:49.929" v="3448" actId="478"/>
          <ac:picMkLst>
            <pc:docMk/>
            <pc:sldMk cId="3223252861" sldId="2147483463"/>
            <ac:picMk id="14" creationId="{71850532-2C8F-A519-E314-A41432CE3BB8}"/>
          </ac:picMkLst>
        </pc:picChg>
        <pc:picChg chg="del mod">
          <ac:chgData name="Byers, Irina (DI CM&amp;MK ST&amp;B)" userId="c4804133-f4a2-4dfa-aebf-50bcba4f7380" providerId="ADAL" clId="{6D5F49AD-1180-3446-9150-E4337F743C9C}" dt="2024-05-29T20:48:58.235" v="1973" actId="478"/>
          <ac:picMkLst>
            <pc:docMk/>
            <pc:sldMk cId="3223252861" sldId="2147483463"/>
            <ac:picMk id="71" creationId="{883F1B68-8919-D110-94CB-4083AD8A1532}"/>
          </ac:picMkLst>
        </pc:picChg>
      </pc:sldChg>
      <pc:sldChg chg="add mod modShow">
        <pc:chgData name="Byers, Irina (DI CM&amp;MK ST&amp;B)" userId="c4804133-f4a2-4dfa-aebf-50bcba4f7380" providerId="ADAL" clId="{6D5F49AD-1180-3446-9150-E4337F743C9C}" dt="2024-05-30T15:40:25.021" v="3878" actId="729"/>
        <pc:sldMkLst>
          <pc:docMk/>
          <pc:sldMk cId="1837274132" sldId="2147483464"/>
        </pc:sldMkLst>
      </pc:sldChg>
      <pc:sldChg chg="modSp add mod modAnim">
        <pc:chgData name="Byers, Irina (DI CM&amp;MK ST&amp;B)" userId="c4804133-f4a2-4dfa-aebf-50bcba4f7380" providerId="ADAL" clId="{6D5F49AD-1180-3446-9150-E4337F743C9C}" dt="2024-05-31T18:15:40.213" v="7025"/>
        <pc:sldMkLst>
          <pc:docMk/>
          <pc:sldMk cId="2705715164" sldId="2147483465"/>
        </pc:sldMkLst>
        <pc:spChg chg="mod">
          <ac:chgData name="Byers, Irina (DI CM&amp;MK ST&amp;B)" userId="c4804133-f4a2-4dfa-aebf-50bcba4f7380" providerId="ADAL" clId="{6D5F49AD-1180-3446-9150-E4337F743C9C}" dt="2024-05-30T17:56:37.274" v="5737" actId="14100"/>
          <ac:spMkLst>
            <pc:docMk/>
            <pc:sldMk cId="2705715164" sldId="2147483465"/>
            <ac:spMk id="9" creationId="{1192559B-7EB7-469A-BC41-8FE2AC9E39F4}"/>
          </ac:spMkLst>
        </pc:spChg>
        <pc:spChg chg="mod">
          <ac:chgData name="Byers, Irina (DI CM&amp;MK ST&amp;B)" userId="c4804133-f4a2-4dfa-aebf-50bcba4f7380" providerId="ADAL" clId="{6D5F49AD-1180-3446-9150-E4337F743C9C}" dt="2024-05-31T18:09:26.118" v="6967" actId="1076"/>
          <ac:spMkLst>
            <pc:docMk/>
            <pc:sldMk cId="2705715164" sldId="2147483465"/>
            <ac:spMk id="10" creationId="{C0CF1D99-EB81-9D83-07DE-567AE91C14DC}"/>
          </ac:spMkLst>
        </pc:spChg>
        <pc:spChg chg="mod">
          <ac:chgData name="Byers, Irina (DI CM&amp;MK ST&amp;B)" userId="c4804133-f4a2-4dfa-aebf-50bcba4f7380" providerId="ADAL" clId="{6D5F49AD-1180-3446-9150-E4337F743C9C}" dt="2024-05-29T22:05:20.242" v="3666" actId="207"/>
          <ac:spMkLst>
            <pc:docMk/>
            <pc:sldMk cId="2705715164" sldId="2147483465"/>
            <ac:spMk id="11" creationId="{C3B9B201-59F3-FE8D-8AFA-460A03B6677F}"/>
          </ac:spMkLst>
        </pc:spChg>
        <pc:picChg chg="mod">
          <ac:chgData name="Byers, Irina (DI CM&amp;MK ST&amp;B)" userId="c4804133-f4a2-4dfa-aebf-50bcba4f7380" providerId="ADAL" clId="{6D5F49AD-1180-3446-9150-E4337F743C9C}" dt="2024-05-31T18:09:26.118" v="6967" actId="1076"/>
          <ac:picMkLst>
            <pc:docMk/>
            <pc:sldMk cId="2705715164" sldId="2147483465"/>
            <ac:picMk id="6" creationId="{27426BD8-B295-992F-A173-E4C4C4E49AE5}"/>
          </ac:picMkLst>
        </pc:picChg>
      </pc:sldChg>
      <pc:sldChg chg="addSp delSp modSp add del mod setBg">
        <pc:chgData name="Byers, Irina (DI CM&amp;MK ST&amp;B)" userId="c4804133-f4a2-4dfa-aebf-50bcba4f7380" providerId="ADAL" clId="{6D5F49AD-1180-3446-9150-E4337F743C9C}" dt="2024-05-31T15:48:46.104" v="6232" actId="2696"/>
        <pc:sldMkLst>
          <pc:docMk/>
          <pc:sldMk cId="70702121" sldId="2147483466"/>
        </pc:sldMkLst>
        <pc:spChg chg="del">
          <ac:chgData name="Byers, Irina (DI CM&amp;MK ST&amp;B)" userId="c4804133-f4a2-4dfa-aebf-50bcba4f7380" providerId="ADAL" clId="{6D5F49AD-1180-3446-9150-E4337F743C9C}" dt="2024-05-30T17:43:21.341" v="5639" actId="478"/>
          <ac:spMkLst>
            <pc:docMk/>
            <pc:sldMk cId="70702121" sldId="2147483466"/>
            <ac:spMk id="2" creationId="{08AE8BB8-70A8-E057-F5D5-9A5B855E9637}"/>
          </ac:spMkLst>
        </pc:spChg>
        <pc:spChg chg="del">
          <ac:chgData name="Byers, Irina (DI CM&amp;MK ST&amp;B)" userId="c4804133-f4a2-4dfa-aebf-50bcba4f7380" providerId="ADAL" clId="{6D5F49AD-1180-3446-9150-E4337F743C9C}" dt="2024-05-30T17:50:36.137" v="5708" actId="478"/>
          <ac:spMkLst>
            <pc:docMk/>
            <pc:sldMk cId="70702121" sldId="2147483466"/>
            <ac:spMk id="3" creationId="{9BADCCA8-1EA3-882A-D11D-7207B6F7FBAA}"/>
          </ac:spMkLst>
        </pc:spChg>
        <pc:spChg chg="mod">
          <ac:chgData name="Byers, Irina (DI CM&amp;MK ST&amp;B)" userId="c4804133-f4a2-4dfa-aebf-50bcba4f7380" providerId="ADAL" clId="{6D5F49AD-1180-3446-9150-E4337F743C9C}" dt="2024-05-30T19:28:30.309" v="5879" actId="1076"/>
          <ac:spMkLst>
            <pc:docMk/>
            <pc:sldMk cId="70702121" sldId="2147483466"/>
            <ac:spMk id="4" creationId="{CAE6E98C-1E51-D524-41AE-BD8E45D9F738}"/>
          </ac:spMkLst>
        </pc:spChg>
        <pc:spChg chg="del">
          <ac:chgData name="Byers, Irina (DI CM&amp;MK ST&amp;B)" userId="c4804133-f4a2-4dfa-aebf-50bcba4f7380" providerId="ADAL" clId="{6D5F49AD-1180-3446-9150-E4337F743C9C}" dt="2024-05-30T16:04:40.560" v="5064" actId="478"/>
          <ac:spMkLst>
            <pc:docMk/>
            <pc:sldMk cId="70702121" sldId="2147483466"/>
            <ac:spMk id="5" creationId="{74CF0812-8C21-954A-8F01-77B2EAB4EBF3}"/>
          </ac:spMkLst>
        </pc:spChg>
        <pc:spChg chg="mod">
          <ac:chgData name="Byers, Irina (DI CM&amp;MK ST&amp;B)" userId="c4804133-f4a2-4dfa-aebf-50bcba4f7380" providerId="ADAL" clId="{6D5F49AD-1180-3446-9150-E4337F743C9C}" dt="2024-05-30T17:43:53.783" v="5644" actId="948"/>
          <ac:spMkLst>
            <pc:docMk/>
            <pc:sldMk cId="70702121" sldId="2147483466"/>
            <ac:spMk id="6" creationId="{B000B6E3-593E-1F66-794D-214111F01C46}"/>
          </ac:spMkLst>
        </pc:spChg>
        <pc:spChg chg="del">
          <ac:chgData name="Byers, Irina (DI CM&amp;MK ST&amp;B)" userId="c4804133-f4a2-4dfa-aebf-50bcba4f7380" providerId="ADAL" clId="{6D5F49AD-1180-3446-9150-E4337F743C9C}" dt="2024-05-30T16:04:45.663" v="5065" actId="478"/>
          <ac:spMkLst>
            <pc:docMk/>
            <pc:sldMk cId="70702121" sldId="2147483466"/>
            <ac:spMk id="7" creationId="{288FE45C-E2CE-9058-81B8-353A6B9DAABC}"/>
          </ac:spMkLst>
        </pc:spChg>
        <pc:spChg chg="del">
          <ac:chgData name="Byers, Irina (DI CM&amp;MK ST&amp;B)" userId="c4804133-f4a2-4dfa-aebf-50bcba4f7380" providerId="ADAL" clId="{6D5F49AD-1180-3446-9150-E4337F743C9C}" dt="2024-05-30T16:04:36.713" v="5063" actId="478"/>
          <ac:spMkLst>
            <pc:docMk/>
            <pc:sldMk cId="70702121" sldId="2147483466"/>
            <ac:spMk id="8" creationId="{098C549B-2562-E66F-C1BC-5E3965D82A66}"/>
          </ac:spMkLst>
        </pc:spChg>
        <pc:spChg chg="del">
          <ac:chgData name="Byers, Irina (DI CM&amp;MK ST&amp;B)" userId="c4804133-f4a2-4dfa-aebf-50bcba4f7380" providerId="ADAL" clId="{6D5F49AD-1180-3446-9150-E4337F743C9C}" dt="2024-05-30T17:43:15.354" v="5638" actId="478"/>
          <ac:spMkLst>
            <pc:docMk/>
            <pc:sldMk cId="70702121" sldId="2147483466"/>
            <ac:spMk id="9" creationId="{EB90DDED-F11D-D03D-E5DF-4147EC654671}"/>
          </ac:spMkLst>
        </pc:spChg>
        <pc:spChg chg="del">
          <ac:chgData name="Byers, Irina (DI CM&amp;MK ST&amp;B)" userId="c4804133-f4a2-4dfa-aebf-50bcba4f7380" providerId="ADAL" clId="{6D5F49AD-1180-3446-9150-E4337F743C9C}" dt="2024-05-30T17:43:24.545" v="5640" actId="478"/>
          <ac:spMkLst>
            <pc:docMk/>
            <pc:sldMk cId="70702121" sldId="2147483466"/>
            <ac:spMk id="11" creationId="{54BE6B2E-FCBE-1406-C73B-559170E83172}"/>
          </ac:spMkLst>
        </pc:spChg>
        <pc:spChg chg="add del mod">
          <ac:chgData name="Byers, Irina (DI CM&amp;MK ST&amp;B)" userId="c4804133-f4a2-4dfa-aebf-50bcba4f7380" providerId="ADAL" clId="{6D5F49AD-1180-3446-9150-E4337F743C9C}" dt="2024-05-30T17:43:03.211" v="5636" actId="478"/>
          <ac:spMkLst>
            <pc:docMk/>
            <pc:sldMk cId="70702121" sldId="2147483466"/>
            <ac:spMk id="13" creationId="{9FF9F59D-CFA6-5E19-6E8E-E1F4287B1028}"/>
          </ac:spMkLst>
        </pc:spChg>
        <pc:spChg chg="add del mod">
          <ac:chgData name="Byers, Irina (DI CM&amp;MK ST&amp;B)" userId="c4804133-f4a2-4dfa-aebf-50bcba4f7380" providerId="ADAL" clId="{6D5F49AD-1180-3446-9150-E4337F743C9C}" dt="2024-05-30T16:04:51.397" v="5068" actId="478"/>
          <ac:spMkLst>
            <pc:docMk/>
            <pc:sldMk cId="70702121" sldId="2147483466"/>
            <ac:spMk id="16" creationId="{D8CE6097-3479-29DF-C506-7A410C4823FA}"/>
          </ac:spMkLst>
        </pc:spChg>
        <pc:spChg chg="add del mod modVis">
          <ac:chgData name="Byers, Irina (DI CM&amp;MK ST&amp;B)" userId="c4804133-f4a2-4dfa-aebf-50bcba4f7380" providerId="ADAL" clId="{6D5F49AD-1180-3446-9150-E4337F743C9C}" dt="2024-05-30T16:19:04.556" v="5210"/>
          <ac:spMkLst>
            <pc:docMk/>
            <pc:sldMk cId="70702121" sldId="2147483466"/>
            <ac:spMk id="17" creationId="{CF533E05-DC0C-C197-F08F-667AAAC8685B}"/>
          </ac:spMkLst>
        </pc:spChg>
        <pc:spChg chg="add del mod modVis">
          <ac:chgData name="Byers, Irina (DI CM&amp;MK ST&amp;B)" userId="c4804133-f4a2-4dfa-aebf-50bcba4f7380" providerId="ADAL" clId="{6D5F49AD-1180-3446-9150-E4337F743C9C}" dt="2024-05-30T16:19:10.547" v="5238"/>
          <ac:spMkLst>
            <pc:docMk/>
            <pc:sldMk cId="70702121" sldId="2147483466"/>
            <ac:spMk id="18" creationId="{C2AEC55A-774C-C2DD-3B6F-80F54A48B18A}"/>
          </ac:spMkLst>
        </pc:spChg>
        <pc:spChg chg="add del mod modVis">
          <ac:chgData name="Byers, Irina (DI CM&amp;MK ST&amp;B)" userId="c4804133-f4a2-4dfa-aebf-50bcba4f7380" providerId="ADAL" clId="{6D5F49AD-1180-3446-9150-E4337F743C9C}" dt="2024-05-30T16:19:13.419" v="5266"/>
          <ac:spMkLst>
            <pc:docMk/>
            <pc:sldMk cId="70702121" sldId="2147483466"/>
            <ac:spMk id="19" creationId="{5DC52BBA-1961-F7CF-ACA9-595F6250C331}"/>
          </ac:spMkLst>
        </pc:spChg>
        <pc:spChg chg="add del mod modVis">
          <ac:chgData name="Byers, Irina (DI CM&amp;MK ST&amp;B)" userId="c4804133-f4a2-4dfa-aebf-50bcba4f7380" providerId="ADAL" clId="{6D5F49AD-1180-3446-9150-E4337F743C9C}" dt="2024-05-30T16:19:48.794" v="5297"/>
          <ac:spMkLst>
            <pc:docMk/>
            <pc:sldMk cId="70702121" sldId="2147483466"/>
            <ac:spMk id="20" creationId="{9C554E44-764E-BDBE-64E0-2BC0FCF4A2A4}"/>
          </ac:spMkLst>
        </pc:spChg>
        <pc:spChg chg="add del mod modVis">
          <ac:chgData name="Byers, Irina (DI CM&amp;MK ST&amp;B)" userId="c4804133-f4a2-4dfa-aebf-50bcba4f7380" providerId="ADAL" clId="{6D5F49AD-1180-3446-9150-E4337F743C9C}" dt="2024-05-30T16:20:28.574" v="5334"/>
          <ac:spMkLst>
            <pc:docMk/>
            <pc:sldMk cId="70702121" sldId="2147483466"/>
            <ac:spMk id="21" creationId="{8C065DFC-1BFD-7A53-52F3-2B413BFC1B15}"/>
          </ac:spMkLst>
        </pc:spChg>
        <pc:spChg chg="add del mod">
          <ac:chgData name="Byers, Irina (DI CM&amp;MK ST&amp;B)" userId="c4804133-f4a2-4dfa-aebf-50bcba4f7380" providerId="ADAL" clId="{6D5F49AD-1180-3446-9150-E4337F743C9C}" dt="2024-05-30T17:40:14.656" v="5588" actId="478"/>
          <ac:spMkLst>
            <pc:docMk/>
            <pc:sldMk cId="70702121" sldId="2147483466"/>
            <ac:spMk id="22" creationId="{503154AC-DCE2-F8A2-D236-1FF9A5617D5A}"/>
          </ac:spMkLst>
        </pc:spChg>
        <pc:spChg chg="add del mod">
          <ac:chgData name="Byers, Irina (DI CM&amp;MK ST&amp;B)" userId="c4804133-f4a2-4dfa-aebf-50bcba4f7380" providerId="ADAL" clId="{6D5F49AD-1180-3446-9150-E4337F743C9C}" dt="2024-05-30T17:40:14.656" v="5588" actId="478"/>
          <ac:spMkLst>
            <pc:docMk/>
            <pc:sldMk cId="70702121" sldId="2147483466"/>
            <ac:spMk id="23" creationId="{3A2AED68-59BE-27E5-123D-4BC94546A4ED}"/>
          </ac:spMkLst>
        </pc:spChg>
        <pc:spChg chg="mod">
          <ac:chgData name="Byers, Irina (DI CM&amp;MK ST&amp;B)" userId="c4804133-f4a2-4dfa-aebf-50bcba4f7380" providerId="ADAL" clId="{6D5F49AD-1180-3446-9150-E4337F743C9C}" dt="2024-05-30T17:40:35.742" v="5590"/>
          <ac:spMkLst>
            <pc:docMk/>
            <pc:sldMk cId="70702121" sldId="2147483466"/>
            <ac:spMk id="25" creationId="{BAD9D157-A534-84FC-B415-98E7E3F5B806}"/>
          </ac:spMkLst>
        </pc:spChg>
        <pc:spChg chg="mod">
          <ac:chgData name="Byers, Irina (DI CM&amp;MK ST&amp;B)" userId="c4804133-f4a2-4dfa-aebf-50bcba4f7380" providerId="ADAL" clId="{6D5F49AD-1180-3446-9150-E4337F743C9C}" dt="2024-05-30T17:40:35.742" v="5590"/>
          <ac:spMkLst>
            <pc:docMk/>
            <pc:sldMk cId="70702121" sldId="2147483466"/>
            <ac:spMk id="26" creationId="{4905D7A4-6127-5B24-5F79-F261C97238B9}"/>
          </ac:spMkLst>
        </pc:spChg>
        <pc:spChg chg="add del mod modVis">
          <ac:chgData name="Byers, Irina (DI CM&amp;MK ST&amp;B)" userId="c4804133-f4a2-4dfa-aebf-50bcba4f7380" providerId="ADAL" clId="{6D5F49AD-1180-3446-9150-E4337F743C9C}" dt="2024-05-30T17:42:46.321" v="5631"/>
          <ac:spMkLst>
            <pc:docMk/>
            <pc:sldMk cId="70702121" sldId="2147483466"/>
            <ac:spMk id="27" creationId="{A1D74ADA-7BD0-3FC2-B0CC-0B71185152F5}"/>
          </ac:spMkLst>
        </pc:spChg>
        <pc:spChg chg="add del mod modVis">
          <ac:chgData name="Byers, Irina (DI CM&amp;MK ST&amp;B)" userId="c4804133-f4a2-4dfa-aebf-50bcba4f7380" providerId="ADAL" clId="{6D5F49AD-1180-3446-9150-E4337F743C9C}" dt="2024-05-30T17:43:53.811" v="5668"/>
          <ac:spMkLst>
            <pc:docMk/>
            <pc:sldMk cId="70702121" sldId="2147483466"/>
            <ac:spMk id="28" creationId="{86F45A92-2C8D-EEEB-50EC-618E4B26BFFB}"/>
          </ac:spMkLst>
        </pc:spChg>
        <pc:spChg chg="add mod">
          <ac:chgData name="Byers, Irina (DI CM&amp;MK ST&amp;B)" userId="c4804133-f4a2-4dfa-aebf-50bcba4f7380" providerId="ADAL" clId="{6D5F49AD-1180-3446-9150-E4337F743C9C}" dt="2024-05-30T17:50:45.682" v="5710" actId="207"/>
          <ac:spMkLst>
            <pc:docMk/>
            <pc:sldMk cId="70702121" sldId="2147483466"/>
            <ac:spMk id="29" creationId="{A04D1B1B-7021-00A6-4447-8A21F8A363B1}"/>
          </ac:spMkLst>
        </pc:spChg>
        <pc:spChg chg="add del mod">
          <ac:chgData name="Byers, Irina (DI CM&amp;MK ST&amp;B)" userId="c4804133-f4a2-4dfa-aebf-50bcba4f7380" providerId="ADAL" clId="{6D5F49AD-1180-3446-9150-E4337F743C9C}" dt="2024-05-30T17:50:39.770" v="5709" actId="478"/>
          <ac:spMkLst>
            <pc:docMk/>
            <pc:sldMk cId="70702121" sldId="2147483466"/>
            <ac:spMk id="30" creationId="{93DA417C-FA22-85D0-1C02-D2EB267D8CC8}"/>
          </ac:spMkLst>
        </pc:spChg>
        <pc:spChg chg="add mod">
          <ac:chgData name="Byers, Irina (DI CM&amp;MK ST&amp;B)" userId="c4804133-f4a2-4dfa-aebf-50bcba4f7380" providerId="ADAL" clId="{6D5F49AD-1180-3446-9150-E4337F743C9C}" dt="2024-05-30T19:28:00.506" v="5878" actId="207"/>
          <ac:spMkLst>
            <pc:docMk/>
            <pc:sldMk cId="70702121" sldId="2147483466"/>
            <ac:spMk id="31" creationId="{2009AA8D-1456-53EB-C1B6-26E90E1772F1}"/>
          </ac:spMkLst>
        </pc:spChg>
        <pc:grpChg chg="add mod">
          <ac:chgData name="Byers, Irina (DI CM&amp;MK ST&amp;B)" userId="c4804133-f4a2-4dfa-aebf-50bcba4f7380" providerId="ADAL" clId="{6D5F49AD-1180-3446-9150-E4337F743C9C}" dt="2024-05-30T17:43:12.387" v="5637" actId="1076"/>
          <ac:grpSpMkLst>
            <pc:docMk/>
            <pc:sldMk cId="70702121" sldId="2147483466"/>
            <ac:grpSpMk id="24" creationId="{001F5967-A12F-D44E-8673-E6D5E0437624}"/>
          </ac:grpSpMkLst>
        </pc:grpChg>
        <pc:graphicFrameChg chg="mod">
          <ac:chgData name="Byers, Irina (DI CM&amp;MK ST&amp;B)" userId="c4804133-f4a2-4dfa-aebf-50bcba4f7380" providerId="ADAL" clId="{6D5F49AD-1180-3446-9150-E4337F743C9C}" dt="2024-05-30T17:43:53.816" v="5670"/>
          <ac:graphicFrameMkLst>
            <pc:docMk/>
            <pc:sldMk cId="70702121" sldId="2147483466"/>
            <ac:graphicFrameMk id="10" creationId="{8DEB6DFC-D492-A54D-6477-ADE7EE08C60C}"/>
          </ac:graphicFrameMkLst>
        </pc:graphicFrameChg>
        <pc:picChg chg="mod">
          <ac:chgData name="Byers, Irina (DI CM&amp;MK ST&amp;B)" userId="c4804133-f4a2-4dfa-aebf-50bcba4f7380" providerId="ADAL" clId="{6D5F49AD-1180-3446-9150-E4337F743C9C}" dt="2024-05-30T17:43:32.061" v="5641" actId="29295"/>
          <ac:picMkLst>
            <pc:docMk/>
            <pc:sldMk cId="70702121" sldId="2147483466"/>
            <ac:picMk id="15" creationId="{BC7C17D2-9FE3-1F66-C0B1-3D4A2F288919}"/>
          </ac:picMkLst>
        </pc:picChg>
      </pc:sldChg>
      <pc:sldChg chg="addSp delSp modSp add mod modShow">
        <pc:chgData name="Byers, Irina (DI CM&amp;MK ST&amp;B)" userId="c4804133-f4a2-4dfa-aebf-50bcba4f7380" providerId="ADAL" clId="{6D5F49AD-1180-3446-9150-E4337F743C9C}" dt="2024-05-31T15:52:56.394" v="6278" actId="729"/>
        <pc:sldMkLst>
          <pc:docMk/>
          <pc:sldMk cId="48004048" sldId="2147483467"/>
        </pc:sldMkLst>
        <pc:spChg chg="del">
          <ac:chgData name="Byers, Irina (DI CM&amp;MK ST&amp;B)" userId="c4804133-f4a2-4dfa-aebf-50bcba4f7380" providerId="ADAL" clId="{6D5F49AD-1180-3446-9150-E4337F743C9C}" dt="2024-05-30T17:51:38.455" v="5716" actId="478"/>
          <ac:spMkLst>
            <pc:docMk/>
            <pc:sldMk cId="48004048" sldId="2147483467"/>
            <ac:spMk id="2" creationId="{08AE8BB8-70A8-E057-F5D5-9A5B855E9637}"/>
          </ac:spMkLst>
        </pc:spChg>
        <pc:spChg chg="del">
          <ac:chgData name="Byers, Irina (DI CM&amp;MK ST&amp;B)" userId="c4804133-f4a2-4dfa-aebf-50bcba4f7380" providerId="ADAL" clId="{6D5F49AD-1180-3446-9150-E4337F743C9C}" dt="2024-05-30T17:51:42.988" v="5718" actId="478"/>
          <ac:spMkLst>
            <pc:docMk/>
            <pc:sldMk cId="48004048" sldId="2147483467"/>
            <ac:spMk id="3" creationId="{9BADCCA8-1EA3-882A-D11D-7207B6F7FBAA}"/>
          </ac:spMkLst>
        </pc:spChg>
        <pc:spChg chg="del mod">
          <ac:chgData name="Byers, Irina (DI CM&amp;MK ST&amp;B)" userId="c4804133-f4a2-4dfa-aebf-50bcba4f7380" providerId="ADAL" clId="{6D5F49AD-1180-3446-9150-E4337F743C9C}" dt="2024-05-30T17:51:35.844" v="5715" actId="478"/>
          <ac:spMkLst>
            <pc:docMk/>
            <pc:sldMk cId="48004048" sldId="2147483467"/>
            <ac:spMk id="9" creationId="{EB90DDED-F11D-D03D-E5DF-4147EC654671}"/>
          </ac:spMkLst>
        </pc:spChg>
        <pc:spChg chg="del">
          <ac:chgData name="Byers, Irina (DI CM&amp;MK ST&amp;B)" userId="c4804133-f4a2-4dfa-aebf-50bcba4f7380" providerId="ADAL" clId="{6D5F49AD-1180-3446-9150-E4337F743C9C}" dt="2024-05-30T17:51:40.395" v="5717" actId="478"/>
          <ac:spMkLst>
            <pc:docMk/>
            <pc:sldMk cId="48004048" sldId="2147483467"/>
            <ac:spMk id="11" creationId="{54BE6B2E-FCBE-1406-C73B-559170E83172}"/>
          </ac:spMkLst>
        </pc:spChg>
        <pc:spChg chg="add mod">
          <ac:chgData name="Byers, Irina (DI CM&amp;MK ST&amp;B)" userId="c4804133-f4a2-4dfa-aebf-50bcba4f7380" providerId="ADAL" clId="{6D5F49AD-1180-3446-9150-E4337F743C9C}" dt="2024-05-30T17:53:34.652" v="5728" actId="207"/>
          <ac:spMkLst>
            <pc:docMk/>
            <pc:sldMk cId="48004048" sldId="2147483467"/>
            <ac:spMk id="14" creationId="{AD1A16C2-3DAD-7FAD-8B78-C72CC15272BE}"/>
          </ac:spMkLst>
        </pc:spChg>
        <pc:spChg chg="add mod">
          <ac:chgData name="Byers, Irina (DI CM&amp;MK ST&amp;B)" userId="c4804133-f4a2-4dfa-aebf-50bcba4f7380" providerId="ADAL" clId="{6D5F49AD-1180-3446-9150-E4337F743C9C}" dt="2024-05-30T17:53:34.652" v="5728" actId="207"/>
          <ac:spMkLst>
            <pc:docMk/>
            <pc:sldMk cId="48004048" sldId="2147483467"/>
            <ac:spMk id="16" creationId="{BF4F572C-0026-B544-3D76-06A232402FD8}"/>
          </ac:spMkLst>
        </pc:spChg>
      </pc:sldChg>
      <pc:sldChg chg="modSp add del mod modShow">
        <pc:chgData name="Byers, Irina (DI CM&amp;MK ST&amp;B)" userId="c4804133-f4a2-4dfa-aebf-50bcba4f7380" providerId="ADAL" clId="{6D5F49AD-1180-3446-9150-E4337F743C9C}" dt="2024-05-31T18:51:58.737" v="7055" actId="2696"/>
        <pc:sldMkLst>
          <pc:docMk/>
          <pc:sldMk cId="1634747328" sldId="2147483468"/>
        </pc:sldMkLst>
        <pc:spChg chg="mod">
          <ac:chgData name="Byers, Irina (DI CM&amp;MK ST&amp;B)" userId="c4804133-f4a2-4dfa-aebf-50bcba4f7380" providerId="ADAL" clId="{6D5F49AD-1180-3446-9150-E4337F743C9C}" dt="2024-05-31T18:49:31.575" v="7036" actId="1076"/>
          <ac:spMkLst>
            <pc:docMk/>
            <pc:sldMk cId="1634747328" sldId="2147483468"/>
            <ac:spMk id="13" creationId="{AFE47A25-A959-705D-B6F2-81354C5CD325}"/>
          </ac:spMkLst>
        </pc:spChg>
      </pc:sldChg>
      <pc:sldChg chg="addSp delSp modSp add mod modAnim">
        <pc:chgData name="Byers, Irina (DI CM&amp;MK ST&amp;B)" userId="c4804133-f4a2-4dfa-aebf-50bcba4f7380" providerId="ADAL" clId="{6D5F49AD-1180-3446-9150-E4337F743C9C}" dt="2024-05-31T18:50:12.678" v="7054" actId="29295"/>
        <pc:sldMkLst>
          <pc:docMk/>
          <pc:sldMk cId="2772639810" sldId="2147483469"/>
        </pc:sldMkLst>
        <pc:spChg chg="mod">
          <ac:chgData name="Byers, Irina (DI CM&amp;MK ST&amp;B)" userId="c4804133-f4a2-4dfa-aebf-50bcba4f7380" providerId="ADAL" clId="{6D5F49AD-1180-3446-9150-E4337F743C9C}" dt="2024-05-31T18:49:59.671" v="7043"/>
          <ac:spMkLst>
            <pc:docMk/>
            <pc:sldMk cId="2772639810" sldId="2147483469"/>
            <ac:spMk id="9" creationId="{0B13008E-1321-5ACD-6D6B-E18C998EEEDB}"/>
          </ac:spMkLst>
        </pc:spChg>
        <pc:spChg chg="mod">
          <ac:chgData name="Byers, Irina (DI CM&amp;MK ST&amp;B)" userId="c4804133-f4a2-4dfa-aebf-50bcba4f7380" providerId="ADAL" clId="{6D5F49AD-1180-3446-9150-E4337F743C9C}" dt="2024-05-31T18:49:59.672" v="7045"/>
          <ac:spMkLst>
            <pc:docMk/>
            <pc:sldMk cId="2772639810" sldId="2147483469"/>
            <ac:spMk id="18" creationId="{B358F85B-C967-4BAF-487F-54B850C4D979}"/>
          </ac:spMkLst>
        </pc:spChg>
        <pc:spChg chg="mod">
          <ac:chgData name="Byers, Irina (DI CM&amp;MK ST&amp;B)" userId="c4804133-f4a2-4dfa-aebf-50bcba4f7380" providerId="ADAL" clId="{6D5F49AD-1180-3446-9150-E4337F743C9C}" dt="2024-05-31T18:49:59.672" v="7046"/>
          <ac:spMkLst>
            <pc:docMk/>
            <pc:sldMk cId="2772639810" sldId="2147483469"/>
            <ac:spMk id="19" creationId="{4647465B-FBD7-040E-211C-A7BC053EE638}"/>
          </ac:spMkLst>
        </pc:spChg>
        <pc:grpChg chg="mod">
          <ac:chgData name="Byers, Irina (DI CM&amp;MK ST&amp;B)" userId="c4804133-f4a2-4dfa-aebf-50bcba4f7380" providerId="ADAL" clId="{6D5F49AD-1180-3446-9150-E4337F743C9C}" dt="2024-05-31T18:49:59.672" v="7044"/>
          <ac:grpSpMkLst>
            <pc:docMk/>
            <pc:sldMk cId="2772639810" sldId="2147483469"/>
            <ac:grpSpMk id="14" creationId="{A34893E6-7FEC-4FDF-81DC-9F7FE2E53F76}"/>
          </ac:grpSpMkLst>
        </pc:grpChg>
        <pc:graphicFrameChg chg="mod">
          <ac:chgData name="Byers, Irina (DI CM&amp;MK ST&amp;B)" userId="c4804133-f4a2-4dfa-aebf-50bcba4f7380" providerId="ADAL" clId="{6D5F49AD-1180-3446-9150-E4337F743C9C}" dt="2024-05-31T18:49:59.682" v="7051"/>
          <ac:graphicFrameMkLst>
            <pc:docMk/>
            <pc:sldMk cId="2772639810" sldId="2147483469"/>
            <ac:graphicFrameMk id="24" creationId="{6B64445E-817B-4906-37CB-3493950DF9C2}"/>
          </ac:graphicFrameMkLst>
        </pc:graphicFrameChg>
        <pc:picChg chg="add mod modCrop">
          <ac:chgData name="Byers, Irina (DI CM&amp;MK ST&amp;B)" userId="c4804133-f4a2-4dfa-aebf-50bcba4f7380" providerId="ADAL" clId="{6D5F49AD-1180-3446-9150-E4337F743C9C}" dt="2024-05-31T18:50:12.678" v="7054" actId="29295"/>
          <ac:picMkLst>
            <pc:docMk/>
            <pc:sldMk cId="2772639810" sldId="2147483469"/>
            <ac:picMk id="2" creationId="{52FC4598-74E8-592F-20B9-7C7471D0C4ED}"/>
          </ac:picMkLst>
        </pc:picChg>
        <pc:picChg chg="del mod">
          <ac:chgData name="Byers, Irina (DI CM&amp;MK ST&amp;B)" userId="c4804133-f4a2-4dfa-aebf-50bcba4f7380" providerId="ADAL" clId="{6D5F49AD-1180-3446-9150-E4337F743C9C}" dt="2024-05-31T18:50:06.539" v="7053" actId="478"/>
          <ac:picMkLst>
            <pc:docMk/>
            <pc:sldMk cId="2772639810" sldId="2147483469"/>
            <ac:picMk id="5" creationId="{DED94BC9-1D87-6818-65CE-61EA0A430BE3}"/>
          </ac:picMkLst>
        </pc:picChg>
        <pc:picChg chg="mod">
          <ac:chgData name="Byers, Irina (DI CM&amp;MK ST&amp;B)" userId="c4804133-f4a2-4dfa-aebf-50bcba4f7380" providerId="ADAL" clId="{6D5F49AD-1180-3446-9150-E4337F743C9C}" dt="2024-05-31T18:49:59.673" v="7047"/>
          <ac:picMkLst>
            <pc:docMk/>
            <pc:sldMk cId="2772639810" sldId="2147483469"/>
            <ac:picMk id="25" creationId="{50F41A11-13C6-178A-9F86-A2F7597F087E}"/>
          </ac:picMkLst>
        </pc:picChg>
      </pc:sldChg>
      <pc:sldChg chg="add">
        <pc:chgData name="Byers, Irina (DI CM&amp;MK ST&amp;B)" userId="c4804133-f4a2-4dfa-aebf-50bcba4f7380" providerId="ADAL" clId="{6D5F49AD-1180-3446-9150-E4337F743C9C}" dt="2024-05-31T18:49:29.443" v="7035" actId="2890"/>
        <pc:sldMkLst>
          <pc:docMk/>
          <pc:sldMk cId="3534932908" sldId="2147483470"/>
        </pc:sldMkLst>
      </pc:sldChg>
      <pc:sldMasterChg chg="addSp delSp modSp mod">
        <pc:chgData name="Byers, Irina (DI CM&amp;MK ST&amp;B)" userId="c4804133-f4a2-4dfa-aebf-50bcba4f7380" providerId="ADAL" clId="{6D5F49AD-1180-3446-9150-E4337F743C9C}" dt="2024-05-29T20:03:37.386" v="160"/>
        <pc:sldMasterMkLst>
          <pc:docMk/>
          <pc:sldMasterMk cId="1794147464" sldId="2147484896"/>
        </pc:sldMasterMkLst>
        <pc:spChg chg="mod">
          <ac:chgData name="Byers, Irina (DI CM&amp;MK ST&amp;B)" userId="c4804133-f4a2-4dfa-aebf-50bcba4f7380" providerId="ADAL" clId="{6D5F49AD-1180-3446-9150-E4337F743C9C}" dt="2024-05-29T20:03:37.201" v="74" actId="948"/>
          <ac:spMkLst>
            <pc:docMk/>
            <pc:sldMasterMk cId="1794147464" sldId="2147484896"/>
            <ac:spMk id="2" creationId="{2500D031-E8B7-42AD-B616-57A243A31EFA}"/>
          </ac:spMkLst>
        </pc:spChg>
        <pc:spChg chg="add del mod modVis">
          <ac:chgData name="Byers, Irina (DI CM&amp;MK ST&amp;B)" userId="c4804133-f4a2-4dfa-aebf-50bcba4f7380" providerId="ADAL" clId="{6D5F49AD-1180-3446-9150-E4337F743C9C}" dt="2024-05-29T20:03:37.358" v="146"/>
          <ac:spMkLst>
            <pc:docMk/>
            <pc:sldMasterMk cId="1794147464" sldId="2147484896"/>
            <ac:spMk id="7" creationId="{368CA7BE-DA86-4647-3774-7915075C45D0}"/>
          </ac:spMkLst>
        </pc:spChg>
        <pc:graphicFrameChg chg="add mod modVis replST">
          <ac:chgData name="Byers, Irina (DI CM&amp;MK ST&amp;B)" userId="c4804133-f4a2-4dfa-aebf-50bcba4f7380" providerId="ADAL" clId="{6D5F49AD-1180-3446-9150-E4337F743C9C}" dt="2024-05-29T20:03:37.386" v="160"/>
          <ac:graphicFrameMkLst>
            <pc:docMk/>
            <pc:sldMasterMk cId="1794147464" sldId="2147484896"/>
            <ac:graphicFrameMk id="8" creationId="{281542FE-3960-0CD2-B1A3-082FFAF97F03}"/>
          </ac:graphicFrameMkLst>
        </pc:graphicFrameChg>
      </pc:sldMasterChg>
      <pc:sldMasterChg chg="addSp delSp modSp mod">
        <pc:chgData name="Byers, Irina (DI CM&amp;MK ST&amp;B)" userId="c4804133-f4a2-4dfa-aebf-50bcba4f7380" providerId="ADAL" clId="{6D5F49AD-1180-3446-9150-E4337F743C9C}" dt="2024-05-29T20:03:37.330" v="128"/>
        <pc:sldMasterMkLst>
          <pc:docMk/>
          <pc:sldMasterMk cId="2420266401" sldId="2147485000"/>
        </pc:sldMasterMkLst>
        <pc:spChg chg="mod">
          <ac:chgData name="Byers, Irina (DI CM&amp;MK ST&amp;B)" userId="c4804133-f4a2-4dfa-aebf-50bcba4f7380" providerId="ADAL" clId="{6D5F49AD-1180-3446-9150-E4337F743C9C}" dt="2024-05-29T20:03:37.137" v="26" actId="948"/>
          <ac:spMkLst>
            <pc:docMk/>
            <pc:sldMasterMk cId="2420266401" sldId="2147485000"/>
            <ac:spMk id="2" creationId="{2500D031-E8B7-42AD-B616-57A243A31EFA}"/>
          </ac:spMkLst>
        </pc:spChg>
        <pc:spChg chg="add del mod modVis">
          <ac:chgData name="Byers, Irina (DI CM&amp;MK ST&amp;B)" userId="c4804133-f4a2-4dfa-aebf-50bcba4f7380" providerId="ADAL" clId="{6D5F49AD-1180-3446-9150-E4337F743C9C}" dt="2024-05-29T20:03:37.306" v="114"/>
          <ac:spMkLst>
            <pc:docMk/>
            <pc:sldMasterMk cId="2420266401" sldId="2147485000"/>
            <ac:spMk id="7" creationId="{3AB3A475-2DF5-36B0-59E0-1D9E4F12F57C}"/>
          </ac:spMkLst>
        </pc:spChg>
        <pc:graphicFrameChg chg="add mod modVis replST">
          <ac:chgData name="Byers, Irina (DI CM&amp;MK ST&amp;B)" userId="c4804133-f4a2-4dfa-aebf-50bcba4f7380" providerId="ADAL" clId="{6D5F49AD-1180-3446-9150-E4337F743C9C}" dt="2024-05-29T20:03:37.330" v="128"/>
          <ac:graphicFrameMkLst>
            <pc:docMk/>
            <pc:sldMasterMk cId="2420266401" sldId="2147485000"/>
            <ac:graphicFrameMk id="8" creationId="{0846AB52-81C5-1D7C-C5D4-B2FA698C837E}"/>
          </ac:graphicFrameMkLst>
        </pc:graphicFrameChg>
      </pc:sldMasterChg>
      <pc:sldMasterChg chg="addSp delSp modSp mod">
        <pc:chgData name="Byers, Irina (DI CM&amp;MK ST&amp;B)" userId="c4804133-f4a2-4dfa-aebf-50bcba4f7380" providerId="ADAL" clId="{6D5F49AD-1180-3446-9150-E4337F743C9C}" dt="2024-05-29T20:03:37.304" v="112"/>
        <pc:sldMasterMkLst>
          <pc:docMk/>
          <pc:sldMasterMk cId="2827790234" sldId="2147485057"/>
        </pc:sldMasterMkLst>
        <pc:spChg chg="mod">
          <ac:chgData name="Byers, Irina (DI CM&amp;MK ST&amp;B)" userId="c4804133-f4a2-4dfa-aebf-50bcba4f7380" providerId="ADAL" clId="{6D5F49AD-1180-3446-9150-E4337F743C9C}" dt="2024-05-29T20:03:37.006" v="5" actId="948"/>
          <ac:spMkLst>
            <pc:docMk/>
            <pc:sldMasterMk cId="2827790234" sldId="2147485057"/>
            <ac:spMk id="2" creationId="{2500D031-E8B7-42AD-B616-57A243A31EFA}"/>
          </ac:spMkLst>
        </pc:spChg>
        <pc:spChg chg="add del mod modVis">
          <ac:chgData name="Byers, Irina (DI CM&amp;MK ST&amp;B)" userId="c4804133-f4a2-4dfa-aebf-50bcba4f7380" providerId="ADAL" clId="{6D5F49AD-1180-3446-9150-E4337F743C9C}" dt="2024-05-29T20:03:37.234" v="98"/>
          <ac:spMkLst>
            <pc:docMk/>
            <pc:sldMasterMk cId="2827790234" sldId="2147485057"/>
            <ac:spMk id="4" creationId="{D57BEDB9-D7A9-BD74-8B19-920413E89543}"/>
          </ac:spMkLst>
        </pc:spChg>
        <pc:graphicFrameChg chg="add mod modVis replST">
          <ac:chgData name="Byers, Irina (DI CM&amp;MK ST&amp;B)" userId="c4804133-f4a2-4dfa-aebf-50bcba4f7380" providerId="ADAL" clId="{6D5F49AD-1180-3446-9150-E4337F743C9C}" dt="2024-05-29T20:03:37.304" v="112"/>
          <ac:graphicFrameMkLst>
            <pc:docMk/>
            <pc:sldMasterMk cId="2827790234" sldId="2147485057"/>
            <ac:graphicFrameMk id="7" creationId="{6D7D40E5-2CFF-9917-57E0-85A4E0DC1FA5}"/>
          </ac:graphicFrameMkLst>
        </pc:graphicFrameChg>
      </pc:sldMasterChg>
      <pc:sldMasterChg chg="delSldLayout">
        <pc:chgData name="Byers, Irina (DI CM&amp;MK ST&amp;B)" userId="c4804133-f4a2-4dfa-aebf-50bcba4f7380" providerId="ADAL" clId="{6D5F49AD-1180-3446-9150-E4337F743C9C}" dt="2024-05-30T17:59:45.686" v="5792" actId="2696"/>
        <pc:sldMasterMkLst>
          <pc:docMk/>
          <pc:sldMasterMk cId="2276189643" sldId="2147485277"/>
        </pc:sldMasterMkLst>
        <pc:sldLayoutChg chg="del">
          <pc:chgData name="Byers, Irina (DI CM&amp;MK ST&amp;B)" userId="c4804133-f4a2-4dfa-aebf-50bcba4f7380" providerId="ADAL" clId="{6D5F49AD-1180-3446-9150-E4337F743C9C}" dt="2024-05-30T17:59:45.686" v="5792" actId="2696"/>
          <pc:sldLayoutMkLst>
            <pc:docMk/>
            <pc:sldMasterMk cId="2276189643" sldId="2147485277"/>
            <pc:sldLayoutMk cId="445445213" sldId="2147485357"/>
          </pc:sldLayoutMkLst>
        </pc:sldLayoutChg>
      </pc:sldMasterChg>
    </pc:docChg>
  </pc:docChgLst>
  <pc:docChgLst>
    <pc:chgData name="Byers, Irina (DI CM&amp;MK ST&amp;B)" userId="S::irina.byers@siemens.com::c4804133-f4a2-4dfa-aebf-50bcba4f7380" providerId="AD" clId="Web-{F389C150-1C6D-1342-DA41-35B86DB13CB8}"/>
    <pc:docChg chg="modSld">
      <pc:chgData name="Byers, Irina (DI CM&amp;MK ST&amp;B)" userId="S::irina.byers@siemens.com::c4804133-f4a2-4dfa-aebf-50bcba4f7380" providerId="AD" clId="Web-{F389C150-1C6D-1342-DA41-35B86DB13CB8}" dt="2024-05-29T19:46:57.929" v="7" actId="1076"/>
      <pc:docMkLst>
        <pc:docMk/>
      </pc:docMkLst>
      <pc:sldChg chg="modSp">
        <pc:chgData name="Byers, Irina (DI CM&amp;MK ST&amp;B)" userId="S::irina.byers@siemens.com::c4804133-f4a2-4dfa-aebf-50bcba4f7380" providerId="AD" clId="Web-{F389C150-1C6D-1342-DA41-35B86DB13CB8}" dt="2024-05-29T19:46:57.929" v="7" actId="1076"/>
        <pc:sldMkLst>
          <pc:docMk/>
          <pc:sldMk cId="2204945138" sldId="2147483454"/>
        </pc:sldMkLst>
        <pc:spChg chg="mod">
          <ac:chgData name="Byers, Irina (DI CM&amp;MK ST&amp;B)" userId="S::irina.byers@siemens.com::c4804133-f4a2-4dfa-aebf-50bcba4f7380" providerId="AD" clId="Web-{F389C150-1C6D-1342-DA41-35B86DB13CB8}" dt="2024-05-29T19:46:47.007" v="5" actId="1076"/>
          <ac:spMkLst>
            <pc:docMk/>
            <pc:sldMk cId="2204945138" sldId="2147483454"/>
            <ac:spMk id="9" creationId="{D171D147-EABA-5B4D-C05E-F31ABB4F2807}"/>
          </ac:spMkLst>
        </pc:spChg>
        <pc:picChg chg="mod">
          <ac:chgData name="Byers, Irina (DI CM&amp;MK ST&amp;B)" userId="S::irina.byers@siemens.com::c4804133-f4a2-4dfa-aebf-50bcba4f7380" providerId="AD" clId="Web-{F389C150-1C6D-1342-DA41-35B86DB13CB8}" dt="2024-05-29T19:46:57.929" v="7" actId="1076"/>
          <ac:picMkLst>
            <pc:docMk/>
            <pc:sldMk cId="2204945138" sldId="2147483454"/>
            <ac:picMk id="6" creationId="{1C601C5E-10BC-A967-87A9-7EFE36B28719}"/>
          </ac:picMkLst>
        </pc:picChg>
      </pc:sldChg>
      <pc:sldChg chg="modSp">
        <pc:chgData name="Byers, Irina (DI CM&amp;MK ST&amp;B)" userId="S::irina.byers@siemens.com::c4804133-f4a2-4dfa-aebf-50bcba4f7380" providerId="AD" clId="Web-{F389C150-1C6D-1342-DA41-35B86DB13CB8}" dt="2024-05-29T15:35:33.361" v="4" actId="20577"/>
        <pc:sldMkLst>
          <pc:docMk/>
          <pc:sldMk cId="276816055" sldId="2147483460"/>
        </pc:sldMkLst>
        <pc:spChg chg="mod">
          <ac:chgData name="Byers, Irina (DI CM&amp;MK ST&amp;B)" userId="S::irina.byers@siemens.com::c4804133-f4a2-4dfa-aebf-50bcba4f7380" providerId="AD" clId="Web-{F389C150-1C6D-1342-DA41-35B86DB13CB8}" dt="2024-05-29T15:35:33.361" v="4" actId="20577"/>
          <ac:spMkLst>
            <pc:docMk/>
            <pc:sldMk cId="276816055" sldId="2147483460"/>
            <ac:spMk id="8" creationId="{1B6FBC9A-1422-0D28-9CB1-63F5204FD4FE}"/>
          </ac:spMkLst>
        </pc:spChg>
      </pc:sldChg>
    </pc:docChg>
  </pc:docChgLst>
  <pc:docChgLst>
    <pc:chgData name="Chmil, Irina (ext) (DI SW ST&amp;MK BM BTC)" userId="c4804133-f4a2-4dfa-aebf-50bcba4f7380" providerId="ADAL" clId="{6D5F49AD-1180-3446-9150-E4337F743C9C}"/>
    <pc:docChg chg="undo custSel addSld delSld modSld sldOrd modSection replTag">
      <pc:chgData name="Chmil, Irina (ext) (DI SW ST&amp;MK BM BTC)" userId="c4804133-f4a2-4dfa-aebf-50bcba4f7380" providerId="ADAL" clId="{6D5F49AD-1180-3446-9150-E4337F743C9C}" dt="2024-06-04T22:39:20.163" v="942"/>
      <pc:docMkLst>
        <pc:docMk/>
      </pc:docMkLst>
      <pc:sldChg chg="addSp delSp modSp mod delAnim modAnim">
        <pc:chgData name="Chmil, Irina (ext) (DI SW ST&amp;MK BM BTC)" userId="c4804133-f4a2-4dfa-aebf-50bcba4f7380" providerId="ADAL" clId="{6D5F49AD-1180-3446-9150-E4337F743C9C}" dt="2024-06-04T22:14:51.204" v="846"/>
        <pc:sldMkLst>
          <pc:docMk/>
          <pc:sldMk cId="4034978469" sldId="263"/>
        </pc:sldMkLst>
        <pc:spChg chg="del">
          <ac:chgData name="Chmil, Irina (ext) (DI SW ST&amp;MK BM BTC)" userId="c4804133-f4a2-4dfa-aebf-50bcba4f7380" providerId="ADAL" clId="{6D5F49AD-1180-3446-9150-E4337F743C9C}" dt="2024-06-03T16:41:15.380" v="344" actId="478"/>
          <ac:spMkLst>
            <pc:docMk/>
            <pc:sldMk cId="4034978469" sldId="263"/>
            <ac:spMk id="2" creationId="{F6E54023-9D34-D687-5E86-934AFCC8EA6C}"/>
          </ac:spMkLst>
        </pc:spChg>
        <pc:spChg chg="del">
          <ac:chgData name="Chmil, Irina (ext) (DI SW ST&amp;MK BM BTC)" userId="c4804133-f4a2-4dfa-aebf-50bcba4f7380" providerId="ADAL" clId="{6D5F49AD-1180-3446-9150-E4337F743C9C}" dt="2024-06-03T16:41:10.707" v="343" actId="478"/>
          <ac:spMkLst>
            <pc:docMk/>
            <pc:sldMk cId="4034978469" sldId="263"/>
            <ac:spMk id="3" creationId="{8E23FE03-77CB-4CF7-73EB-3A1C292AF17D}"/>
          </ac:spMkLst>
        </pc:spChg>
        <pc:graphicFrameChg chg="add mod modVis replST">
          <ac:chgData name="Chmil, Irina (ext) (DI SW ST&amp;MK BM BTC)" userId="c4804133-f4a2-4dfa-aebf-50bcba4f7380" providerId="ADAL" clId="{6D5F49AD-1180-3446-9150-E4337F743C9C}" dt="2024-06-03T16:41:15.953" v="359"/>
          <ac:graphicFrameMkLst>
            <pc:docMk/>
            <pc:sldMk cId="4034978469" sldId="263"/>
            <ac:graphicFrameMk id="5" creationId="{89C898CB-9873-44B4-4ECF-5F1E82AB1740}"/>
          </ac:graphicFrameMkLst>
        </pc:graphicFrameChg>
        <pc:picChg chg="del">
          <ac:chgData name="Chmil, Irina (ext) (DI SW ST&amp;MK BM BTC)" userId="c4804133-f4a2-4dfa-aebf-50bcba4f7380" providerId="ADAL" clId="{6D5F49AD-1180-3446-9150-E4337F743C9C}" dt="2024-06-03T16:41:08.498" v="342" actId="478"/>
          <ac:picMkLst>
            <pc:docMk/>
            <pc:sldMk cId="4034978469" sldId="263"/>
            <ac:picMk id="4" creationId="{D3CAFBD3-901A-003F-1E1D-5BFAA00226AB}"/>
          </ac:picMkLst>
        </pc:picChg>
        <pc:picChg chg="add mod">
          <ac:chgData name="Chmil, Irina (ext) (DI SW ST&amp;MK BM BTC)" userId="c4804133-f4a2-4dfa-aebf-50bcba4f7380" providerId="ADAL" clId="{6D5F49AD-1180-3446-9150-E4337F743C9C}" dt="2024-06-03T16:41:38.934" v="360"/>
          <ac:picMkLst>
            <pc:docMk/>
            <pc:sldMk cId="4034978469" sldId="263"/>
            <ac:picMk id="6" creationId="{FDD79A91-B11E-1070-CBB1-E94126BC5A9E}"/>
          </ac:picMkLst>
        </pc:picChg>
      </pc:sldChg>
      <pc:sldChg chg="addSp delSp modSp mod">
        <pc:chgData name="Chmil, Irina (ext) (DI SW ST&amp;MK BM BTC)" userId="c4804133-f4a2-4dfa-aebf-50bcba4f7380" providerId="ADAL" clId="{6D5F49AD-1180-3446-9150-E4337F743C9C}" dt="2024-06-03T14:57:14.692" v="272"/>
        <pc:sldMkLst>
          <pc:docMk/>
          <pc:sldMk cId="3145148728" sldId="1332"/>
        </pc:sldMkLst>
        <pc:spChg chg="add del mod modVis">
          <ac:chgData name="Chmil, Irina (ext) (DI SW ST&amp;MK BM BTC)" userId="c4804133-f4a2-4dfa-aebf-50bcba4f7380" providerId="ADAL" clId="{6D5F49AD-1180-3446-9150-E4337F743C9C}" dt="2024-06-03T14:57:08.849" v="143"/>
          <ac:spMkLst>
            <pc:docMk/>
            <pc:sldMk cId="3145148728" sldId="1332"/>
            <ac:spMk id="3" creationId="{B4E3F5F4-8632-DDD6-6F1B-099F6A7D36CC}"/>
          </ac:spMkLst>
        </pc:spChg>
        <pc:spChg chg="add del mod modVis">
          <ac:chgData name="Chmil, Irina (ext) (DI SW ST&amp;MK BM BTC)" userId="c4804133-f4a2-4dfa-aebf-50bcba4f7380" providerId="ADAL" clId="{6D5F49AD-1180-3446-9150-E4337F743C9C}" dt="2024-06-03T14:57:11.357" v="186"/>
          <ac:spMkLst>
            <pc:docMk/>
            <pc:sldMk cId="3145148728" sldId="1332"/>
            <ac:spMk id="5" creationId="{C41616D0-C978-2261-3C54-24154E72357E}"/>
          </ac:spMkLst>
        </pc:spChg>
        <pc:spChg chg="add del mod modVis">
          <ac:chgData name="Chmil, Irina (ext) (DI SW ST&amp;MK BM BTC)" userId="c4804133-f4a2-4dfa-aebf-50bcba4f7380" providerId="ADAL" clId="{6D5F49AD-1180-3446-9150-E4337F743C9C}" dt="2024-06-03T14:57:13.803" v="228"/>
          <ac:spMkLst>
            <pc:docMk/>
            <pc:sldMk cId="3145148728" sldId="1332"/>
            <ac:spMk id="7" creationId="{D00D451A-5895-D48C-4193-C11FDAB3096E}"/>
          </ac:spMkLst>
        </pc:spChg>
        <pc:spChg chg="add del mod modVis">
          <ac:chgData name="Chmil, Irina (ext) (DI SW ST&amp;MK BM BTC)" userId="c4804133-f4a2-4dfa-aebf-50bcba4f7380" providerId="ADAL" clId="{6D5F49AD-1180-3446-9150-E4337F743C9C}" dt="2024-06-03T14:57:14.690" v="270"/>
          <ac:spMkLst>
            <pc:docMk/>
            <pc:sldMk cId="3145148728" sldId="1332"/>
            <ac:spMk id="8" creationId="{4C1AA9AB-858A-FE49-2449-4DA11C131A4F}"/>
          </ac:spMkLst>
        </pc:spChg>
        <pc:spChg chg="mod">
          <ac:chgData name="Chmil, Irina (ext) (DI SW ST&amp;MK BM BTC)" userId="c4804133-f4a2-4dfa-aebf-50bcba4f7380" providerId="ADAL" clId="{6D5F49AD-1180-3446-9150-E4337F743C9C}" dt="2024-06-03T14:57:14.666" v="232" actId="948"/>
          <ac:spMkLst>
            <pc:docMk/>
            <pc:sldMk cId="3145148728" sldId="1332"/>
            <ac:spMk id="34" creationId="{368E437B-41A4-C3F0-C52C-7ED5C964B5AC}"/>
          </ac:spMkLst>
        </pc:spChg>
        <pc:graphicFrameChg chg="mod">
          <ac:chgData name="Chmil, Irina (ext) (DI SW ST&amp;MK BM BTC)" userId="c4804133-f4a2-4dfa-aebf-50bcba4f7380" providerId="ADAL" clId="{6D5F49AD-1180-3446-9150-E4337F743C9C}" dt="2024-06-03T14:57:14.692" v="272"/>
          <ac:graphicFrameMkLst>
            <pc:docMk/>
            <pc:sldMk cId="3145148728" sldId="1332"/>
            <ac:graphicFrameMk id="4" creationId="{1315F84D-C954-3C4D-7EF4-923965CEB515}"/>
          </ac:graphicFrameMkLst>
        </pc:graphicFrameChg>
      </pc:sldChg>
      <pc:sldChg chg="addSp delSp modSp mod">
        <pc:chgData name="Chmil, Irina (ext) (DI SW ST&amp;MK BM BTC)" userId="c4804133-f4a2-4dfa-aebf-50bcba4f7380" providerId="ADAL" clId="{6D5F49AD-1180-3446-9150-E4337F743C9C}" dt="2024-06-04T16:23:26.090" v="368" actId="478"/>
        <pc:sldMkLst>
          <pc:docMk/>
          <pc:sldMk cId="743801589" sldId="2147483452"/>
        </pc:sldMkLst>
        <pc:picChg chg="add del mod">
          <ac:chgData name="Chmil, Irina (ext) (DI SW ST&amp;MK BM BTC)" userId="c4804133-f4a2-4dfa-aebf-50bcba4f7380" providerId="ADAL" clId="{6D5F49AD-1180-3446-9150-E4337F743C9C}" dt="2024-06-04T16:23:26.090" v="368" actId="478"/>
          <ac:picMkLst>
            <pc:docMk/>
            <pc:sldMk cId="743801589" sldId="2147483452"/>
            <ac:picMk id="5" creationId="{79ECF72A-4335-B92F-9763-8E019283A924}"/>
          </ac:picMkLst>
        </pc:picChg>
      </pc:sldChg>
      <pc:sldChg chg="addSp delSp modSp mod">
        <pc:chgData name="Chmil, Irina (ext) (DI SW ST&amp;MK BM BTC)" userId="c4804133-f4a2-4dfa-aebf-50bcba4f7380" providerId="ADAL" clId="{6D5F49AD-1180-3446-9150-E4337F743C9C}" dt="2024-06-03T14:57:18.364" v="340"/>
        <pc:sldMkLst>
          <pc:docMk/>
          <pc:sldMk cId="965640219" sldId="2147483462"/>
        </pc:sldMkLst>
        <pc:spChg chg="add del mod modVis">
          <ac:chgData name="Chmil, Irina (ext) (DI SW ST&amp;MK BM BTC)" userId="c4804133-f4a2-4dfa-aebf-50bcba4f7380" providerId="ADAL" clId="{6D5F49AD-1180-3446-9150-E4337F743C9C}" dt="2024-06-03T14:56:54.847" v="32"/>
          <ac:spMkLst>
            <pc:docMk/>
            <pc:sldMk cId="965640219" sldId="2147483462"/>
            <ac:spMk id="3" creationId="{C6A49D73-6E52-3538-7FAE-623651C38E75}"/>
          </ac:spMkLst>
        </pc:spChg>
        <pc:spChg chg="mod">
          <ac:chgData name="Chmil, Irina (ext) (DI SW ST&amp;MK BM BTC)" userId="c4804133-f4a2-4dfa-aebf-50bcba4f7380" providerId="ADAL" clId="{6D5F49AD-1180-3446-9150-E4337F743C9C}" dt="2024-06-03T14:57:18.333" v="308" actId="948"/>
          <ac:spMkLst>
            <pc:docMk/>
            <pc:sldMk cId="965640219" sldId="2147483462"/>
            <ac:spMk id="5" creationId="{7036F4DE-F607-3FB2-01BB-BA54873B34C6}"/>
          </ac:spMkLst>
        </pc:spChg>
        <pc:spChg chg="add del mod modVis">
          <ac:chgData name="Chmil, Irina (ext) (DI SW ST&amp;MK BM BTC)" userId="c4804133-f4a2-4dfa-aebf-50bcba4f7380" providerId="ADAL" clId="{6D5F49AD-1180-3446-9150-E4337F743C9C}" dt="2024-06-03T14:56:57.484" v="66"/>
          <ac:spMkLst>
            <pc:docMk/>
            <pc:sldMk cId="965640219" sldId="2147483462"/>
            <ac:spMk id="7" creationId="{91874B96-D4D1-7DB8-F2DD-0ADEF055F914}"/>
          </ac:spMkLst>
        </pc:spChg>
        <pc:spChg chg="add del mod modVis">
          <ac:chgData name="Chmil, Irina (ext) (DI SW ST&amp;MK BM BTC)" userId="c4804133-f4a2-4dfa-aebf-50bcba4f7380" providerId="ADAL" clId="{6D5F49AD-1180-3446-9150-E4337F743C9C}" dt="2024-06-03T14:56:58.160" v="100"/>
          <ac:spMkLst>
            <pc:docMk/>
            <pc:sldMk cId="965640219" sldId="2147483462"/>
            <ac:spMk id="9" creationId="{1E53BAD1-121F-A868-64A8-49BA14B66262}"/>
          </ac:spMkLst>
        </pc:spChg>
        <pc:spChg chg="add del mod modVis">
          <ac:chgData name="Chmil, Irina (ext) (DI SW ST&amp;MK BM BTC)" userId="c4804133-f4a2-4dfa-aebf-50bcba4f7380" providerId="ADAL" clId="{6D5F49AD-1180-3446-9150-E4337F743C9C}" dt="2024-06-03T14:57:17.812" v="304"/>
          <ac:spMkLst>
            <pc:docMk/>
            <pc:sldMk cId="965640219" sldId="2147483462"/>
            <ac:spMk id="10" creationId="{12A2D5CF-232D-7ED5-F73F-3CACDA1DCB09}"/>
          </ac:spMkLst>
        </pc:spChg>
        <pc:spChg chg="add del mod modVis">
          <ac:chgData name="Chmil, Irina (ext) (DI SW ST&amp;MK BM BTC)" userId="c4804133-f4a2-4dfa-aebf-50bcba4f7380" providerId="ADAL" clId="{6D5F49AD-1180-3446-9150-E4337F743C9C}" dt="2024-06-03T14:57:18.362" v="338"/>
          <ac:spMkLst>
            <pc:docMk/>
            <pc:sldMk cId="965640219" sldId="2147483462"/>
            <ac:spMk id="11" creationId="{91792C69-D23B-2027-9BDF-0EEC4ED472CD}"/>
          </ac:spMkLst>
        </pc:spChg>
        <pc:graphicFrameChg chg="mod">
          <ac:chgData name="Chmil, Irina (ext) (DI SW ST&amp;MK BM BTC)" userId="c4804133-f4a2-4dfa-aebf-50bcba4f7380" providerId="ADAL" clId="{6D5F49AD-1180-3446-9150-E4337F743C9C}" dt="2024-06-03T14:57:18.364" v="340"/>
          <ac:graphicFrameMkLst>
            <pc:docMk/>
            <pc:sldMk cId="965640219" sldId="2147483462"/>
            <ac:graphicFrameMk id="4" creationId="{1315F84D-C954-3C4D-7EF4-923965CEB515}"/>
          </ac:graphicFrameMkLst>
        </pc:graphicFrameChg>
      </pc:sldChg>
      <pc:sldChg chg="add mod modShow">
        <pc:chgData name="Chmil, Irina (ext) (DI SW ST&amp;MK BM BTC)" userId="c4804133-f4a2-4dfa-aebf-50bcba4f7380" providerId="ADAL" clId="{6D5F49AD-1180-3446-9150-E4337F743C9C}" dt="2024-06-03T16:41:59.709" v="361" actId="729"/>
        <pc:sldMkLst>
          <pc:docMk/>
          <pc:sldMk cId="1203650788" sldId="2147483471"/>
        </pc:sldMkLst>
      </pc:sldChg>
      <pc:sldChg chg="addSp modSp mod modShow">
        <pc:chgData name="Chmil, Irina (ext) (DI SW ST&amp;MK BM BTC)" userId="c4804133-f4a2-4dfa-aebf-50bcba4f7380" providerId="ADAL" clId="{6D5F49AD-1180-3446-9150-E4337F743C9C}" dt="2024-06-04T22:02:02.968" v="681" actId="729"/>
        <pc:sldMkLst>
          <pc:docMk/>
          <pc:sldMk cId="1975133700" sldId="2147483474"/>
        </pc:sldMkLst>
        <pc:spChg chg="mod">
          <ac:chgData name="Chmil, Irina (ext) (DI SW ST&amp;MK BM BTC)" userId="c4804133-f4a2-4dfa-aebf-50bcba4f7380" providerId="ADAL" clId="{6D5F49AD-1180-3446-9150-E4337F743C9C}" dt="2024-06-04T22:01:53.348" v="679" actId="164"/>
          <ac:spMkLst>
            <pc:docMk/>
            <pc:sldMk cId="1975133700" sldId="2147483474"/>
            <ac:spMk id="50" creationId="{ACFF2D66-BBA2-31F9-CAEC-EB5F8C62D281}"/>
          </ac:spMkLst>
        </pc:spChg>
        <pc:spChg chg="mod">
          <ac:chgData name="Chmil, Irina (ext) (DI SW ST&amp;MK BM BTC)" userId="c4804133-f4a2-4dfa-aebf-50bcba4f7380" providerId="ADAL" clId="{6D5F49AD-1180-3446-9150-E4337F743C9C}" dt="2024-06-04T22:01:53.348" v="679" actId="164"/>
          <ac:spMkLst>
            <pc:docMk/>
            <pc:sldMk cId="1975133700" sldId="2147483474"/>
            <ac:spMk id="51" creationId="{C32DA3BA-EF25-08E4-1F47-17D9FEB598C5}"/>
          </ac:spMkLst>
        </pc:spChg>
        <pc:spChg chg="mod">
          <ac:chgData name="Chmil, Irina (ext) (DI SW ST&amp;MK BM BTC)" userId="c4804133-f4a2-4dfa-aebf-50bcba4f7380" providerId="ADAL" clId="{6D5F49AD-1180-3446-9150-E4337F743C9C}" dt="2024-06-04T22:01:53.348" v="679" actId="164"/>
          <ac:spMkLst>
            <pc:docMk/>
            <pc:sldMk cId="1975133700" sldId="2147483474"/>
            <ac:spMk id="192" creationId="{72683632-6F46-8B16-54E6-2F757EA43F4C}"/>
          </ac:spMkLst>
        </pc:spChg>
        <pc:spChg chg="mod">
          <ac:chgData name="Chmil, Irina (ext) (DI SW ST&amp;MK BM BTC)" userId="c4804133-f4a2-4dfa-aebf-50bcba4f7380" providerId="ADAL" clId="{6D5F49AD-1180-3446-9150-E4337F743C9C}" dt="2024-06-04T22:01:53.348" v="679" actId="164"/>
          <ac:spMkLst>
            <pc:docMk/>
            <pc:sldMk cId="1975133700" sldId="2147483474"/>
            <ac:spMk id="194" creationId="{3195C7F3-1688-8ECA-6C2A-826C84F6DE27}"/>
          </ac:spMkLst>
        </pc:spChg>
        <pc:spChg chg="mod">
          <ac:chgData name="Chmil, Irina (ext) (DI SW ST&amp;MK BM BTC)" userId="c4804133-f4a2-4dfa-aebf-50bcba4f7380" providerId="ADAL" clId="{6D5F49AD-1180-3446-9150-E4337F743C9C}" dt="2024-06-04T22:01:53.348" v="679" actId="164"/>
          <ac:spMkLst>
            <pc:docMk/>
            <pc:sldMk cId="1975133700" sldId="2147483474"/>
            <ac:spMk id="195" creationId="{DE69C30E-12FE-A246-9058-9108B0360FE3}"/>
          </ac:spMkLst>
        </pc:spChg>
        <pc:spChg chg="mod">
          <ac:chgData name="Chmil, Irina (ext) (DI SW ST&amp;MK BM BTC)" userId="c4804133-f4a2-4dfa-aebf-50bcba4f7380" providerId="ADAL" clId="{6D5F49AD-1180-3446-9150-E4337F743C9C}" dt="2024-06-04T22:01:53.348" v="679" actId="164"/>
          <ac:spMkLst>
            <pc:docMk/>
            <pc:sldMk cId="1975133700" sldId="2147483474"/>
            <ac:spMk id="196" creationId="{A3919F8A-68EC-DF62-6120-CB17EE213609}"/>
          </ac:spMkLst>
        </pc:spChg>
        <pc:spChg chg="mod">
          <ac:chgData name="Chmil, Irina (ext) (DI SW ST&amp;MK BM BTC)" userId="c4804133-f4a2-4dfa-aebf-50bcba4f7380" providerId="ADAL" clId="{6D5F49AD-1180-3446-9150-E4337F743C9C}" dt="2024-06-04T22:01:53.348" v="679" actId="164"/>
          <ac:spMkLst>
            <pc:docMk/>
            <pc:sldMk cId="1975133700" sldId="2147483474"/>
            <ac:spMk id="197" creationId="{8F43BD7D-F892-EB06-3FB6-845AADE66F6A}"/>
          </ac:spMkLst>
        </pc:spChg>
        <pc:spChg chg="mod">
          <ac:chgData name="Chmil, Irina (ext) (DI SW ST&amp;MK BM BTC)" userId="c4804133-f4a2-4dfa-aebf-50bcba4f7380" providerId="ADAL" clId="{6D5F49AD-1180-3446-9150-E4337F743C9C}" dt="2024-06-04T22:01:53.348" v="679" actId="164"/>
          <ac:spMkLst>
            <pc:docMk/>
            <pc:sldMk cId="1975133700" sldId="2147483474"/>
            <ac:spMk id="198" creationId="{C0582443-0A85-615D-6AF9-2D958138B1CC}"/>
          </ac:spMkLst>
        </pc:spChg>
        <pc:spChg chg="mod">
          <ac:chgData name="Chmil, Irina (ext) (DI SW ST&amp;MK BM BTC)" userId="c4804133-f4a2-4dfa-aebf-50bcba4f7380" providerId="ADAL" clId="{6D5F49AD-1180-3446-9150-E4337F743C9C}" dt="2024-06-04T22:01:53.348" v="679" actId="164"/>
          <ac:spMkLst>
            <pc:docMk/>
            <pc:sldMk cId="1975133700" sldId="2147483474"/>
            <ac:spMk id="199" creationId="{1B9D9FFA-096C-D270-4389-3400A3E098E8}"/>
          </ac:spMkLst>
        </pc:spChg>
        <pc:spChg chg="mod">
          <ac:chgData name="Chmil, Irina (ext) (DI SW ST&amp;MK BM BTC)" userId="c4804133-f4a2-4dfa-aebf-50bcba4f7380" providerId="ADAL" clId="{6D5F49AD-1180-3446-9150-E4337F743C9C}" dt="2024-06-04T22:01:53.348" v="679" actId="164"/>
          <ac:spMkLst>
            <pc:docMk/>
            <pc:sldMk cId="1975133700" sldId="2147483474"/>
            <ac:spMk id="200" creationId="{15AABB6D-76DA-ED62-7D37-C62CEEABC21C}"/>
          </ac:spMkLst>
        </pc:spChg>
        <pc:spChg chg="mod">
          <ac:chgData name="Chmil, Irina (ext) (DI SW ST&amp;MK BM BTC)" userId="c4804133-f4a2-4dfa-aebf-50bcba4f7380" providerId="ADAL" clId="{6D5F49AD-1180-3446-9150-E4337F743C9C}" dt="2024-06-04T22:01:53.348" v="679" actId="164"/>
          <ac:spMkLst>
            <pc:docMk/>
            <pc:sldMk cId="1975133700" sldId="2147483474"/>
            <ac:spMk id="202" creationId="{F5D3F2BF-A286-2BEA-650E-B5215BC6762B}"/>
          </ac:spMkLst>
        </pc:spChg>
        <pc:spChg chg="mod">
          <ac:chgData name="Chmil, Irina (ext) (DI SW ST&amp;MK BM BTC)" userId="c4804133-f4a2-4dfa-aebf-50bcba4f7380" providerId="ADAL" clId="{6D5F49AD-1180-3446-9150-E4337F743C9C}" dt="2024-06-04T22:01:53.348" v="679" actId="164"/>
          <ac:spMkLst>
            <pc:docMk/>
            <pc:sldMk cId="1975133700" sldId="2147483474"/>
            <ac:spMk id="203" creationId="{6155494B-9135-6B3F-4B25-45A4CC362618}"/>
          </ac:spMkLst>
        </pc:spChg>
        <pc:spChg chg="mod">
          <ac:chgData name="Chmil, Irina (ext) (DI SW ST&amp;MK BM BTC)" userId="c4804133-f4a2-4dfa-aebf-50bcba4f7380" providerId="ADAL" clId="{6D5F49AD-1180-3446-9150-E4337F743C9C}" dt="2024-06-04T22:01:53.348" v="679" actId="164"/>
          <ac:spMkLst>
            <pc:docMk/>
            <pc:sldMk cId="1975133700" sldId="2147483474"/>
            <ac:spMk id="205" creationId="{955EFD2A-E757-571A-4FE9-8868BA2BCDBA}"/>
          </ac:spMkLst>
        </pc:spChg>
        <pc:spChg chg="mod">
          <ac:chgData name="Chmil, Irina (ext) (DI SW ST&amp;MK BM BTC)" userId="c4804133-f4a2-4dfa-aebf-50bcba4f7380" providerId="ADAL" clId="{6D5F49AD-1180-3446-9150-E4337F743C9C}" dt="2024-06-04T22:01:53.348" v="679" actId="164"/>
          <ac:spMkLst>
            <pc:docMk/>
            <pc:sldMk cId="1975133700" sldId="2147483474"/>
            <ac:spMk id="206" creationId="{D871976D-1F70-F32A-B12F-B05EC62F0A59}"/>
          </ac:spMkLst>
        </pc:spChg>
        <pc:spChg chg="mod">
          <ac:chgData name="Chmil, Irina (ext) (DI SW ST&amp;MK BM BTC)" userId="c4804133-f4a2-4dfa-aebf-50bcba4f7380" providerId="ADAL" clId="{6D5F49AD-1180-3446-9150-E4337F743C9C}" dt="2024-06-04T22:01:53.348" v="679" actId="164"/>
          <ac:spMkLst>
            <pc:docMk/>
            <pc:sldMk cId="1975133700" sldId="2147483474"/>
            <ac:spMk id="207" creationId="{EA535170-03BB-0611-AABA-DC39FB830B14}"/>
          </ac:spMkLst>
        </pc:spChg>
        <pc:spChg chg="mod">
          <ac:chgData name="Chmil, Irina (ext) (DI SW ST&amp;MK BM BTC)" userId="c4804133-f4a2-4dfa-aebf-50bcba4f7380" providerId="ADAL" clId="{6D5F49AD-1180-3446-9150-E4337F743C9C}" dt="2024-06-04T22:01:53.348" v="679" actId="164"/>
          <ac:spMkLst>
            <pc:docMk/>
            <pc:sldMk cId="1975133700" sldId="2147483474"/>
            <ac:spMk id="304" creationId="{B78EB205-268D-F5F8-2105-C2F61395F257}"/>
          </ac:spMkLst>
        </pc:spChg>
        <pc:spChg chg="mod">
          <ac:chgData name="Chmil, Irina (ext) (DI SW ST&amp;MK BM BTC)" userId="c4804133-f4a2-4dfa-aebf-50bcba4f7380" providerId="ADAL" clId="{6D5F49AD-1180-3446-9150-E4337F743C9C}" dt="2024-06-04T22:01:53.348" v="679" actId="164"/>
          <ac:spMkLst>
            <pc:docMk/>
            <pc:sldMk cId="1975133700" sldId="2147483474"/>
            <ac:spMk id="308" creationId="{40584D05-59DF-6287-2C80-F3F25B4B7CE8}"/>
          </ac:spMkLst>
        </pc:spChg>
        <pc:spChg chg="mod">
          <ac:chgData name="Chmil, Irina (ext) (DI SW ST&amp;MK BM BTC)" userId="c4804133-f4a2-4dfa-aebf-50bcba4f7380" providerId="ADAL" clId="{6D5F49AD-1180-3446-9150-E4337F743C9C}" dt="2024-06-04T22:01:53.348" v="679" actId="164"/>
          <ac:spMkLst>
            <pc:docMk/>
            <pc:sldMk cId="1975133700" sldId="2147483474"/>
            <ac:spMk id="309" creationId="{6B43CEBC-72AA-5D0B-3F11-DCC318855777}"/>
          </ac:spMkLst>
        </pc:spChg>
        <pc:spChg chg="mod">
          <ac:chgData name="Chmil, Irina (ext) (DI SW ST&amp;MK BM BTC)" userId="c4804133-f4a2-4dfa-aebf-50bcba4f7380" providerId="ADAL" clId="{6D5F49AD-1180-3446-9150-E4337F743C9C}" dt="2024-06-04T22:01:53.348" v="679" actId="164"/>
          <ac:spMkLst>
            <pc:docMk/>
            <pc:sldMk cId="1975133700" sldId="2147483474"/>
            <ac:spMk id="310" creationId="{26CBA2AF-93A6-545F-E2FC-1A35FFB82520}"/>
          </ac:spMkLst>
        </pc:spChg>
        <pc:spChg chg="mod">
          <ac:chgData name="Chmil, Irina (ext) (DI SW ST&amp;MK BM BTC)" userId="c4804133-f4a2-4dfa-aebf-50bcba4f7380" providerId="ADAL" clId="{6D5F49AD-1180-3446-9150-E4337F743C9C}" dt="2024-06-04T22:01:53.348" v="679" actId="164"/>
          <ac:spMkLst>
            <pc:docMk/>
            <pc:sldMk cId="1975133700" sldId="2147483474"/>
            <ac:spMk id="311" creationId="{5144C49B-1834-D8AA-1C48-765CDD4E4803}"/>
          </ac:spMkLst>
        </pc:spChg>
        <pc:spChg chg="mod">
          <ac:chgData name="Chmil, Irina (ext) (DI SW ST&amp;MK BM BTC)" userId="c4804133-f4a2-4dfa-aebf-50bcba4f7380" providerId="ADAL" clId="{6D5F49AD-1180-3446-9150-E4337F743C9C}" dt="2024-06-04T22:01:53.348" v="679" actId="164"/>
          <ac:spMkLst>
            <pc:docMk/>
            <pc:sldMk cId="1975133700" sldId="2147483474"/>
            <ac:spMk id="312" creationId="{8CB71E30-16FE-17EA-0BFE-66A0F769C1D9}"/>
          </ac:spMkLst>
        </pc:spChg>
        <pc:spChg chg="mod">
          <ac:chgData name="Chmil, Irina (ext) (DI SW ST&amp;MK BM BTC)" userId="c4804133-f4a2-4dfa-aebf-50bcba4f7380" providerId="ADAL" clId="{6D5F49AD-1180-3446-9150-E4337F743C9C}" dt="2024-06-04T22:01:53.348" v="679" actId="164"/>
          <ac:spMkLst>
            <pc:docMk/>
            <pc:sldMk cId="1975133700" sldId="2147483474"/>
            <ac:spMk id="313" creationId="{F93DD182-E149-4A4F-B271-507AEB19AB8D}"/>
          </ac:spMkLst>
        </pc:spChg>
        <pc:spChg chg="mod">
          <ac:chgData name="Chmil, Irina (ext) (DI SW ST&amp;MK BM BTC)" userId="c4804133-f4a2-4dfa-aebf-50bcba4f7380" providerId="ADAL" clId="{6D5F49AD-1180-3446-9150-E4337F743C9C}" dt="2024-06-04T22:01:53.348" v="679" actId="164"/>
          <ac:spMkLst>
            <pc:docMk/>
            <pc:sldMk cId="1975133700" sldId="2147483474"/>
            <ac:spMk id="323" creationId="{168D7B29-FDC7-1CA3-7CD2-ADEA55A08E51}"/>
          </ac:spMkLst>
        </pc:spChg>
        <pc:spChg chg="mod">
          <ac:chgData name="Chmil, Irina (ext) (DI SW ST&amp;MK BM BTC)" userId="c4804133-f4a2-4dfa-aebf-50bcba4f7380" providerId="ADAL" clId="{6D5F49AD-1180-3446-9150-E4337F743C9C}" dt="2024-06-04T22:01:53.348" v="679" actId="164"/>
          <ac:spMkLst>
            <pc:docMk/>
            <pc:sldMk cId="1975133700" sldId="2147483474"/>
            <ac:spMk id="324" creationId="{1CDA2B54-C7FD-42CA-51B8-425054C50D81}"/>
          </ac:spMkLst>
        </pc:spChg>
        <pc:spChg chg="mod">
          <ac:chgData name="Chmil, Irina (ext) (DI SW ST&amp;MK BM BTC)" userId="c4804133-f4a2-4dfa-aebf-50bcba4f7380" providerId="ADAL" clId="{6D5F49AD-1180-3446-9150-E4337F743C9C}" dt="2024-06-04T22:01:53.348" v="679" actId="164"/>
          <ac:spMkLst>
            <pc:docMk/>
            <pc:sldMk cId="1975133700" sldId="2147483474"/>
            <ac:spMk id="325" creationId="{13EC196A-F707-7A05-787C-60AFED7AFF66}"/>
          </ac:spMkLst>
        </pc:spChg>
        <pc:spChg chg="mod">
          <ac:chgData name="Chmil, Irina (ext) (DI SW ST&amp;MK BM BTC)" userId="c4804133-f4a2-4dfa-aebf-50bcba4f7380" providerId="ADAL" clId="{6D5F49AD-1180-3446-9150-E4337F743C9C}" dt="2024-06-04T22:01:53.348" v="679" actId="164"/>
          <ac:spMkLst>
            <pc:docMk/>
            <pc:sldMk cId="1975133700" sldId="2147483474"/>
            <ac:spMk id="326" creationId="{2CD785F2-3DAB-D062-6833-D4D6F67EE121}"/>
          </ac:spMkLst>
        </pc:spChg>
        <pc:spChg chg="mod">
          <ac:chgData name="Chmil, Irina (ext) (DI SW ST&amp;MK BM BTC)" userId="c4804133-f4a2-4dfa-aebf-50bcba4f7380" providerId="ADAL" clId="{6D5F49AD-1180-3446-9150-E4337F743C9C}" dt="2024-06-04T22:01:53.348" v="679" actId="164"/>
          <ac:spMkLst>
            <pc:docMk/>
            <pc:sldMk cId="1975133700" sldId="2147483474"/>
            <ac:spMk id="327" creationId="{60FFE97C-AF51-D506-0128-1B416A4EB017}"/>
          </ac:spMkLst>
        </pc:spChg>
        <pc:spChg chg="mod">
          <ac:chgData name="Chmil, Irina (ext) (DI SW ST&amp;MK BM BTC)" userId="c4804133-f4a2-4dfa-aebf-50bcba4f7380" providerId="ADAL" clId="{6D5F49AD-1180-3446-9150-E4337F743C9C}" dt="2024-06-04T22:01:53.348" v="679" actId="164"/>
          <ac:spMkLst>
            <pc:docMk/>
            <pc:sldMk cId="1975133700" sldId="2147483474"/>
            <ac:spMk id="328" creationId="{F4A51084-00F9-C8C7-3FEB-7178456C0571}"/>
          </ac:spMkLst>
        </pc:spChg>
        <pc:spChg chg="mod">
          <ac:chgData name="Chmil, Irina (ext) (DI SW ST&amp;MK BM BTC)" userId="c4804133-f4a2-4dfa-aebf-50bcba4f7380" providerId="ADAL" clId="{6D5F49AD-1180-3446-9150-E4337F743C9C}" dt="2024-06-04T22:01:53.348" v="679" actId="164"/>
          <ac:spMkLst>
            <pc:docMk/>
            <pc:sldMk cId="1975133700" sldId="2147483474"/>
            <ac:spMk id="330" creationId="{53B5C058-695D-7392-AC67-43D3FCF4E64A}"/>
          </ac:spMkLst>
        </pc:spChg>
        <pc:spChg chg="mod">
          <ac:chgData name="Chmil, Irina (ext) (DI SW ST&amp;MK BM BTC)" userId="c4804133-f4a2-4dfa-aebf-50bcba4f7380" providerId="ADAL" clId="{6D5F49AD-1180-3446-9150-E4337F743C9C}" dt="2024-06-04T22:01:53.348" v="679" actId="164"/>
          <ac:spMkLst>
            <pc:docMk/>
            <pc:sldMk cId="1975133700" sldId="2147483474"/>
            <ac:spMk id="331" creationId="{DB147FA7-1A5B-E38A-4E4D-B681F700C810}"/>
          </ac:spMkLst>
        </pc:spChg>
        <pc:spChg chg="mod">
          <ac:chgData name="Chmil, Irina (ext) (DI SW ST&amp;MK BM BTC)" userId="c4804133-f4a2-4dfa-aebf-50bcba4f7380" providerId="ADAL" clId="{6D5F49AD-1180-3446-9150-E4337F743C9C}" dt="2024-06-04T22:01:53.348" v="679" actId="164"/>
          <ac:spMkLst>
            <pc:docMk/>
            <pc:sldMk cId="1975133700" sldId="2147483474"/>
            <ac:spMk id="332" creationId="{AD0F5179-F656-E992-6B12-86D2C7BBA9D1}"/>
          </ac:spMkLst>
        </pc:spChg>
        <pc:spChg chg="mod">
          <ac:chgData name="Chmil, Irina (ext) (DI SW ST&amp;MK BM BTC)" userId="c4804133-f4a2-4dfa-aebf-50bcba4f7380" providerId="ADAL" clId="{6D5F49AD-1180-3446-9150-E4337F743C9C}" dt="2024-06-04T22:01:53.348" v="679" actId="164"/>
          <ac:spMkLst>
            <pc:docMk/>
            <pc:sldMk cId="1975133700" sldId="2147483474"/>
            <ac:spMk id="333" creationId="{3A95BA97-5461-CF7E-5FD6-F065B24F96DD}"/>
          </ac:spMkLst>
        </pc:spChg>
        <pc:spChg chg="mod">
          <ac:chgData name="Chmil, Irina (ext) (DI SW ST&amp;MK BM BTC)" userId="c4804133-f4a2-4dfa-aebf-50bcba4f7380" providerId="ADAL" clId="{6D5F49AD-1180-3446-9150-E4337F743C9C}" dt="2024-06-04T22:01:53.348" v="679" actId="164"/>
          <ac:spMkLst>
            <pc:docMk/>
            <pc:sldMk cId="1975133700" sldId="2147483474"/>
            <ac:spMk id="334" creationId="{6D13F238-64FE-F508-036F-4EAC54723127}"/>
          </ac:spMkLst>
        </pc:spChg>
        <pc:spChg chg="mod">
          <ac:chgData name="Chmil, Irina (ext) (DI SW ST&amp;MK BM BTC)" userId="c4804133-f4a2-4dfa-aebf-50bcba4f7380" providerId="ADAL" clId="{6D5F49AD-1180-3446-9150-E4337F743C9C}" dt="2024-06-04T22:01:53.348" v="679" actId="164"/>
          <ac:spMkLst>
            <pc:docMk/>
            <pc:sldMk cId="1975133700" sldId="2147483474"/>
            <ac:spMk id="335" creationId="{E8D412B2-56CD-D4BE-D249-85ECF9E353FB}"/>
          </ac:spMkLst>
        </pc:spChg>
        <pc:spChg chg="mod">
          <ac:chgData name="Chmil, Irina (ext) (DI SW ST&amp;MK BM BTC)" userId="c4804133-f4a2-4dfa-aebf-50bcba4f7380" providerId="ADAL" clId="{6D5F49AD-1180-3446-9150-E4337F743C9C}" dt="2024-06-04T22:01:53.348" v="679" actId="164"/>
          <ac:spMkLst>
            <pc:docMk/>
            <pc:sldMk cId="1975133700" sldId="2147483474"/>
            <ac:spMk id="342" creationId="{37294383-A734-8A2E-5E41-7858301474B1}"/>
          </ac:spMkLst>
        </pc:spChg>
        <pc:spChg chg="mod">
          <ac:chgData name="Chmil, Irina (ext) (DI SW ST&amp;MK BM BTC)" userId="c4804133-f4a2-4dfa-aebf-50bcba4f7380" providerId="ADAL" clId="{6D5F49AD-1180-3446-9150-E4337F743C9C}" dt="2024-06-04T22:01:53.348" v="679" actId="164"/>
          <ac:spMkLst>
            <pc:docMk/>
            <pc:sldMk cId="1975133700" sldId="2147483474"/>
            <ac:spMk id="345" creationId="{1CF03F8A-0AA2-064B-8D09-F0ECCD4E5B95}"/>
          </ac:spMkLst>
        </pc:spChg>
        <pc:spChg chg="mod">
          <ac:chgData name="Chmil, Irina (ext) (DI SW ST&amp;MK BM BTC)" userId="c4804133-f4a2-4dfa-aebf-50bcba4f7380" providerId="ADAL" clId="{6D5F49AD-1180-3446-9150-E4337F743C9C}" dt="2024-06-04T22:01:53.348" v="679" actId="164"/>
          <ac:spMkLst>
            <pc:docMk/>
            <pc:sldMk cId="1975133700" sldId="2147483474"/>
            <ac:spMk id="346" creationId="{02F94936-8CBE-BFC5-88B3-317F15F5A10C}"/>
          </ac:spMkLst>
        </pc:spChg>
        <pc:spChg chg="mod">
          <ac:chgData name="Chmil, Irina (ext) (DI SW ST&amp;MK BM BTC)" userId="c4804133-f4a2-4dfa-aebf-50bcba4f7380" providerId="ADAL" clId="{6D5F49AD-1180-3446-9150-E4337F743C9C}" dt="2024-06-04T22:01:53.348" v="679" actId="164"/>
          <ac:spMkLst>
            <pc:docMk/>
            <pc:sldMk cId="1975133700" sldId="2147483474"/>
            <ac:spMk id="347" creationId="{23777BF0-3077-BA1C-005A-BFC83BAB646B}"/>
          </ac:spMkLst>
        </pc:spChg>
        <pc:spChg chg="mod">
          <ac:chgData name="Chmil, Irina (ext) (DI SW ST&amp;MK BM BTC)" userId="c4804133-f4a2-4dfa-aebf-50bcba4f7380" providerId="ADAL" clId="{6D5F49AD-1180-3446-9150-E4337F743C9C}" dt="2024-06-04T22:01:53.348" v="679" actId="164"/>
          <ac:spMkLst>
            <pc:docMk/>
            <pc:sldMk cId="1975133700" sldId="2147483474"/>
            <ac:spMk id="348" creationId="{20DF74AD-4913-228C-C4E2-9116E5B30944}"/>
          </ac:spMkLst>
        </pc:spChg>
        <pc:spChg chg="mod">
          <ac:chgData name="Chmil, Irina (ext) (DI SW ST&amp;MK BM BTC)" userId="c4804133-f4a2-4dfa-aebf-50bcba4f7380" providerId="ADAL" clId="{6D5F49AD-1180-3446-9150-E4337F743C9C}" dt="2024-06-04T22:01:53.348" v="679" actId="164"/>
          <ac:spMkLst>
            <pc:docMk/>
            <pc:sldMk cId="1975133700" sldId="2147483474"/>
            <ac:spMk id="349" creationId="{57B9C13F-7D0B-F99C-A390-5B4DC50560B6}"/>
          </ac:spMkLst>
        </pc:spChg>
        <pc:spChg chg="mod">
          <ac:chgData name="Chmil, Irina (ext) (DI SW ST&amp;MK BM BTC)" userId="c4804133-f4a2-4dfa-aebf-50bcba4f7380" providerId="ADAL" clId="{6D5F49AD-1180-3446-9150-E4337F743C9C}" dt="2024-06-04T22:01:53.348" v="679" actId="164"/>
          <ac:spMkLst>
            <pc:docMk/>
            <pc:sldMk cId="1975133700" sldId="2147483474"/>
            <ac:spMk id="350" creationId="{465F3306-B622-9582-1A92-0B755ECB7EBB}"/>
          </ac:spMkLst>
        </pc:spChg>
        <pc:spChg chg="mod">
          <ac:chgData name="Chmil, Irina (ext) (DI SW ST&amp;MK BM BTC)" userId="c4804133-f4a2-4dfa-aebf-50bcba4f7380" providerId="ADAL" clId="{6D5F49AD-1180-3446-9150-E4337F743C9C}" dt="2024-06-04T22:01:53.348" v="679" actId="164"/>
          <ac:spMkLst>
            <pc:docMk/>
            <pc:sldMk cId="1975133700" sldId="2147483474"/>
            <ac:spMk id="351" creationId="{31B6E23F-2909-F72F-072A-E69019000337}"/>
          </ac:spMkLst>
        </pc:spChg>
        <pc:grpChg chg="add mod">
          <ac:chgData name="Chmil, Irina (ext) (DI SW ST&amp;MK BM BTC)" userId="c4804133-f4a2-4dfa-aebf-50bcba4f7380" providerId="ADAL" clId="{6D5F49AD-1180-3446-9150-E4337F743C9C}" dt="2024-06-04T22:01:53.348" v="679" actId="164"/>
          <ac:grpSpMkLst>
            <pc:docMk/>
            <pc:sldMk cId="1975133700" sldId="2147483474"/>
            <ac:grpSpMk id="3" creationId="{668959CF-A01A-5021-0697-CF58BE5682E9}"/>
          </ac:grpSpMkLst>
        </pc:grpChg>
        <pc:grpChg chg="mod">
          <ac:chgData name="Chmil, Irina (ext) (DI SW ST&amp;MK BM BTC)" userId="c4804133-f4a2-4dfa-aebf-50bcba4f7380" providerId="ADAL" clId="{6D5F49AD-1180-3446-9150-E4337F743C9C}" dt="2024-06-04T22:01:53.348" v="679" actId="164"/>
          <ac:grpSpMkLst>
            <pc:docMk/>
            <pc:sldMk cId="1975133700" sldId="2147483474"/>
            <ac:grpSpMk id="193" creationId="{ABFFCAC0-68E6-4D9B-B658-CFB329C8F62D}"/>
          </ac:grpSpMkLst>
        </pc:grpChg>
        <pc:grpChg chg="mod">
          <ac:chgData name="Chmil, Irina (ext) (DI SW ST&amp;MK BM BTC)" userId="c4804133-f4a2-4dfa-aebf-50bcba4f7380" providerId="ADAL" clId="{6D5F49AD-1180-3446-9150-E4337F743C9C}" dt="2024-06-04T22:01:53.348" v="679" actId="164"/>
          <ac:grpSpMkLst>
            <pc:docMk/>
            <pc:sldMk cId="1975133700" sldId="2147483474"/>
            <ac:grpSpMk id="201" creationId="{2C564246-90BC-ED69-6C5A-4DBCFC654C7A}"/>
          </ac:grpSpMkLst>
        </pc:grpChg>
        <pc:grpChg chg="mod">
          <ac:chgData name="Chmil, Irina (ext) (DI SW ST&amp;MK BM BTC)" userId="c4804133-f4a2-4dfa-aebf-50bcba4f7380" providerId="ADAL" clId="{6D5F49AD-1180-3446-9150-E4337F743C9C}" dt="2024-06-04T22:01:53.348" v="679" actId="164"/>
          <ac:grpSpMkLst>
            <pc:docMk/>
            <pc:sldMk cId="1975133700" sldId="2147483474"/>
            <ac:grpSpMk id="307" creationId="{D9481DCC-FD00-03B7-D22F-B25861373584}"/>
          </ac:grpSpMkLst>
        </pc:grpChg>
        <pc:grpChg chg="mod">
          <ac:chgData name="Chmil, Irina (ext) (DI SW ST&amp;MK BM BTC)" userId="c4804133-f4a2-4dfa-aebf-50bcba4f7380" providerId="ADAL" clId="{6D5F49AD-1180-3446-9150-E4337F743C9C}" dt="2024-06-04T22:01:53.348" v="679" actId="164"/>
          <ac:grpSpMkLst>
            <pc:docMk/>
            <pc:sldMk cId="1975133700" sldId="2147483474"/>
            <ac:grpSpMk id="344" creationId="{2269EFE6-313C-CE8F-D692-230F4A7E1DF9}"/>
          </ac:grpSpMkLst>
        </pc:grpChg>
        <pc:picChg chg="mod">
          <ac:chgData name="Chmil, Irina (ext) (DI SW ST&amp;MK BM BTC)" userId="c4804133-f4a2-4dfa-aebf-50bcba4f7380" providerId="ADAL" clId="{6D5F49AD-1180-3446-9150-E4337F743C9C}" dt="2024-06-04T22:01:53.348" v="679" actId="164"/>
          <ac:picMkLst>
            <pc:docMk/>
            <pc:sldMk cId="1975133700" sldId="2147483474"/>
            <ac:picMk id="204" creationId="{39903018-D42D-A4C2-310F-75855749DF80}"/>
          </ac:picMkLst>
        </pc:picChg>
        <pc:cxnChg chg="mod">
          <ac:chgData name="Chmil, Irina (ext) (DI SW ST&amp;MK BM BTC)" userId="c4804133-f4a2-4dfa-aebf-50bcba4f7380" providerId="ADAL" clId="{6D5F49AD-1180-3446-9150-E4337F743C9C}" dt="2024-06-04T22:01:53.348" v="679" actId="164"/>
          <ac:cxnSpMkLst>
            <pc:docMk/>
            <pc:sldMk cId="1975133700" sldId="2147483474"/>
            <ac:cxnSpMk id="270" creationId="{CDE06C59-E746-7AD1-A102-C2344AC41D2B}"/>
          </ac:cxnSpMkLst>
        </pc:cxnChg>
        <pc:cxnChg chg="mod">
          <ac:chgData name="Chmil, Irina (ext) (DI SW ST&amp;MK BM BTC)" userId="c4804133-f4a2-4dfa-aebf-50bcba4f7380" providerId="ADAL" clId="{6D5F49AD-1180-3446-9150-E4337F743C9C}" dt="2024-06-04T22:01:53.348" v="679" actId="164"/>
          <ac:cxnSpMkLst>
            <pc:docMk/>
            <pc:sldMk cId="1975133700" sldId="2147483474"/>
            <ac:cxnSpMk id="329" creationId="{2839573D-5C3B-0049-10C4-0C7746B7CD17}"/>
          </ac:cxnSpMkLst>
        </pc:cxnChg>
        <pc:cxnChg chg="mod">
          <ac:chgData name="Chmil, Irina (ext) (DI SW ST&amp;MK BM BTC)" userId="c4804133-f4a2-4dfa-aebf-50bcba4f7380" providerId="ADAL" clId="{6D5F49AD-1180-3446-9150-E4337F743C9C}" dt="2024-06-04T22:01:53.348" v="679" actId="164"/>
          <ac:cxnSpMkLst>
            <pc:docMk/>
            <pc:sldMk cId="1975133700" sldId="2147483474"/>
            <ac:cxnSpMk id="336" creationId="{6D955F7C-10BF-816A-B01D-41B77B5B066C}"/>
          </ac:cxnSpMkLst>
        </pc:cxnChg>
        <pc:cxnChg chg="mod">
          <ac:chgData name="Chmil, Irina (ext) (DI SW ST&amp;MK BM BTC)" userId="c4804133-f4a2-4dfa-aebf-50bcba4f7380" providerId="ADAL" clId="{6D5F49AD-1180-3446-9150-E4337F743C9C}" dt="2024-06-04T22:01:53.348" v="679" actId="164"/>
          <ac:cxnSpMkLst>
            <pc:docMk/>
            <pc:sldMk cId="1975133700" sldId="2147483474"/>
            <ac:cxnSpMk id="337" creationId="{064F93EE-CE46-D5FC-AB57-9E1E6DE0E5B0}"/>
          </ac:cxnSpMkLst>
        </pc:cxnChg>
        <pc:cxnChg chg="mod">
          <ac:chgData name="Chmil, Irina (ext) (DI SW ST&amp;MK BM BTC)" userId="c4804133-f4a2-4dfa-aebf-50bcba4f7380" providerId="ADAL" clId="{6D5F49AD-1180-3446-9150-E4337F743C9C}" dt="2024-06-04T22:01:53.348" v="679" actId="164"/>
          <ac:cxnSpMkLst>
            <pc:docMk/>
            <pc:sldMk cId="1975133700" sldId="2147483474"/>
            <ac:cxnSpMk id="338" creationId="{BDC2CCB4-084B-8A53-DF41-295A94C6C1E6}"/>
          </ac:cxnSpMkLst>
        </pc:cxnChg>
        <pc:cxnChg chg="mod">
          <ac:chgData name="Chmil, Irina (ext) (DI SW ST&amp;MK BM BTC)" userId="c4804133-f4a2-4dfa-aebf-50bcba4f7380" providerId="ADAL" clId="{6D5F49AD-1180-3446-9150-E4337F743C9C}" dt="2024-06-04T22:01:53.348" v="679" actId="164"/>
          <ac:cxnSpMkLst>
            <pc:docMk/>
            <pc:sldMk cId="1975133700" sldId="2147483474"/>
            <ac:cxnSpMk id="339" creationId="{93995EFF-BAB8-792B-81AF-D3F3D6E923F4}"/>
          </ac:cxnSpMkLst>
        </pc:cxnChg>
        <pc:cxnChg chg="mod">
          <ac:chgData name="Chmil, Irina (ext) (DI SW ST&amp;MK BM BTC)" userId="c4804133-f4a2-4dfa-aebf-50bcba4f7380" providerId="ADAL" clId="{6D5F49AD-1180-3446-9150-E4337F743C9C}" dt="2024-06-04T22:01:53.348" v="679" actId="164"/>
          <ac:cxnSpMkLst>
            <pc:docMk/>
            <pc:sldMk cId="1975133700" sldId="2147483474"/>
            <ac:cxnSpMk id="340" creationId="{CD1236E3-A6D1-B44D-B23B-79C0366E8EBF}"/>
          </ac:cxnSpMkLst>
        </pc:cxnChg>
        <pc:cxnChg chg="mod">
          <ac:chgData name="Chmil, Irina (ext) (DI SW ST&amp;MK BM BTC)" userId="c4804133-f4a2-4dfa-aebf-50bcba4f7380" providerId="ADAL" clId="{6D5F49AD-1180-3446-9150-E4337F743C9C}" dt="2024-06-04T22:01:53.348" v="679" actId="164"/>
          <ac:cxnSpMkLst>
            <pc:docMk/>
            <pc:sldMk cId="1975133700" sldId="2147483474"/>
            <ac:cxnSpMk id="341" creationId="{7AEA553A-56A1-2E77-4E05-824F5C64412D}"/>
          </ac:cxnSpMkLst>
        </pc:cxnChg>
      </pc:sldChg>
      <pc:sldChg chg="addSp delSp modSp mod modTransition delAnim modAnim">
        <pc:chgData name="Chmil, Irina (ext) (DI SW ST&amp;MK BM BTC)" userId="c4804133-f4a2-4dfa-aebf-50bcba4f7380" providerId="ADAL" clId="{6D5F49AD-1180-3446-9150-E4337F743C9C}" dt="2024-06-04T22:39:20.163" v="942"/>
        <pc:sldMkLst>
          <pc:docMk/>
          <pc:sldMk cId="1703045622" sldId="2147483476"/>
        </pc:sldMkLst>
        <pc:spChg chg="mod">
          <ac:chgData name="Chmil, Irina (ext) (DI SW ST&amp;MK BM BTC)" userId="c4804133-f4a2-4dfa-aebf-50bcba4f7380" providerId="ADAL" clId="{6D5F49AD-1180-3446-9150-E4337F743C9C}" dt="2024-06-04T21:56:36.626" v="564"/>
          <ac:spMkLst>
            <pc:docMk/>
            <pc:sldMk cId="1703045622" sldId="2147483476"/>
            <ac:spMk id="2" creationId="{3AA9827E-ABA2-70DC-DD8F-5CE1E0EBA945}"/>
          </ac:spMkLst>
        </pc:spChg>
        <pc:spChg chg="mod">
          <ac:chgData name="Chmil, Irina (ext) (DI SW ST&amp;MK BM BTC)" userId="c4804133-f4a2-4dfa-aebf-50bcba4f7380" providerId="ADAL" clId="{6D5F49AD-1180-3446-9150-E4337F743C9C}" dt="2024-06-04T21:56:36.627" v="565"/>
          <ac:spMkLst>
            <pc:docMk/>
            <pc:sldMk cId="1703045622" sldId="2147483476"/>
            <ac:spMk id="3" creationId="{89A8DAAA-21D4-69DD-733C-A2F80361DCB1}"/>
          </ac:spMkLst>
        </pc:spChg>
        <pc:spChg chg="mod">
          <ac:chgData name="Chmil, Irina (ext) (DI SW ST&amp;MK BM BTC)" userId="c4804133-f4a2-4dfa-aebf-50bcba4f7380" providerId="ADAL" clId="{6D5F49AD-1180-3446-9150-E4337F743C9C}" dt="2024-06-04T21:56:36.628" v="567"/>
          <ac:spMkLst>
            <pc:docMk/>
            <pc:sldMk cId="1703045622" sldId="2147483476"/>
            <ac:spMk id="4" creationId="{830FD194-93E1-B059-E5D6-FC5B5347C82D}"/>
          </ac:spMkLst>
        </pc:spChg>
        <pc:spChg chg="add del mod">
          <ac:chgData name="Chmil, Irina (ext) (DI SW ST&amp;MK BM BTC)" userId="c4804133-f4a2-4dfa-aebf-50bcba4f7380" providerId="ADAL" clId="{6D5F49AD-1180-3446-9150-E4337F743C9C}" dt="2024-06-04T20:06:59.412" v="394" actId="478"/>
          <ac:spMkLst>
            <pc:docMk/>
            <pc:sldMk cId="1703045622" sldId="2147483476"/>
            <ac:spMk id="8" creationId="{4CBC7BE7-6A98-5B7E-8B21-519250DDDD28}"/>
          </ac:spMkLst>
        </pc:spChg>
        <pc:spChg chg="mod topLvl">
          <ac:chgData name="Chmil, Irina (ext) (DI SW ST&amp;MK BM BTC)" userId="c4804133-f4a2-4dfa-aebf-50bcba4f7380" providerId="ADAL" clId="{6D5F49AD-1180-3446-9150-E4337F743C9C}" dt="2024-06-04T21:58:21.351" v="586" actId="1076"/>
          <ac:spMkLst>
            <pc:docMk/>
            <pc:sldMk cId="1703045622" sldId="2147483476"/>
            <ac:spMk id="9" creationId="{1192559B-7EB7-469A-BC41-8FE2AC9E39F4}"/>
          </ac:spMkLst>
        </pc:spChg>
        <pc:spChg chg="add del mod modVis">
          <ac:chgData name="Chmil, Irina (ext) (DI SW ST&amp;MK BM BTC)" userId="c4804133-f4a2-4dfa-aebf-50bcba4f7380" providerId="ADAL" clId="{6D5F49AD-1180-3446-9150-E4337F743C9C}" dt="2024-06-04T20:12:21.571" v="471"/>
          <ac:spMkLst>
            <pc:docMk/>
            <pc:sldMk cId="1703045622" sldId="2147483476"/>
            <ac:spMk id="10" creationId="{A9503A00-795B-7F3C-FF36-08A4CA148DB5}"/>
          </ac:spMkLst>
        </pc:spChg>
        <pc:spChg chg="del mod">
          <ac:chgData name="Chmil, Irina (ext) (DI SW ST&amp;MK BM BTC)" userId="c4804133-f4a2-4dfa-aebf-50bcba4f7380" providerId="ADAL" clId="{6D5F49AD-1180-3446-9150-E4337F743C9C}" dt="2024-06-04T20:13:23.315" v="510" actId="478"/>
          <ac:spMkLst>
            <pc:docMk/>
            <pc:sldMk cId="1703045622" sldId="2147483476"/>
            <ac:spMk id="14" creationId="{9B32521C-0B92-C806-2562-76640BF6AEFF}"/>
          </ac:spMkLst>
        </pc:spChg>
        <pc:spChg chg="add mod topLvl">
          <ac:chgData name="Chmil, Irina (ext) (DI SW ST&amp;MK BM BTC)" userId="c4804133-f4a2-4dfa-aebf-50bcba4f7380" providerId="ADAL" clId="{6D5F49AD-1180-3446-9150-E4337F743C9C}" dt="2024-06-04T22:27:06.838" v="873" actId="164"/>
          <ac:spMkLst>
            <pc:docMk/>
            <pc:sldMk cId="1703045622" sldId="2147483476"/>
            <ac:spMk id="15" creationId="{10CDC3C9-43F1-2588-1384-C3DC5B55B3D6}"/>
          </ac:spMkLst>
        </pc:spChg>
        <pc:spChg chg="add mod">
          <ac:chgData name="Chmil, Irina (ext) (DI SW ST&amp;MK BM BTC)" userId="c4804133-f4a2-4dfa-aebf-50bcba4f7380" providerId="ADAL" clId="{6D5F49AD-1180-3446-9150-E4337F743C9C}" dt="2024-06-04T21:58:59.847" v="592" actId="1076"/>
          <ac:spMkLst>
            <pc:docMk/>
            <pc:sldMk cId="1703045622" sldId="2147483476"/>
            <ac:spMk id="18" creationId="{3154C7BC-8514-E0FB-951C-5DCCE8D6595F}"/>
          </ac:spMkLst>
        </pc:spChg>
        <pc:grpChg chg="add del mod">
          <ac:chgData name="Chmil, Irina (ext) (DI SW ST&amp;MK BM BTC)" userId="c4804133-f4a2-4dfa-aebf-50bcba4f7380" providerId="ADAL" clId="{6D5F49AD-1180-3446-9150-E4337F743C9C}" dt="2024-06-04T20:19:14.950" v="524" actId="165"/>
          <ac:grpSpMkLst>
            <pc:docMk/>
            <pc:sldMk cId="1703045622" sldId="2147483476"/>
            <ac:grpSpMk id="16" creationId="{94A99B17-8ADC-15E3-B6FA-6326FA411897}"/>
          </ac:grpSpMkLst>
        </pc:grpChg>
        <pc:grpChg chg="add del mod">
          <ac:chgData name="Chmil, Irina (ext) (DI SW ST&amp;MK BM BTC)" userId="c4804133-f4a2-4dfa-aebf-50bcba4f7380" providerId="ADAL" clId="{6D5F49AD-1180-3446-9150-E4337F743C9C}" dt="2024-06-04T21:56:51.375" v="574" actId="165"/>
          <ac:grpSpMkLst>
            <pc:docMk/>
            <pc:sldMk cId="1703045622" sldId="2147483476"/>
            <ac:grpSpMk id="17" creationId="{A42E78BB-96BB-B379-005B-2A8725A3FE58}"/>
          </ac:grpSpMkLst>
        </pc:grpChg>
        <pc:grpChg chg="add mod">
          <ac:chgData name="Chmil, Irina (ext) (DI SW ST&amp;MK BM BTC)" userId="c4804133-f4a2-4dfa-aebf-50bcba4f7380" providerId="ADAL" clId="{6D5F49AD-1180-3446-9150-E4337F743C9C}" dt="2024-06-04T22:27:06.838" v="873" actId="164"/>
          <ac:grpSpMkLst>
            <pc:docMk/>
            <pc:sldMk cId="1703045622" sldId="2147483476"/>
            <ac:grpSpMk id="19" creationId="{5C2B2FDF-F5F4-E404-59F2-8DECA5C233DE}"/>
          </ac:grpSpMkLst>
        </pc:grpChg>
        <pc:graphicFrameChg chg="add mod modVis replST">
          <ac:chgData name="Chmil, Irina (ext) (DI SW ST&amp;MK BM BTC)" userId="c4804133-f4a2-4dfa-aebf-50bcba4f7380" providerId="ADAL" clId="{6D5F49AD-1180-3446-9150-E4337F743C9C}" dt="2024-06-04T21:56:36.635" v="573"/>
          <ac:graphicFrameMkLst>
            <pc:docMk/>
            <pc:sldMk cId="1703045622" sldId="2147483476"/>
            <ac:graphicFrameMk id="11" creationId="{83FBCA9F-D8EE-9F67-A10D-9893BAE74D52}"/>
          </ac:graphicFrameMkLst>
        </pc:graphicFrameChg>
        <pc:picChg chg="mod topLvl modCrop">
          <ac:chgData name="Chmil, Irina (ext) (DI SW ST&amp;MK BM BTC)" userId="c4804133-f4a2-4dfa-aebf-50bcba4f7380" providerId="ADAL" clId="{6D5F49AD-1180-3446-9150-E4337F743C9C}" dt="2024-06-04T21:56:51.375" v="574" actId="165"/>
          <ac:picMkLst>
            <pc:docMk/>
            <pc:sldMk cId="1703045622" sldId="2147483476"/>
            <ac:picMk id="5" creationId="{5CB66D07-9A31-9BEA-3A53-AA9D2FA302A5}"/>
          </ac:picMkLst>
        </pc:picChg>
        <pc:picChg chg="mod topLvl modCrop">
          <ac:chgData name="Chmil, Irina (ext) (DI SW ST&amp;MK BM BTC)" userId="c4804133-f4a2-4dfa-aebf-50bcba4f7380" providerId="ADAL" clId="{6D5F49AD-1180-3446-9150-E4337F743C9C}" dt="2024-06-04T21:56:51.375" v="574" actId="165"/>
          <ac:picMkLst>
            <pc:docMk/>
            <pc:sldMk cId="1703045622" sldId="2147483476"/>
            <ac:picMk id="6" creationId="{27426BD8-B295-992F-A173-E4C4C4E49AE5}"/>
          </ac:picMkLst>
        </pc:picChg>
        <pc:picChg chg="add del mod">
          <ac:chgData name="Chmil, Irina (ext) (DI SW ST&amp;MK BM BTC)" userId="c4804133-f4a2-4dfa-aebf-50bcba4f7380" providerId="ADAL" clId="{6D5F49AD-1180-3446-9150-E4337F743C9C}" dt="2024-06-04T20:06:59.412" v="394" actId="478"/>
          <ac:picMkLst>
            <pc:docMk/>
            <pc:sldMk cId="1703045622" sldId="2147483476"/>
            <ac:picMk id="7" creationId="{9242EA84-F2A4-881A-C49D-BA43809391D3}"/>
          </ac:picMkLst>
        </pc:picChg>
        <pc:picChg chg="mod topLvl modCrop">
          <ac:chgData name="Chmil, Irina (ext) (DI SW ST&amp;MK BM BTC)" userId="c4804133-f4a2-4dfa-aebf-50bcba4f7380" providerId="ADAL" clId="{6D5F49AD-1180-3446-9150-E4337F743C9C}" dt="2024-06-04T21:56:51.375" v="574" actId="165"/>
          <ac:picMkLst>
            <pc:docMk/>
            <pc:sldMk cId="1703045622" sldId="2147483476"/>
            <ac:picMk id="12" creationId="{ABA16B36-1648-3377-2D70-D2232A06A0ED}"/>
          </ac:picMkLst>
        </pc:picChg>
        <pc:picChg chg="mod topLvl">
          <ac:chgData name="Chmil, Irina (ext) (DI SW ST&amp;MK BM BTC)" userId="c4804133-f4a2-4dfa-aebf-50bcba4f7380" providerId="ADAL" clId="{6D5F49AD-1180-3446-9150-E4337F743C9C}" dt="2024-06-04T22:27:06.838" v="873" actId="164"/>
          <ac:picMkLst>
            <pc:docMk/>
            <pc:sldMk cId="1703045622" sldId="2147483476"/>
            <ac:picMk id="13" creationId="{A5CB54F4-9A69-947B-B98D-375F531ED75B}"/>
          </ac:picMkLst>
        </pc:picChg>
        <pc:picChg chg="mod topLvl">
          <ac:chgData name="Chmil, Irina (ext) (DI SW ST&amp;MK BM BTC)" userId="c4804133-f4a2-4dfa-aebf-50bcba4f7380" providerId="ADAL" clId="{6D5F49AD-1180-3446-9150-E4337F743C9C}" dt="2024-06-04T21:56:51.375" v="574" actId="165"/>
          <ac:picMkLst>
            <pc:docMk/>
            <pc:sldMk cId="1703045622" sldId="2147483476"/>
            <ac:picMk id="1026" creationId="{D178D830-67CC-D8A2-9E0D-C6749B0D7BEF}"/>
          </ac:picMkLst>
        </pc:picChg>
      </pc:sldChg>
      <pc:sldChg chg="add mod modShow">
        <pc:chgData name="Chmil, Irina (ext) (DI SW ST&amp;MK BM BTC)" userId="c4804133-f4a2-4dfa-aebf-50bcba4f7380" providerId="ADAL" clId="{6D5F49AD-1180-3446-9150-E4337F743C9C}" dt="2024-06-04T20:13:51.181" v="511" actId="729"/>
        <pc:sldMkLst>
          <pc:docMk/>
          <pc:sldMk cId="321192947" sldId="2147483479"/>
        </pc:sldMkLst>
      </pc:sldChg>
      <pc:sldChg chg="addSp delSp modSp add mod ord modAnim">
        <pc:chgData name="Chmil, Irina (ext) (DI SW ST&amp;MK BM BTC)" userId="c4804133-f4a2-4dfa-aebf-50bcba4f7380" providerId="ADAL" clId="{6D5F49AD-1180-3446-9150-E4337F743C9C}" dt="2024-06-04T22:20:30.382" v="870"/>
        <pc:sldMkLst>
          <pc:docMk/>
          <pc:sldMk cId="2963004598" sldId="2147483480"/>
        </pc:sldMkLst>
        <pc:spChg chg="mod">
          <ac:chgData name="Chmil, Irina (ext) (DI SW ST&amp;MK BM BTC)" userId="c4804133-f4a2-4dfa-aebf-50bcba4f7380" providerId="ADAL" clId="{6D5F49AD-1180-3446-9150-E4337F743C9C}" dt="2024-06-04T22:00:58.550" v="635"/>
          <ac:spMkLst>
            <pc:docMk/>
            <pc:sldMk cId="2963004598" sldId="2147483480"/>
            <ac:spMk id="2" creationId="{783FF78B-2D33-4ED4-94CD-E944C9A9230F}"/>
          </ac:spMkLst>
        </pc:spChg>
        <pc:spChg chg="add mod">
          <ac:chgData name="Chmil, Irina (ext) (DI SW ST&amp;MK BM BTC)" userId="c4804133-f4a2-4dfa-aebf-50bcba4f7380" providerId="ADAL" clId="{6D5F49AD-1180-3446-9150-E4337F743C9C}" dt="2024-06-04T22:18:55.060" v="852" actId="165"/>
          <ac:spMkLst>
            <pc:docMk/>
            <pc:sldMk cId="2963004598" sldId="2147483480"/>
            <ac:spMk id="3" creationId="{09F4A515-E246-B523-C0A9-C70F176C8DD7}"/>
          </ac:spMkLst>
        </pc:spChg>
        <pc:spChg chg="add del mod modVis">
          <ac:chgData name="Chmil, Irina (ext) (DI SW ST&amp;MK BM BTC)" userId="c4804133-f4a2-4dfa-aebf-50bcba4f7380" providerId="ADAL" clId="{6D5F49AD-1180-3446-9150-E4337F743C9C}" dt="2024-06-04T22:00:58.561" v="673"/>
          <ac:spMkLst>
            <pc:docMk/>
            <pc:sldMk cId="2963004598" sldId="2147483480"/>
            <ac:spMk id="4" creationId="{9A6A62AE-416C-2F67-A46B-23491387B9ED}"/>
          </ac:spMkLst>
        </pc:spChg>
        <pc:spChg chg="mod">
          <ac:chgData name="Chmil, Irina (ext) (DI SW ST&amp;MK BM BTC)" userId="c4804133-f4a2-4dfa-aebf-50bcba4f7380" providerId="ADAL" clId="{6D5F49AD-1180-3446-9150-E4337F743C9C}" dt="2024-06-04T22:00:58.551" v="636"/>
          <ac:spMkLst>
            <pc:docMk/>
            <pc:sldMk cId="2963004598" sldId="2147483480"/>
            <ac:spMk id="5" creationId="{DA7712D8-DDCF-3216-96A3-C160BD7B35D9}"/>
          </ac:spMkLst>
        </pc:spChg>
        <pc:spChg chg="mod topLvl">
          <ac:chgData name="Chmil, Irina (ext) (DI SW ST&amp;MK BM BTC)" userId="c4804133-f4a2-4dfa-aebf-50bcba4f7380" providerId="ADAL" clId="{6D5F49AD-1180-3446-9150-E4337F743C9C}" dt="2024-06-04T22:18:55.060" v="852" actId="165"/>
          <ac:spMkLst>
            <pc:docMk/>
            <pc:sldMk cId="2963004598" sldId="2147483480"/>
            <ac:spMk id="6" creationId="{AFD32138-552C-6DD6-1735-7B708C9F3915}"/>
          </ac:spMkLst>
        </pc:spChg>
        <pc:spChg chg="mod">
          <ac:chgData name="Chmil, Irina (ext) (DI SW ST&amp;MK BM BTC)" userId="c4804133-f4a2-4dfa-aebf-50bcba4f7380" providerId="ADAL" clId="{6D5F49AD-1180-3446-9150-E4337F743C9C}" dt="2024-06-04T22:00:58.552" v="641"/>
          <ac:spMkLst>
            <pc:docMk/>
            <pc:sldMk cId="2963004598" sldId="2147483480"/>
            <ac:spMk id="7" creationId="{6095FAFF-50B7-7E93-26D9-EBA745101AD7}"/>
          </ac:spMkLst>
        </pc:spChg>
        <pc:spChg chg="mod topLvl">
          <ac:chgData name="Chmil, Irina (ext) (DI SW ST&amp;MK BM BTC)" userId="c4804133-f4a2-4dfa-aebf-50bcba4f7380" providerId="ADAL" clId="{6D5F49AD-1180-3446-9150-E4337F743C9C}" dt="2024-06-04T22:18:55.060" v="852" actId="165"/>
          <ac:spMkLst>
            <pc:docMk/>
            <pc:sldMk cId="2963004598" sldId="2147483480"/>
            <ac:spMk id="8" creationId="{D7B53E6D-3456-1B67-848D-5EBEDEEC32DB}"/>
          </ac:spMkLst>
        </pc:spChg>
        <pc:spChg chg="mod topLvl">
          <ac:chgData name="Chmil, Irina (ext) (DI SW ST&amp;MK BM BTC)" userId="c4804133-f4a2-4dfa-aebf-50bcba4f7380" providerId="ADAL" clId="{6D5F49AD-1180-3446-9150-E4337F743C9C}" dt="2024-06-04T22:18:55.060" v="852" actId="165"/>
          <ac:spMkLst>
            <pc:docMk/>
            <pc:sldMk cId="2963004598" sldId="2147483480"/>
            <ac:spMk id="10" creationId="{E8CF9A0F-204D-1AAB-74F6-D63D8C88E34E}"/>
          </ac:spMkLst>
        </pc:spChg>
        <pc:spChg chg="mod">
          <ac:chgData name="Chmil, Irina (ext) (DI SW ST&amp;MK BM BTC)" userId="c4804133-f4a2-4dfa-aebf-50bcba4f7380" providerId="ADAL" clId="{6D5F49AD-1180-3446-9150-E4337F743C9C}" dt="2024-06-04T22:00:58.560" v="669"/>
          <ac:spMkLst>
            <pc:docMk/>
            <pc:sldMk cId="2963004598" sldId="2147483480"/>
            <ac:spMk id="11" creationId="{36159279-9D6B-B3F7-A44C-4CAFB6C45CDB}"/>
          </ac:spMkLst>
        </pc:spChg>
        <pc:spChg chg="mod topLvl">
          <ac:chgData name="Chmil, Irina (ext) (DI SW ST&amp;MK BM BTC)" userId="c4804133-f4a2-4dfa-aebf-50bcba4f7380" providerId="ADAL" clId="{6D5F49AD-1180-3446-9150-E4337F743C9C}" dt="2024-06-04T22:18:55.060" v="852" actId="165"/>
          <ac:spMkLst>
            <pc:docMk/>
            <pc:sldMk cId="2963004598" sldId="2147483480"/>
            <ac:spMk id="12" creationId="{4E80BC78-C614-7034-C800-4542959C0086}"/>
          </ac:spMkLst>
        </pc:spChg>
        <pc:spChg chg="del">
          <ac:chgData name="Chmil, Irina (ext) (DI SW ST&amp;MK BM BTC)" userId="c4804133-f4a2-4dfa-aebf-50bcba4f7380" providerId="ADAL" clId="{6D5F49AD-1180-3446-9150-E4337F743C9C}" dt="2024-06-04T22:00:35.528" v="604" actId="478"/>
          <ac:spMkLst>
            <pc:docMk/>
            <pc:sldMk cId="2963004598" sldId="2147483480"/>
            <ac:spMk id="15" creationId="{51B8710C-4341-66C1-E2E8-A5DB2D26F454}"/>
          </ac:spMkLst>
        </pc:spChg>
        <pc:spChg chg="add del mod">
          <ac:chgData name="Chmil, Irina (ext) (DI SW ST&amp;MK BM BTC)" userId="c4804133-f4a2-4dfa-aebf-50bcba4f7380" providerId="ADAL" clId="{6D5F49AD-1180-3446-9150-E4337F743C9C}" dt="2024-06-04T22:05:40.630" v="818" actId="478"/>
          <ac:spMkLst>
            <pc:docMk/>
            <pc:sldMk cId="2963004598" sldId="2147483480"/>
            <ac:spMk id="31" creationId="{F69140C9-9671-DAE1-6049-CD3A3C40655A}"/>
          </ac:spMkLst>
        </pc:spChg>
        <pc:spChg chg="add del mod">
          <ac:chgData name="Chmil, Irina (ext) (DI SW ST&amp;MK BM BTC)" userId="c4804133-f4a2-4dfa-aebf-50bcba4f7380" providerId="ADAL" clId="{6D5F49AD-1180-3446-9150-E4337F743C9C}" dt="2024-06-04T22:05:40.630" v="818" actId="478"/>
          <ac:spMkLst>
            <pc:docMk/>
            <pc:sldMk cId="2963004598" sldId="2147483480"/>
            <ac:spMk id="32" creationId="{ACD1CD76-E77B-7D59-36A7-89FF2A0D294D}"/>
          </ac:spMkLst>
        </pc:spChg>
        <pc:spChg chg="add del mod">
          <ac:chgData name="Chmil, Irina (ext) (DI SW ST&amp;MK BM BTC)" userId="c4804133-f4a2-4dfa-aebf-50bcba4f7380" providerId="ADAL" clId="{6D5F49AD-1180-3446-9150-E4337F743C9C}" dt="2024-06-04T22:05:40.630" v="818" actId="478"/>
          <ac:spMkLst>
            <pc:docMk/>
            <pc:sldMk cId="2963004598" sldId="2147483480"/>
            <ac:spMk id="33" creationId="{341B6AB7-2D6F-BFD4-9510-9CD6D3827375}"/>
          </ac:spMkLst>
        </pc:spChg>
        <pc:spChg chg="add del mod">
          <ac:chgData name="Chmil, Irina (ext) (DI SW ST&amp;MK BM BTC)" userId="c4804133-f4a2-4dfa-aebf-50bcba4f7380" providerId="ADAL" clId="{6D5F49AD-1180-3446-9150-E4337F743C9C}" dt="2024-06-04T22:05:40.630" v="818" actId="478"/>
          <ac:spMkLst>
            <pc:docMk/>
            <pc:sldMk cId="2963004598" sldId="2147483480"/>
            <ac:spMk id="34" creationId="{D3F4A000-3C8D-35BB-0C91-2856FB9A3751}"/>
          </ac:spMkLst>
        </pc:spChg>
        <pc:spChg chg="add mod topLvl">
          <ac:chgData name="Chmil, Irina (ext) (DI SW ST&amp;MK BM BTC)" userId="c4804133-f4a2-4dfa-aebf-50bcba4f7380" providerId="ADAL" clId="{6D5F49AD-1180-3446-9150-E4337F743C9C}" dt="2024-06-04T22:18:55.060" v="852" actId="165"/>
          <ac:spMkLst>
            <pc:docMk/>
            <pc:sldMk cId="2963004598" sldId="2147483480"/>
            <ac:spMk id="35" creationId="{43F7143B-9C37-048F-9593-1BB8580F3A0C}"/>
          </ac:spMkLst>
        </pc:spChg>
        <pc:spChg chg="add mod topLvl">
          <ac:chgData name="Chmil, Irina (ext) (DI SW ST&amp;MK BM BTC)" userId="c4804133-f4a2-4dfa-aebf-50bcba4f7380" providerId="ADAL" clId="{6D5F49AD-1180-3446-9150-E4337F743C9C}" dt="2024-06-04T22:18:55.060" v="852" actId="165"/>
          <ac:spMkLst>
            <pc:docMk/>
            <pc:sldMk cId="2963004598" sldId="2147483480"/>
            <ac:spMk id="36" creationId="{1724DEBB-4A2D-9F6E-FD8C-3F9379337E3D}"/>
          </ac:spMkLst>
        </pc:spChg>
        <pc:spChg chg="add mod topLvl">
          <ac:chgData name="Chmil, Irina (ext) (DI SW ST&amp;MK BM BTC)" userId="c4804133-f4a2-4dfa-aebf-50bcba4f7380" providerId="ADAL" clId="{6D5F49AD-1180-3446-9150-E4337F743C9C}" dt="2024-06-04T22:18:55.060" v="852" actId="165"/>
          <ac:spMkLst>
            <pc:docMk/>
            <pc:sldMk cId="2963004598" sldId="2147483480"/>
            <ac:spMk id="37" creationId="{E0B0BE97-55A9-E8EB-E87A-F96F23F7A3D0}"/>
          </ac:spMkLst>
        </pc:spChg>
        <pc:spChg chg="add mod topLvl">
          <ac:chgData name="Chmil, Irina (ext) (DI SW ST&amp;MK BM BTC)" userId="c4804133-f4a2-4dfa-aebf-50bcba4f7380" providerId="ADAL" clId="{6D5F49AD-1180-3446-9150-E4337F743C9C}" dt="2024-06-04T22:18:55.060" v="852" actId="165"/>
          <ac:spMkLst>
            <pc:docMk/>
            <pc:sldMk cId="2963004598" sldId="2147483480"/>
            <ac:spMk id="38" creationId="{59FD8684-7427-8635-D0E6-67BEA03D3D34}"/>
          </ac:spMkLst>
        </pc:spChg>
        <pc:spChg chg="mod">
          <ac:chgData name="Chmil, Irina (ext) (DI SW ST&amp;MK BM BTC)" userId="c4804133-f4a2-4dfa-aebf-50bcba4f7380" providerId="ADAL" clId="{6D5F49AD-1180-3446-9150-E4337F743C9C}" dt="2024-06-04T22:18:55.060" v="852" actId="165"/>
          <ac:spMkLst>
            <pc:docMk/>
            <pc:sldMk cId="2963004598" sldId="2147483480"/>
            <ac:spMk id="50" creationId="{ACFF2D66-BBA2-31F9-CAEC-EB5F8C62D281}"/>
          </ac:spMkLst>
        </pc:spChg>
        <pc:spChg chg="mod">
          <ac:chgData name="Chmil, Irina (ext) (DI SW ST&amp;MK BM BTC)" userId="c4804133-f4a2-4dfa-aebf-50bcba4f7380" providerId="ADAL" clId="{6D5F49AD-1180-3446-9150-E4337F743C9C}" dt="2024-06-04T22:18:55.060" v="852" actId="165"/>
          <ac:spMkLst>
            <pc:docMk/>
            <pc:sldMk cId="2963004598" sldId="2147483480"/>
            <ac:spMk id="51" creationId="{C32DA3BA-EF25-08E4-1F47-17D9FEB598C5}"/>
          </ac:spMkLst>
        </pc:spChg>
        <pc:spChg chg="mod">
          <ac:chgData name="Chmil, Irina (ext) (DI SW ST&amp;MK BM BTC)" userId="c4804133-f4a2-4dfa-aebf-50bcba4f7380" providerId="ADAL" clId="{6D5F49AD-1180-3446-9150-E4337F743C9C}" dt="2024-06-04T22:18:55.060" v="852" actId="165"/>
          <ac:spMkLst>
            <pc:docMk/>
            <pc:sldMk cId="2963004598" sldId="2147483480"/>
            <ac:spMk id="192" creationId="{72683632-6F46-8B16-54E6-2F757EA43F4C}"/>
          </ac:spMkLst>
        </pc:spChg>
        <pc:spChg chg="mod">
          <ac:chgData name="Chmil, Irina (ext) (DI SW ST&amp;MK BM BTC)" userId="c4804133-f4a2-4dfa-aebf-50bcba4f7380" providerId="ADAL" clId="{6D5F49AD-1180-3446-9150-E4337F743C9C}" dt="2024-06-04T22:18:55.060" v="852" actId="165"/>
          <ac:spMkLst>
            <pc:docMk/>
            <pc:sldMk cId="2963004598" sldId="2147483480"/>
            <ac:spMk id="194" creationId="{3195C7F3-1688-8ECA-6C2A-826C84F6DE27}"/>
          </ac:spMkLst>
        </pc:spChg>
        <pc:spChg chg="mod">
          <ac:chgData name="Chmil, Irina (ext) (DI SW ST&amp;MK BM BTC)" userId="c4804133-f4a2-4dfa-aebf-50bcba4f7380" providerId="ADAL" clId="{6D5F49AD-1180-3446-9150-E4337F743C9C}" dt="2024-06-04T22:18:55.060" v="852" actId="165"/>
          <ac:spMkLst>
            <pc:docMk/>
            <pc:sldMk cId="2963004598" sldId="2147483480"/>
            <ac:spMk id="195" creationId="{DE69C30E-12FE-A246-9058-9108B0360FE3}"/>
          </ac:spMkLst>
        </pc:spChg>
        <pc:spChg chg="mod">
          <ac:chgData name="Chmil, Irina (ext) (DI SW ST&amp;MK BM BTC)" userId="c4804133-f4a2-4dfa-aebf-50bcba4f7380" providerId="ADAL" clId="{6D5F49AD-1180-3446-9150-E4337F743C9C}" dt="2024-06-04T22:18:55.060" v="852" actId="165"/>
          <ac:spMkLst>
            <pc:docMk/>
            <pc:sldMk cId="2963004598" sldId="2147483480"/>
            <ac:spMk id="196" creationId="{A3919F8A-68EC-DF62-6120-CB17EE213609}"/>
          </ac:spMkLst>
        </pc:spChg>
        <pc:spChg chg="mod">
          <ac:chgData name="Chmil, Irina (ext) (DI SW ST&amp;MK BM BTC)" userId="c4804133-f4a2-4dfa-aebf-50bcba4f7380" providerId="ADAL" clId="{6D5F49AD-1180-3446-9150-E4337F743C9C}" dt="2024-06-04T22:18:55.060" v="852" actId="165"/>
          <ac:spMkLst>
            <pc:docMk/>
            <pc:sldMk cId="2963004598" sldId="2147483480"/>
            <ac:spMk id="197" creationId="{8F43BD7D-F892-EB06-3FB6-845AADE66F6A}"/>
          </ac:spMkLst>
        </pc:spChg>
        <pc:spChg chg="mod">
          <ac:chgData name="Chmil, Irina (ext) (DI SW ST&amp;MK BM BTC)" userId="c4804133-f4a2-4dfa-aebf-50bcba4f7380" providerId="ADAL" clId="{6D5F49AD-1180-3446-9150-E4337F743C9C}" dt="2024-06-04T22:18:55.060" v="852" actId="165"/>
          <ac:spMkLst>
            <pc:docMk/>
            <pc:sldMk cId="2963004598" sldId="2147483480"/>
            <ac:spMk id="198" creationId="{C0582443-0A85-615D-6AF9-2D958138B1CC}"/>
          </ac:spMkLst>
        </pc:spChg>
        <pc:spChg chg="mod">
          <ac:chgData name="Chmil, Irina (ext) (DI SW ST&amp;MK BM BTC)" userId="c4804133-f4a2-4dfa-aebf-50bcba4f7380" providerId="ADAL" clId="{6D5F49AD-1180-3446-9150-E4337F743C9C}" dt="2024-06-04T22:18:55.060" v="852" actId="165"/>
          <ac:spMkLst>
            <pc:docMk/>
            <pc:sldMk cId="2963004598" sldId="2147483480"/>
            <ac:spMk id="199" creationId="{1B9D9FFA-096C-D270-4389-3400A3E098E8}"/>
          </ac:spMkLst>
        </pc:spChg>
        <pc:spChg chg="mod">
          <ac:chgData name="Chmil, Irina (ext) (DI SW ST&amp;MK BM BTC)" userId="c4804133-f4a2-4dfa-aebf-50bcba4f7380" providerId="ADAL" clId="{6D5F49AD-1180-3446-9150-E4337F743C9C}" dt="2024-06-04T22:18:55.060" v="852" actId="165"/>
          <ac:spMkLst>
            <pc:docMk/>
            <pc:sldMk cId="2963004598" sldId="2147483480"/>
            <ac:spMk id="200" creationId="{15AABB6D-76DA-ED62-7D37-C62CEEABC21C}"/>
          </ac:spMkLst>
        </pc:spChg>
        <pc:spChg chg="mod">
          <ac:chgData name="Chmil, Irina (ext) (DI SW ST&amp;MK BM BTC)" userId="c4804133-f4a2-4dfa-aebf-50bcba4f7380" providerId="ADAL" clId="{6D5F49AD-1180-3446-9150-E4337F743C9C}" dt="2024-06-04T22:18:55.060" v="852" actId="165"/>
          <ac:spMkLst>
            <pc:docMk/>
            <pc:sldMk cId="2963004598" sldId="2147483480"/>
            <ac:spMk id="202" creationId="{F5D3F2BF-A286-2BEA-650E-B5215BC6762B}"/>
          </ac:spMkLst>
        </pc:spChg>
        <pc:spChg chg="mod">
          <ac:chgData name="Chmil, Irina (ext) (DI SW ST&amp;MK BM BTC)" userId="c4804133-f4a2-4dfa-aebf-50bcba4f7380" providerId="ADAL" clId="{6D5F49AD-1180-3446-9150-E4337F743C9C}" dt="2024-06-04T22:18:55.060" v="852" actId="165"/>
          <ac:spMkLst>
            <pc:docMk/>
            <pc:sldMk cId="2963004598" sldId="2147483480"/>
            <ac:spMk id="203" creationId="{6155494B-9135-6B3F-4B25-45A4CC362618}"/>
          </ac:spMkLst>
        </pc:spChg>
        <pc:spChg chg="mod">
          <ac:chgData name="Chmil, Irina (ext) (DI SW ST&amp;MK BM BTC)" userId="c4804133-f4a2-4dfa-aebf-50bcba4f7380" providerId="ADAL" clId="{6D5F49AD-1180-3446-9150-E4337F743C9C}" dt="2024-06-04T22:18:55.060" v="852" actId="165"/>
          <ac:spMkLst>
            <pc:docMk/>
            <pc:sldMk cId="2963004598" sldId="2147483480"/>
            <ac:spMk id="205" creationId="{955EFD2A-E757-571A-4FE9-8868BA2BCDBA}"/>
          </ac:spMkLst>
        </pc:spChg>
        <pc:spChg chg="mod">
          <ac:chgData name="Chmil, Irina (ext) (DI SW ST&amp;MK BM BTC)" userId="c4804133-f4a2-4dfa-aebf-50bcba4f7380" providerId="ADAL" clId="{6D5F49AD-1180-3446-9150-E4337F743C9C}" dt="2024-06-04T22:18:55.060" v="852" actId="165"/>
          <ac:spMkLst>
            <pc:docMk/>
            <pc:sldMk cId="2963004598" sldId="2147483480"/>
            <ac:spMk id="206" creationId="{D871976D-1F70-F32A-B12F-B05EC62F0A59}"/>
          </ac:spMkLst>
        </pc:spChg>
        <pc:spChg chg="mod">
          <ac:chgData name="Chmil, Irina (ext) (DI SW ST&amp;MK BM BTC)" userId="c4804133-f4a2-4dfa-aebf-50bcba4f7380" providerId="ADAL" clId="{6D5F49AD-1180-3446-9150-E4337F743C9C}" dt="2024-06-04T22:18:55.060" v="852" actId="165"/>
          <ac:spMkLst>
            <pc:docMk/>
            <pc:sldMk cId="2963004598" sldId="2147483480"/>
            <ac:spMk id="207" creationId="{EA535170-03BB-0611-AABA-DC39FB830B14}"/>
          </ac:spMkLst>
        </pc:spChg>
        <pc:spChg chg="mod">
          <ac:chgData name="Chmil, Irina (ext) (DI SW ST&amp;MK BM BTC)" userId="c4804133-f4a2-4dfa-aebf-50bcba4f7380" providerId="ADAL" clId="{6D5F49AD-1180-3446-9150-E4337F743C9C}" dt="2024-06-04T22:18:55.060" v="852" actId="165"/>
          <ac:spMkLst>
            <pc:docMk/>
            <pc:sldMk cId="2963004598" sldId="2147483480"/>
            <ac:spMk id="304" creationId="{B78EB205-268D-F5F8-2105-C2F61395F257}"/>
          </ac:spMkLst>
        </pc:spChg>
        <pc:spChg chg="mod">
          <ac:chgData name="Chmil, Irina (ext) (DI SW ST&amp;MK BM BTC)" userId="c4804133-f4a2-4dfa-aebf-50bcba4f7380" providerId="ADAL" clId="{6D5F49AD-1180-3446-9150-E4337F743C9C}" dt="2024-06-04T22:18:55.060" v="852" actId="165"/>
          <ac:spMkLst>
            <pc:docMk/>
            <pc:sldMk cId="2963004598" sldId="2147483480"/>
            <ac:spMk id="308" creationId="{40584D05-59DF-6287-2C80-F3F25B4B7CE8}"/>
          </ac:spMkLst>
        </pc:spChg>
        <pc:spChg chg="mod">
          <ac:chgData name="Chmil, Irina (ext) (DI SW ST&amp;MK BM BTC)" userId="c4804133-f4a2-4dfa-aebf-50bcba4f7380" providerId="ADAL" clId="{6D5F49AD-1180-3446-9150-E4337F743C9C}" dt="2024-06-04T22:18:55.060" v="852" actId="165"/>
          <ac:spMkLst>
            <pc:docMk/>
            <pc:sldMk cId="2963004598" sldId="2147483480"/>
            <ac:spMk id="309" creationId="{6B43CEBC-72AA-5D0B-3F11-DCC318855777}"/>
          </ac:spMkLst>
        </pc:spChg>
        <pc:spChg chg="mod">
          <ac:chgData name="Chmil, Irina (ext) (DI SW ST&amp;MK BM BTC)" userId="c4804133-f4a2-4dfa-aebf-50bcba4f7380" providerId="ADAL" clId="{6D5F49AD-1180-3446-9150-E4337F743C9C}" dt="2024-06-04T22:18:55.060" v="852" actId="165"/>
          <ac:spMkLst>
            <pc:docMk/>
            <pc:sldMk cId="2963004598" sldId="2147483480"/>
            <ac:spMk id="310" creationId="{26CBA2AF-93A6-545F-E2FC-1A35FFB82520}"/>
          </ac:spMkLst>
        </pc:spChg>
        <pc:spChg chg="mod">
          <ac:chgData name="Chmil, Irina (ext) (DI SW ST&amp;MK BM BTC)" userId="c4804133-f4a2-4dfa-aebf-50bcba4f7380" providerId="ADAL" clId="{6D5F49AD-1180-3446-9150-E4337F743C9C}" dt="2024-06-04T22:18:55.060" v="852" actId="165"/>
          <ac:spMkLst>
            <pc:docMk/>
            <pc:sldMk cId="2963004598" sldId="2147483480"/>
            <ac:spMk id="311" creationId="{5144C49B-1834-D8AA-1C48-765CDD4E4803}"/>
          </ac:spMkLst>
        </pc:spChg>
        <pc:spChg chg="mod">
          <ac:chgData name="Chmil, Irina (ext) (DI SW ST&amp;MK BM BTC)" userId="c4804133-f4a2-4dfa-aebf-50bcba4f7380" providerId="ADAL" clId="{6D5F49AD-1180-3446-9150-E4337F743C9C}" dt="2024-06-04T22:18:55.060" v="852" actId="165"/>
          <ac:spMkLst>
            <pc:docMk/>
            <pc:sldMk cId="2963004598" sldId="2147483480"/>
            <ac:spMk id="312" creationId="{8CB71E30-16FE-17EA-0BFE-66A0F769C1D9}"/>
          </ac:spMkLst>
        </pc:spChg>
        <pc:spChg chg="mod">
          <ac:chgData name="Chmil, Irina (ext) (DI SW ST&amp;MK BM BTC)" userId="c4804133-f4a2-4dfa-aebf-50bcba4f7380" providerId="ADAL" clId="{6D5F49AD-1180-3446-9150-E4337F743C9C}" dt="2024-06-04T22:18:55.060" v="852" actId="165"/>
          <ac:spMkLst>
            <pc:docMk/>
            <pc:sldMk cId="2963004598" sldId="2147483480"/>
            <ac:spMk id="313" creationId="{F93DD182-E149-4A4F-B271-507AEB19AB8D}"/>
          </ac:spMkLst>
        </pc:spChg>
        <pc:spChg chg="mod">
          <ac:chgData name="Chmil, Irina (ext) (DI SW ST&amp;MK BM BTC)" userId="c4804133-f4a2-4dfa-aebf-50bcba4f7380" providerId="ADAL" clId="{6D5F49AD-1180-3446-9150-E4337F743C9C}" dt="2024-06-04T22:18:55.060" v="852" actId="165"/>
          <ac:spMkLst>
            <pc:docMk/>
            <pc:sldMk cId="2963004598" sldId="2147483480"/>
            <ac:spMk id="323" creationId="{168D7B29-FDC7-1CA3-7CD2-ADEA55A08E51}"/>
          </ac:spMkLst>
        </pc:spChg>
        <pc:spChg chg="mod">
          <ac:chgData name="Chmil, Irina (ext) (DI SW ST&amp;MK BM BTC)" userId="c4804133-f4a2-4dfa-aebf-50bcba4f7380" providerId="ADAL" clId="{6D5F49AD-1180-3446-9150-E4337F743C9C}" dt="2024-06-04T22:18:55.060" v="852" actId="165"/>
          <ac:spMkLst>
            <pc:docMk/>
            <pc:sldMk cId="2963004598" sldId="2147483480"/>
            <ac:spMk id="324" creationId="{1CDA2B54-C7FD-42CA-51B8-425054C50D81}"/>
          </ac:spMkLst>
        </pc:spChg>
        <pc:spChg chg="mod">
          <ac:chgData name="Chmil, Irina (ext) (DI SW ST&amp;MK BM BTC)" userId="c4804133-f4a2-4dfa-aebf-50bcba4f7380" providerId="ADAL" clId="{6D5F49AD-1180-3446-9150-E4337F743C9C}" dt="2024-06-04T22:18:55.060" v="852" actId="165"/>
          <ac:spMkLst>
            <pc:docMk/>
            <pc:sldMk cId="2963004598" sldId="2147483480"/>
            <ac:spMk id="325" creationId="{13EC196A-F707-7A05-787C-60AFED7AFF66}"/>
          </ac:spMkLst>
        </pc:spChg>
        <pc:spChg chg="mod">
          <ac:chgData name="Chmil, Irina (ext) (DI SW ST&amp;MK BM BTC)" userId="c4804133-f4a2-4dfa-aebf-50bcba4f7380" providerId="ADAL" clId="{6D5F49AD-1180-3446-9150-E4337F743C9C}" dt="2024-06-04T22:18:55.060" v="852" actId="165"/>
          <ac:spMkLst>
            <pc:docMk/>
            <pc:sldMk cId="2963004598" sldId="2147483480"/>
            <ac:spMk id="326" creationId="{2CD785F2-3DAB-D062-6833-D4D6F67EE121}"/>
          </ac:spMkLst>
        </pc:spChg>
        <pc:spChg chg="mod">
          <ac:chgData name="Chmil, Irina (ext) (DI SW ST&amp;MK BM BTC)" userId="c4804133-f4a2-4dfa-aebf-50bcba4f7380" providerId="ADAL" clId="{6D5F49AD-1180-3446-9150-E4337F743C9C}" dt="2024-06-04T22:18:55.060" v="852" actId="165"/>
          <ac:spMkLst>
            <pc:docMk/>
            <pc:sldMk cId="2963004598" sldId="2147483480"/>
            <ac:spMk id="327" creationId="{60FFE97C-AF51-D506-0128-1B416A4EB017}"/>
          </ac:spMkLst>
        </pc:spChg>
        <pc:spChg chg="mod">
          <ac:chgData name="Chmil, Irina (ext) (DI SW ST&amp;MK BM BTC)" userId="c4804133-f4a2-4dfa-aebf-50bcba4f7380" providerId="ADAL" clId="{6D5F49AD-1180-3446-9150-E4337F743C9C}" dt="2024-06-04T22:18:55.060" v="852" actId="165"/>
          <ac:spMkLst>
            <pc:docMk/>
            <pc:sldMk cId="2963004598" sldId="2147483480"/>
            <ac:spMk id="328" creationId="{F4A51084-00F9-C8C7-3FEB-7178456C0571}"/>
          </ac:spMkLst>
        </pc:spChg>
        <pc:spChg chg="mod">
          <ac:chgData name="Chmil, Irina (ext) (DI SW ST&amp;MK BM BTC)" userId="c4804133-f4a2-4dfa-aebf-50bcba4f7380" providerId="ADAL" clId="{6D5F49AD-1180-3446-9150-E4337F743C9C}" dt="2024-06-04T22:18:55.060" v="852" actId="165"/>
          <ac:spMkLst>
            <pc:docMk/>
            <pc:sldMk cId="2963004598" sldId="2147483480"/>
            <ac:spMk id="330" creationId="{53B5C058-695D-7392-AC67-43D3FCF4E64A}"/>
          </ac:spMkLst>
        </pc:spChg>
        <pc:spChg chg="mod">
          <ac:chgData name="Chmil, Irina (ext) (DI SW ST&amp;MK BM BTC)" userId="c4804133-f4a2-4dfa-aebf-50bcba4f7380" providerId="ADAL" clId="{6D5F49AD-1180-3446-9150-E4337F743C9C}" dt="2024-06-04T22:18:55.060" v="852" actId="165"/>
          <ac:spMkLst>
            <pc:docMk/>
            <pc:sldMk cId="2963004598" sldId="2147483480"/>
            <ac:spMk id="331" creationId="{DB147FA7-1A5B-E38A-4E4D-B681F700C810}"/>
          </ac:spMkLst>
        </pc:spChg>
        <pc:spChg chg="mod">
          <ac:chgData name="Chmil, Irina (ext) (DI SW ST&amp;MK BM BTC)" userId="c4804133-f4a2-4dfa-aebf-50bcba4f7380" providerId="ADAL" clId="{6D5F49AD-1180-3446-9150-E4337F743C9C}" dt="2024-06-04T22:18:55.060" v="852" actId="165"/>
          <ac:spMkLst>
            <pc:docMk/>
            <pc:sldMk cId="2963004598" sldId="2147483480"/>
            <ac:spMk id="332" creationId="{AD0F5179-F656-E992-6B12-86D2C7BBA9D1}"/>
          </ac:spMkLst>
        </pc:spChg>
        <pc:spChg chg="mod">
          <ac:chgData name="Chmil, Irina (ext) (DI SW ST&amp;MK BM BTC)" userId="c4804133-f4a2-4dfa-aebf-50bcba4f7380" providerId="ADAL" clId="{6D5F49AD-1180-3446-9150-E4337F743C9C}" dt="2024-06-04T22:18:55.060" v="852" actId="165"/>
          <ac:spMkLst>
            <pc:docMk/>
            <pc:sldMk cId="2963004598" sldId="2147483480"/>
            <ac:spMk id="333" creationId="{3A95BA97-5461-CF7E-5FD6-F065B24F96DD}"/>
          </ac:spMkLst>
        </pc:spChg>
        <pc:spChg chg="mod">
          <ac:chgData name="Chmil, Irina (ext) (DI SW ST&amp;MK BM BTC)" userId="c4804133-f4a2-4dfa-aebf-50bcba4f7380" providerId="ADAL" clId="{6D5F49AD-1180-3446-9150-E4337F743C9C}" dt="2024-06-04T22:18:55.060" v="852" actId="165"/>
          <ac:spMkLst>
            <pc:docMk/>
            <pc:sldMk cId="2963004598" sldId="2147483480"/>
            <ac:spMk id="334" creationId="{6D13F238-64FE-F508-036F-4EAC54723127}"/>
          </ac:spMkLst>
        </pc:spChg>
        <pc:spChg chg="mod">
          <ac:chgData name="Chmil, Irina (ext) (DI SW ST&amp;MK BM BTC)" userId="c4804133-f4a2-4dfa-aebf-50bcba4f7380" providerId="ADAL" clId="{6D5F49AD-1180-3446-9150-E4337F743C9C}" dt="2024-06-04T22:18:55.060" v="852" actId="165"/>
          <ac:spMkLst>
            <pc:docMk/>
            <pc:sldMk cId="2963004598" sldId="2147483480"/>
            <ac:spMk id="335" creationId="{E8D412B2-56CD-D4BE-D249-85ECF9E353FB}"/>
          </ac:spMkLst>
        </pc:spChg>
        <pc:spChg chg="mod">
          <ac:chgData name="Chmil, Irina (ext) (DI SW ST&amp;MK BM BTC)" userId="c4804133-f4a2-4dfa-aebf-50bcba4f7380" providerId="ADAL" clId="{6D5F49AD-1180-3446-9150-E4337F743C9C}" dt="2024-06-04T22:18:55.060" v="852" actId="165"/>
          <ac:spMkLst>
            <pc:docMk/>
            <pc:sldMk cId="2963004598" sldId="2147483480"/>
            <ac:spMk id="342" creationId="{37294383-A734-8A2E-5E41-7858301474B1}"/>
          </ac:spMkLst>
        </pc:spChg>
        <pc:spChg chg="mod">
          <ac:chgData name="Chmil, Irina (ext) (DI SW ST&amp;MK BM BTC)" userId="c4804133-f4a2-4dfa-aebf-50bcba4f7380" providerId="ADAL" clId="{6D5F49AD-1180-3446-9150-E4337F743C9C}" dt="2024-06-04T22:18:55.060" v="852" actId="165"/>
          <ac:spMkLst>
            <pc:docMk/>
            <pc:sldMk cId="2963004598" sldId="2147483480"/>
            <ac:spMk id="345" creationId="{1CF03F8A-0AA2-064B-8D09-F0ECCD4E5B95}"/>
          </ac:spMkLst>
        </pc:spChg>
        <pc:spChg chg="mod">
          <ac:chgData name="Chmil, Irina (ext) (DI SW ST&amp;MK BM BTC)" userId="c4804133-f4a2-4dfa-aebf-50bcba4f7380" providerId="ADAL" clId="{6D5F49AD-1180-3446-9150-E4337F743C9C}" dt="2024-06-04T22:18:55.060" v="852" actId="165"/>
          <ac:spMkLst>
            <pc:docMk/>
            <pc:sldMk cId="2963004598" sldId="2147483480"/>
            <ac:spMk id="346" creationId="{02F94936-8CBE-BFC5-88B3-317F15F5A10C}"/>
          </ac:spMkLst>
        </pc:spChg>
        <pc:spChg chg="mod">
          <ac:chgData name="Chmil, Irina (ext) (DI SW ST&amp;MK BM BTC)" userId="c4804133-f4a2-4dfa-aebf-50bcba4f7380" providerId="ADAL" clId="{6D5F49AD-1180-3446-9150-E4337F743C9C}" dt="2024-06-04T22:18:55.060" v="852" actId="165"/>
          <ac:spMkLst>
            <pc:docMk/>
            <pc:sldMk cId="2963004598" sldId="2147483480"/>
            <ac:spMk id="347" creationId="{23777BF0-3077-BA1C-005A-BFC83BAB646B}"/>
          </ac:spMkLst>
        </pc:spChg>
        <pc:spChg chg="mod">
          <ac:chgData name="Chmil, Irina (ext) (DI SW ST&amp;MK BM BTC)" userId="c4804133-f4a2-4dfa-aebf-50bcba4f7380" providerId="ADAL" clId="{6D5F49AD-1180-3446-9150-E4337F743C9C}" dt="2024-06-04T22:18:55.060" v="852" actId="165"/>
          <ac:spMkLst>
            <pc:docMk/>
            <pc:sldMk cId="2963004598" sldId="2147483480"/>
            <ac:spMk id="348" creationId="{20DF74AD-4913-228C-C4E2-9116E5B30944}"/>
          </ac:spMkLst>
        </pc:spChg>
        <pc:spChg chg="mod">
          <ac:chgData name="Chmil, Irina (ext) (DI SW ST&amp;MK BM BTC)" userId="c4804133-f4a2-4dfa-aebf-50bcba4f7380" providerId="ADAL" clId="{6D5F49AD-1180-3446-9150-E4337F743C9C}" dt="2024-06-04T22:18:55.060" v="852" actId="165"/>
          <ac:spMkLst>
            <pc:docMk/>
            <pc:sldMk cId="2963004598" sldId="2147483480"/>
            <ac:spMk id="349" creationId="{57B9C13F-7D0B-F99C-A390-5B4DC50560B6}"/>
          </ac:spMkLst>
        </pc:spChg>
        <pc:spChg chg="mod">
          <ac:chgData name="Chmil, Irina (ext) (DI SW ST&amp;MK BM BTC)" userId="c4804133-f4a2-4dfa-aebf-50bcba4f7380" providerId="ADAL" clId="{6D5F49AD-1180-3446-9150-E4337F743C9C}" dt="2024-06-04T22:18:55.060" v="852" actId="165"/>
          <ac:spMkLst>
            <pc:docMk/>
            <pc:sldMk cId="2963004598" sldId="2147483480"/>
            <ac:spMk id="350" creationId="{465F3306-B622-9582-1A92-0B755ECB7EBB}"/>
          </ac:spMkLst>
        </pc:spChg>
        <pc:spChg chg="mod">
          <ac:chgData name="Chmil, Irina (ext) (DI SW ST&amp;MK BM BTC)" userId="c4804133-f4a2-4dfa-aebf-50bcba4f7380" providerId="ADAL" clId="{6D5F49AD-1180-3446-9150-E4337F743C9C}" dt="2024-06-04T22:18:55.060" v="852" actId="165"/>
          <ac:spMkLst>
            <pc:docMk/>
            <pc:sldMk cId="2963004598" sldId="2147483480"/>
            <ac:spMk id="351" creationId="{31B6E23F-2909-F72F-072A-E69019000337}"/>
          </ac:spMkLst>
        </pc:spChg>
        <pc:grpChg chg="add mod">
          <ac:chgData name="Chmil, Irina (ext) (DI SW ST&amp;MK BM BTC)" userId="c4804133-f4a2-4dfa-aebf-50bcba4f7380" providerId="ADAL" clId="{6D5F49AD-1180-3446-9150-E4337F743C9C}" dt="2024-06-04T22:18:55.060" v="852" actId="165"/>
          <ac:grpSpMkLst>
            <pc:docMk/>
            <pc:sldMk cId="2963004598" sldId="2147483480"/>
            <ac:grpSpMk id="9" creationId="{C0100E2A-793F-7DB5-97E2-24FEB206F50E}"/>
          </ac:grpSpMkLst>
        </pc:grpChg>
        <pc:grpChg chg="add mod topLvl">
          <ac:chgData name="Chmil, Irina (ext) (DI SW ST&amp;MK BM BTC)" userId="c4804133-f4a2-4dfa-aebf-50bcba4f7380" providerId="ADAL" clId="{6D5F49AD-1180-3446-9150-E4337F743C9C}" dt="2024-06-04T22:18:55.060" v="852" actId="165"/>
          <ac:grpSpMkLst>
            <pc:docMk/>
            <pc:sldMk cId="2963004598" sldId="2147483480"/>
            <ac:grpSpMk id="39" creationId="{0ADF74BF-C4D1-4CF8-DDE1-FE0A4A51611F}"/>
          </ac:grpSpMkLst>
        </pc:grpChg>
        <pc:grpChg chg="add del mod">
          <ac:chgData name="Chmil, Irina (ext) (DI SW ST&amp;MK BM BTC)" userId="c4804133-f4a2-4dfa-aebf-50bcba4f7380" providerId="ADAL" clId="{6D5F49AD-1180-3446-9150-E4337F743C9C}" dt="2024-06-04T22:18:55.060" v="852" actId="165"/>
          <ac:grpSpMkLst>
            <pc:docMk/>
            <pc:sldMk cId="2963004598" sldId="2147483480"/>
            <ac:grpSpMk id="44" creationId="{ABB4CB9B-C61C-87D0-EBDF-C8107FABEB70}"/>
          </ac:grpSpMkLst>
        </pc:grpChg>
        <pc:grpChg chg="mod">
          <ac:chgData name="Chmil, Irina (ext) (DI SW ST&amp;MK BM BTC)" userId="c4804133-f4a2-4dfa-aebf-50bcba4f7380" providerId="ADAL" clId="{6D5F49AD-1180-3446-9150-E4337F743C9C}" dt="2024-06-04T22:18:55.060" v="852" actId="165"/>
          <ac:grpSpMkLst>
            <pc:docMk/>
            <pc:sldMk cId="2963004598" sldId="2147483480"/>
            <ac:grpSpMk id="193" creationId="{ABFFCAC0-68E6-4D9B-B658-CFB329C8F62D}"/>
          </ac:grpSpMkLst>
        </pc:grpChg>
        <pc:grpChg chg="mod">
          <ac:chgData name="Chmil, Irina (ext) (DI SW ST&amp;MK BM BTC)" userId="c4804133-f4a2-4dfa-aebf-50bcba4f7380" providerId="ADAL" clId="{6D5F49AD-1180-3446-9150-E4337F743C9C}" dt="2024-06-04T22:18:55.060" v="852" actId="165"/>
          <ac:grpSpMkLst>
            <pc:docMk/>
            <pc:sldMk cId="2963004598" sldId="2147483480"/>
            <ac:grpSpMk id="201" creationId="{2C564246-90BC-ED69-6C5A-4DBCFC654C7A}"/>
          </ac:grpSpMkLst>
        </pc:grpChg>
        <pc:grpChg chg="mod">
          <ac:chgData name="Chmil, Irina (ext) (DI SW ST&amp;MK BM BTC)" userId="c4804133-f4a2-4dfa-aebf-50bcba4f7380" providerId="ADAL" clId="{6D5F49AD-1180-3446-9150-E4337F743C9C}" dt="2024-06-04T22:18:55.060" v="852" actId="165"/>
          <ac:grpSpMkLst>
            <pc:docMk/>
            <pc:sldMk cId="2963004598" sldId="2147483480"/>
            <ac:grpSpMk id="307" creationId="{D9481DCC-FD00-03B7-D22F-B25861373584}"/>
          </ac:grpSpMkLst>
        </pc:grpChg>
        <pc:grpChg chg="mod">
          <ac:chgData name="Chmil, Irina (ext) (DI SW ST&amp;MK BM BTC)" userId="c4804133-f4a2-4dfa-aebf-50bcba4f7380" providerId="ADAL" clId="{6D5F49AD-1180-3446-9150-E4337F743C9C}" dt="2024-06-04T22:18:55.060" v="852" actId="165"/>
          <ac:grpSpMkLst>
            <pc:docMk/>
            <pc:sldMk cId="2963004598" sldId="2147483480"/>
            <ac:grpSpMk id="344" creationId="{2269EFE6-313C-CE8F-D692-230F4A7E1DF9}"/>
          </ac:grpSpMkLst>
        </pc:grpChg>
        <pc:graphicFrameChg chg="mod">
          <ac:chgData name="Chmil, Irina (ext) (DI SW ST&amp;MK BM BTC)" userId="c4804133-f4a2-4dfa-aebf-50bcba4f7380" providerId="ADAL" clId="{6D5F49AD-1180-3446-9150-E4337F743C9C}" dt="2024-06-04T22:00:58.566" v="675"/>
          <ac:graphicFrameMkLst>
            <pc:docMk/>
            <pc:sldMk cId="2963004598" sldId="2147483480"/>
            <ac:graphicFrameMk id="19" creationId="{B313D269-44CE-3643-28C9-7787869CF4E8}"/>
          </ac:graphicFrameMkLst>
        </pc:graphicFrameChg>
        <pc:picChg chg="mod">
          <ac:chgData name="Chmil, Irina (ext) (DI SW ST&amp;MK BM BTC)" userId="c4804133-f4a2-4dfa-aebf-50bcba4f7380" providerId="ADAL" clId="{6D5F49AD-1180-3446-9150-E4337F743C9C}" dt="2024-06-04T22:18:55.060" v="852" actId="165"/>
          <ac:picMkLst>
            <pc:docMk/>
            <pc:sldMk cId="2963004598" sldId="2147483480"/>
            <ac:picMk id="204" creationId="{39903018-D42D-A4C2-310F-75855749DF80}"/>
          </ac:picMkLst>
        </pc:picChg>
        <pc:cxnChg chg="add mod topLvl">
          <ac:chgData name="Chmil, Irina (ext) (DI SW ST&amp;MK BM BTC)" userId="c4804133-f4a2-4dfa-aebf-50bcba4f7380" providerId="ADAL" clId="{6D5F49AD-1180-3446-9150-E4337F743C9C}" dt="2024-06-04T22:18:55.060" v="852" actId="165"/>
          <ac:cxnSpMkLst>
            <pc:docMk/>
            <pc:sldMk cId="2963004598" sldId="2147483480"/>
            <ac:cxnSpMk id="14" creationId="{5A356693-0349-D287-E3B2-F6792C468BDD}"/>
          </ac:cxnSpMkLst>
        </pc:cxnChg>
        <pc:cxnChg chg="add del mod">
          <ac:chgData name="Chmil, Irina (ext) (DI SW ST&amp;MK BM BTC)" userId="c4804133-f4a2-4dfa-aebf-50bcba4f7380" providerId="ADAL" clId="{6D5F49AD-1180-3446-9150-E4337F743C9C}" dt="2024-06-04T22:04:23.051" v="802" actId="478"/>
          <ac:cxnSpMkLst>
            <pc:docMk/>
            <pc:sldMk cId="2963004598" sldId="2147483480"/>
            <ac:cxnSpMk id="16" creationId="{BD4F816D-2578-53E4-BEAF-017D16AEB463}"/>
          </ac:cxnSpMkLst>
        </pc:cxnChg>
        <pc:cxnChg chg="add del mod">
          <ac:chgData name="Chmil, Irina (ext) (DI SW ST&amp;MK BM BTC)" userId="c4804133-f4a2-4dfa-aebf-50bcba4f7380" providerId="ADAL" clId="{6D5F49AD-1180-3446-9150-E4337F743C9C}" dt="2024-06-04T22:04:23.051" v="802" actId="478"/>
          <ac:cxnSpMkLst>
            <pc:docMk/>
            <pc:sldMk cId="2963004598" sldId="2147483480"/>
            <ac:cxnSpMk id="17" creationId="{5CCB3E4A-D720-4736-5031-06002369C992}"/>
          </ac:cxnSpMkLst>
        </pc:cxnChg>
        <pc:cxnChg chg="add del mod">
          <ac:chgData name="Chmil, Irina (ext) (DI SW ST&amp;MK BM BTC)" userId="c4804133-f4a2-4dfa-aebf-50bcba4f7380" providerId="ADAL" clId="{6D5F49AD-1180-3446-9150-E4337F743C9C}" dt="2024-06-04T22:04:23.051" v="802" actId="478"/>
          <ac:cxnSpMkLst>
            <pc:docMk/>
            <pc:sldMk cId="2963004598" sldId="2147483480"/>
            <ac:cxnSpMk id="18" creationId="{D7E1BD04-F9E5-A7DC-B2C7-AD5DCADBD987}"/>
          </ac:cxnSpMkLst>
        </pc:cxnChg>
        <pc:cxnChg chg="add mod topLvl">
          <ac:chgData name="Chmil, Irina (ext) (DI SW ST&amp;MK BM BTC)" userId="c4804133-f4a2-4dfa-aebf-50bcba4f7380" providerId="ADAL" clId="{6D5F49AD-1180-3446-9150-E4337F743C9C}" dt="2024-06-04T22:18:55.060" v="852" actId="165"/>
          <ac:cxnSpMkLst>
            <pc:docMk/>
            <pc:sldMk cId="2963004598" sldId="2147483480"/>
            <ac:cxnSpMk id="28" creationId="{4F33BE85-459D-4A2A-6AA2-8170CE8B3FB8}"/>
          </ac:cxnSpMkLst>
        </pc:cxnChg>
        <pc:cxnChg chg="add mod topLvl">
          <ac:chgData name="Chmil, Irina (ext) (DI SW ST&amp;MK BM BTC)" userId="c4804133-f4a2-4dfa-aebf-50bcba4f7380" providerId="ADAL" clId="{6D5F49AD-1180-3446-9150-E4337F743C9C}" dt="2024-06-04T22:18:55.060" v="852" actId="165"/>
          <ac:cxnSpMkLst>
            <pc:docMk/>
            <pc:sldMk cId="2963004598" sldId="2147483480"/>
            <ac:cxnSpMk id="29" creationId="{1FB8536C-A0B6-3498-4970-4F25C515A48F}"/>
          </ac:cxnSpMkLst>
        </pc:cxnChg>
        <pc:cxnChg chg="add mod topLvl">
          <ac:chgData name="Chmil, Irina (ext) (DI SW ST&amp;MK BM BTC)" userId="c4804133-f4a2-4dfa-aebf-50bcba4f7380" providerId="ADAL" clId="{6D5F49AD-1180-3446-9150-E4337F743C9C}" dt="2024-06-04T22:18:55.060" v="852" actId="165"/>
          <ac:cxnSpMkLst>
            <pc:docMk/>
            <pc:sldMk cId="2963004598" sldId="2147483480"/>
            <ac:cxnSpMk id="30" creationId="{3DCD76D5-27D9-3F13-7BE1-62D307E21E5C}"/>
          </ac:cxnSpMkLst>
        </pc:cxnChg>
        <pc:cxnChg chg="mod">
          <ac:chgData name="Chmil, Irina (ext) (DI SW ST&amp;MK BM BTC)" userId="c4804133-f4a2-4dfa-aebf-50bcba4f7380" providerId="ADAL" clId="{6D5F49AD-1180-3446-9150-E4337F743C9C}" dt="2024-06-04T22:18:55.060" v="852" actId="165"/>
          <ac:cxnSpMkLst>
            <pc:docMk/>
            <pc:sldMk cId="2963004598" sldId="2147483480"/>
            <ac:cxnSpMk id="270" creationId="{CDE06C59-E746-7AD1-A102-C2344AC41D2B}"/>
          </ac:cxnSpMkLst>
        </pc:cxnChg>
        <pc:cxnChg chg="mod">
          <ac:chgData name="Chmil, Irina (ext) (DI SW ST&amp;MK BM BTC)" userId="c4804133-f4a2-4dfa-aebf-50bcba4f7380" providerId="ADAL" clId="{6D5F49AD-1180-3446-9150-E4337F743C9C}" dt="2024-06-04T22:18:55.060" v="852" actId="165"/>
          <ac:cxnSpMkLst>
            <pc:docMk/>
            <pc:sldMk cId="2963004598" sldId="2147483480"/>
            <ac:cxnSpMk id="329" creationId="{2839573D-5C3B-0049-10C4-0C7746B7CD17}"/>
          </ac:cxnSpMkLst>
        </pc:cxnChg>
        <pc:cxnChg chg="mod">
          <ac:chgData name="Chmil, Irina (ext) (DI SW ST&amp;MK BM BTC)" userId="c4804133-f4a2-4dfa-aebf-50bcba4f7380" providerId="ADAL" clId="{6D5F49AD-1180-3446-9150-E4337F743C9C}" dt="2024-06-04T22:18:55.060" v="852" actId="165"/>
          <ac:cxnSpMkLst>
            <pc:docMk/>
            <pc:sldMk cId="2963004598" sldId="2147483480"/>
            <ac:cxnSpMk id="336" creationId="{6D955F7C-10BF-816A-B01D-41B77B5B066C}"/>
          </ac:cxnSpMkLst>
        </pc:cxnChg>
        <pc:cxnChg chg="mod">
          <ac:chgData name="Chmil, Irina (ext) (DI SW ST&amp;MK BM BTC)" userId="c4804133-f4a2-4dfa-aebf-50bcba4f7380" providerId="ADAL" clId="{6D5F49AD-1180-3446-9150-E4337F743C9C}" dt="2024-06-04T22:18:55.060" v="852" actId="165"/>
          <ac:cxnSpMkLst>
            <pc:docMk/>
            <pc:sldMk cId="2963004598" sldId="2147483480"/>
            <ac:cxnSpMk id="337" creationId="{064F93EE-CE46-D5FC-AB57-9E1E6DE0E5B0}"/>
          </ac:cxnSpMkLst>
        </pc:cxnChg>
        <pc:cxnChg chg="mod">
          <ac:chgData name="Chmil, Irina (ext) (DI SW ST&amp;MK BM BTC)" userId="c4804133-f4a2-4dfa-aebf-50bcba4f7380" providerId="ADAL" clId="{6D5F49AD-1180-3446-9150-E4337F743C9C}" dt="2024-06-04T22:18:55.060" v="852" actId="165"/>
          <ac:cxnSpMkLst>
            <pc:docMk/>
            <pc:sldMk cId="2963004598" sldId="2147483480"/>
            <ac:cxnSpMk id="338" creationId="{BDC2CCB4-084B-8A53-DF41-295A94C6C1E6}"/>
          </ac:cxnSpMkLst>
        </pc:cxnChg>
        <pc:cxnChg chg="mod">
          <ac:chgData name="Chmil, Irina (ext) (DI SW ST&amp;MK BM BTC)" userId="c4804133-f4a2-4dfa-aebf-50bcba4f7380" providerId="ADAL" clId="{6D5F49AD-1180-3446-9150-E4337F743C9C}" dt="2024-06-04T22:18:55.060" v="852" actId="165"/>
          <ac:cxnSpMkLst>
            <pc:docMk/>
            <pc:sldMk cId="2963004598" sldId="2147483480"/>
            <ac:cxnSpMk id="339" creationId="{93995EFF-BAB8-792B-81AF-D3F3D6E923F4}"/>
          </ac:cxnSpMkLst>
        </pc:cxnChg>
        <pc:cxnChg chg="mod">
          <ac:chgData name="Chmil, Irina (ext) (DI SW ST&amp;MK BM BTC)" userId="c4804133-f4a2-4dfa-aebf-50bcba4f7380" providerId="ADAL" clId="{6D5F49AD-1180-3446-9150-E4337F743C9C}" dt="2024-06-04T22:18:55.060" v="852" actId="165"/>
          <ac:cxnSpMkLst>
            <pc:docMk/>
            <pc:sldMk cId="2963004598" sldId="2147483480"/>
            <ac:cxnSpMk id="340" creationId="{CD1236E3-A6D1-B44D-B23B-79C0366E8EBF}"/>
          </ac:cxnSpMkLst>
        </pc:cxnChg>
        <pc:cxnChg chg="mod">
          <ac:chgData name="Chmil, Irina (ext) (DI SW ST&amp;MK BM BTC)" userId="c4804133-f4a2-4dfa-aebf-50bcba4f7380" providerId="ADAL" clId="{6D5F49AD-1180-3446-9150-E4337F743C9C}" dt="2024-06-04T22:18:55.060" v="852" actId="165"/>
          <ac:cxnSpMkLst>
            <pc:docMk/>
            <pc:sldMk cId="2963004598" sldId="2147483480"/>
            <ac:cxnSpMk id="341" creationId="{7AEA553A-56A1-2E77-4E05-824F5C64412D}"/>
          </ac:cxnSpMkLst>
        </pc:cxnChg>
      </pc:sldChg>
      <pc:sldChg chg="add del">
        <pc:chgData name="Chmil, Irina (ext) (DI SW ST&amp;MK BM BTC)" userId="c4804133-f4a2-4dfa-aebf-50bcba4f7380" providerId="ADAL" clId="{6D5F49AD-1180-3446-9150-E4337F743C9C}" dt="2024-06-04T22:39:10.929" v="941" actId="2696"/>
        <pc:sldMkLst>
          <pc:docMk/>
          <pc:sldMk cId="663697974" sldId="2147483481"/>
        </pc:sldMkLst>
      </pc:sldChg>
    </pc:docChg>
  </pc:docChgLst>
  <pc:docChgLst>
    <pc:chgData name="Winter, Meike (DI PA CM 2)" userId="S::meike.winter@siemens.com::76d2401f-3aae-4540-b52f-c2415ab911c6" providerId="AD" clId="Web-{8363EF6F-0404-A2BA-8906-1C420F519456}"/>
    <pc:docChg chg="addSld delSld modSld modSection">
      <pc:chgData name="Winter, Meike (DI PA CM 2)" userId="S::meike.winter@siemens.com::76d2401f-3aae-4540-b52f-c2415ab911c6" providerId="AD" clId="Web-{8363EF6F-0404-A2BA-8906-1C420F519456}" dt="2024-06-06T12:22:52.851" v="27"/>
      <pc:docMkLst>
        <pc:docMk/>
      </pc:docMkLst>
      <pc:sldChg chg="addSp delSp modSp del mod chgLayout">
        <pc:chgData name="Winter, Meike (DI PA CM 2)" userId="S::meike.winter@siemens.com::76d2401f-3aae-4540-b52f-c2415ab911c6" providerId="AD" clId="Web-{8363EF6F-0404-A2BA-8906-1C420F519456}" dt="2024-06-06T12:17:26.043" v="5"/>
        <pc:sldMkLst>
          <pc:docMk/>
          <pc:sldMk cId="3747202261" sldId="258"/>
        </pc:sldMkLst>
        <pc:spChg chg="mod ord">
          <ac:chgData name="Winter, Meike (DI PA CM 2)" userId="S::meike.winter@siemens.com::76d2401f-3aae-4540-b52f-c2415ab911c6" providerId="AD" clId="Web-{8363EF6F-0404-A2BA-8906-1C420F519456}" dt="2024-06-06T12:15:14.320" v="4"/>
          <ac:spMkLst>
            <pc:docMk/>
            <pc:sldMk cId="3747202261" sldId="258"/>
            <ac:spMk id="2" creationId="{BA8BD8BD-F5CE-23A5-C8A7-DCA5DDB1903F}"/>
          </ac:spMkLst>
        </pc:spChg>
        <pc:spChg chg="mod ord">
          <ac:chgData name="Winter, Meike (DI PA CM 2)" userId="S::meike.winter@siemens.com::76d2401f-3aae-4540-b52f-c2415ab911c6" providerId="AD" clId="Web-{8363EF6F-0404-A2BA-8906-1C420F519456}" dt="2024-06-06T12:15:14.320" v="4"/>
          <ac:spMkLst>
            <pc:docMk/>
            <pc:sldMk cId="3747202261" sldId="258"/>
            <ac:spMk id="3" creationId="{97DD4CEA-A9DF-4597-7008-CBEB1291A056}"/>
          </ac:spMkLst>
        </pc:spChg>
        <pc:spChg chg="mod ord">
          <ac:chgData name="Winter, Meike (DI PA CM 2)" userId="S::meike.winter@siemens.com::76d2401f-3aae-4540-b52f-c2415ab911c6" providerId="AD" clId="Web-{8363EF6F-0404-A2BA-8906-1C420F519456}" dt="2024-06-06T12:15:14.320" v="4"/>
          <ac:spMkLst>
            <pc:docMk/>
            <pc:sldMk cId="3747202261" sldId="258"/>
            <ac:spMk id="4" creationId="{5C4D1A8A-A89A-55F9-786A-E92306BE0047}"/>
          </ac:spMkLst>
        </pc:spChg>
        <pc:spChg chg="del">
          <ac:chgData name="Winter, Meike (DI PA CM 2)" userId="S::meike.winter@siemens.com::76d2401f-3aae-4540-b52f-c2415ab911c6" providerId="AD" clId="Web-{8363EF6F-0404-A2BA-8906-1C420F519456}" dt="2024-06-06T12:14:32.287" v="0"/>
          <ac:spMkLst>
            <pc:docMk/>
            <pc:sldMk cId="3747202261" sldId="258"/>
            <ac:spMk id="5" creationId="{B5EA0865-D71F-E201-4498-142F0DC4D0D6}"/>
          </ac:spMkLst>
        </pc:spChg>
        <pc:spChg chg="del">
          <ac:chgData name="Winter, Meike (DI PA CM 2)" userId="S::meike.winter@siemens.com::76d2401f-3aae-4540-b52f-c2415ab911c6" providerId="AD" clId="Web-{8363EF6F-0404-A2BA-8906-1C420F519456}" dt="2024-06-06T12:14:43.334" v="1"/>
          <ac:spMkLst>
            <pc:docMk/>
            <pc:sldMk cId="3747202261" sldId="258"/>
            <ac:spMk id="6" creationId="{938530C3-535B-629E-64DE-1D02EFAF0F7C}"/>
          </ac:spMkLst>
        </pc:spChg>
        <pc:spChg chg="add mod ord">
          <ac:chgData name="Winter, Meike (DI PA CM 2)" userId="S::meike.winter@siemens.com::76d2401f-3aae-4540-b52f-c2415ab911c6" providerId="AD" clId="Web-{8363EF6F-0404-A2BA-8906-1C420F519456}" dt="2024-06-06T12:15:14.320" v="4"/>
          <ac:spMkLst>
            <pc:docMk/>
            <pc:sldMk cId="3747202261" sldId="258"/>
            <ac:spMk id="7" creationId="{C0048BA0-1A0A-A1E3-4CFA-AFF3146F4C29}"/>
          </ac:spMkLst>
        </pc:spChg>
      </pc:sldChg>
      <pc:sldChg chg="addSp delSp modSp addAnim delAnim">
        <pc:chgData name="Winter, Meike (DI PA CM 2)" userId="S::meike.winter@siemens.com::76d2401f-3aae-4540-b52f-c2415ab911c6" providerId="AD" clId="Web-{8363EF6F-0404-A2BA-8906-1C420F519456}" dt="2024-06-06T12:22:38.835" v="26" actId="20577"/>
        <pc:sldMkLst>
          <pc:docMk/>
          <pc:sldMk cId="1703045622" sldId="2147483476"/>
        </pc:sldMkLst>
        <pc:spChg chg="mod">
          <ac:chgData name="Winter, Meike (DI PA CM 2)" userId="S::meike.winter@siemens.com::76d2401f-3aae-4540-b52f-c2415ab911c6" providerId="AD" clId="Web-{8363EF6F-0404-A2BA-8906-1C420F519456}" dt="2024-06-06T12:22:38.835" v="26" actId="20577"/>
          <ac:spMkLst>
            <pc:docMk/>
            <pc:sldMk cId="1703045622" sldId="2147483476"/>
            <ac:spMk id="9" creationId="{1192559B-7EB7-469A-BC41-8FE2AC9E39F4}"/>
          </ac:spMkLst>
        </pc:spChg>
        <pc:picChg chg="add del mod">
          <ac:chgData name="Winter, Meike (DI PA CM 2)" userId="S::meike.winter@siemens.com::76d2401f-3aae-4540-b52f-c2415ab911c6" providerId="AD" clId="Web-{8363EF6F-0404-A2BA-8906-1C420F519456}" dt="2024-06-06T12:20:58.159" v="11"/>
          <ac:picMkLst>
            <pc:docMk/>
            <pc:sldMk cId="1703045622" sldId="2147483476"/>
            <ac:picMk id="7" creationId="{80BEE9FF-7A1F-C5D2-A741-249331877AAE}"/>
          </ac:picMkLst>
        </pc:picChg>
        <pc:picChg chg="add mod modCrop">
          <ac:chgData name="Winter, Meike (DI PA CM 2)" userId="S::meike.winter@siemens.com::76d2401f-3aae-4540-b52f-c2415ab911c6" providerId="AD" clId="Web-{8363EF6F-0404-A2BA-8906-1C420F519456}" dt="2024-06-06T12:22:05.459" v="21" actId="1076"/>
          <ac:picMkLst>
            <pc:docMk/>
            <pc:sldMk cId="1703045622" sldId="2147483476"/>
            <ac:picMk id="8" creationId="{617BBA29-0D47-F3EB-DEC1-3855AEE9507F}"/>
          </ac:picMkLst>
        </pc:picChg>
        <pc:picChg chg="add del">
          <ac:chgData name="Winter, Meike (DI PA CM 2)" userId="S::meike.winter@siemens.com::76d2401f-3aae-4540-b52f-c2415ab911c6" providerId="AD" clId="Web-{8363EF6F-0404-A2BA-8906-1C420F519456}" dt="2024-06-06T12:21:11.800" v="12"/>
          <ac:picMkLst>
            <pc:docMk/>
            <pc:sldMk cId="1703045622" sldId="2147483476"/>
            <ac:picMk id="12" creationId="{ABA16B36-1648-3377-2D70-D2232A06A0ED}"/>
          </ac:picMkLst>
        </pc:picChg>
      </pc:sldChg>
      <pc:sldChg chg="del">
        <pc:chgData name="Winter, Meike (DI PA CM 2)" userId="S::meike.winter@siemens.com::76d2401f-3aae-4540-b52f-c2415ab911c6" providerId="AD" clId="Web-{8363EF6F-0404-A2BA-8906-1C420F519456}" dt="2024-06-06T12:22:52.851" v="27"/>
        <pc:sldMkLst>
          <pc:docMk/>
          <pc:sldMk cId="321192947" sldId="2147483479"/>
        </pc:sldMkLst>
      </pc:sldChg>
      <pc:sldChg chg="modSp new mod modClrScheme chgLayout">
        <pc:chgData name="Winter, Meike (DI PA CM 2)" userId="S::meike.winter@siemens.com::76d2401f-3aae-4540-b52f-c2415ab911c6" providerId="AD" clId="Web-{8363EF6F-0404-A2BA-8906-1C420F519456}" dt="2024-06-06T12:18:42.092" v="7"/>
        <pc:sldMkLst>
          <pc:docMk/>
          <pc:sldMk cId="3745636678" sldId="2147483481"/>
        </pc:sldMkLst>
        <pc:spChg chg="mod ord">
          <ac:chgData name="Winter, Meike (DI PA CM 2)" userId="S::meike.winter@siemens.com::76d2401f-3aae-4540-b52f-c2415ab911c6" providerId="AD" clId="Web-{8363EF6F-0404-A2BA-8906-1C420F519456}" dt="2024-06-06T12:18:42.092" v="7"/>
          <ac:spMkLst>
            <pc:docMk/>
            <pc:sldMk cId="3745636678" sldId="2147483481"/>
            <ac:spMk id="2" creationId="{31C9EB34-12F1-2B6E-A9C5-689AC0013FE4}"/>
          </ac:spMkLst>
        </pc:spChg>
        <pc:spChg chg="mod ord">
          <ac:chgData name="Winter, Meike (DI PA CM 2)" userId="S::meike.winter@siemens.com::76d2401f-3aae-4540-b52f-c2415ab911c6" providerId="AD" clId="Web-{8363EF6F-0404-A2BA-8906-1C420F519456}" dt="2024-06-06T12:18:42.092" v="7"/>
          <ac:spMkLst>
            <pc:docMk/>
            <pc:sldMk cId="3745636678" sldId="2147483481"/>
            <ac:spMk id="3" creationId="{4428AEF2-49E2-BF1E-DE03-7F5DEAEF1689}"/>
          </ac:spMkLst>
        </pc:spChg>
        <pc:spChg chg="mod ord">
          <ac:chgData name="Winter, Meike (DI PA CM 2)" userId="S::meike.winter@siemens.com::76d2401f-3aae-4540-b52f-c2415ab911c6" providerId="AD" clId="Web-{8363EF6F-0404-A2BA-8906-1C420F519456}" dt="2024-06-06T12:18:42.092" v="7"/>
          <ac:spMkLst>
            <pc:docMk/>
            <pc:sldMk cId="3745636678" sldId="2147483481"/>
            <ac:spMk id="4" creationId="{4BB184BD-29A4-5DF1-D70C-2B45A88D99AC}"/>
          </ac:spMkLst>
        </pc:spChg>
      </pc:sldChg>
    </pc:docChg>
  </pc:docChgLst>
  <pc:docChgLst>
    <pc:chgData name="Kroesmann, Christoph (DI CM&amp;MK IP PR)" userId="82a53625-a635-43fc-bf38-2dc352b564fc" providerId="ADAL" clId="{79543596-82A4-4503-BD21-C796E58526DE}"/>
    <pc:docChg chg="modSld">
      <pc:chgData name="Kroesmann, Christoph (DI CM&amp;MK IP PR)" userId="82a53625-a635-43fc-bf38-2dc352b564fc" providerId="ADAL" clId="{79543596-82A4-4503-BD21-C796E58526DE}" dt="2024-05-29T14:38:11.839" v="15" actId="20577"/>
      <pc:docMkLst>
        <pc:docMk/>
      </pc:docMkLst>
      <pc:sldChg chg="modSp mod">
        <pc:chgData name="Kroesmann, Christoph (DI CM&amp;MK IP PR)" userId="82a53625-a635-43fc-bf38-2dc352b564fc" providerId="ADAL" clId="{79543596-82A4-4503-BD21-C796E58526DE}" dt="2024-05-29T14:38:11.839" v="15" actId="20577"/>
        <pc:sldMkLst>
          <pc:docMk/>
          <pc:sldMk cId="4034978469" sldId="263"/>
        </pc:sldMkLst>
        <pc:spChg chg="mod">
          <ac:chgData name="Kroesmann, Christoph (DI CM&amp;MK IP PR)" userId="82a53625-a635-43fc-bf38-2dc352b564fc" providerId="ADAL" clId="{79543596-82A4-4503-BD21-C796E58526DE}" dt="2024-05-29T14:38:11.839" v="15" actId="20577"/>
          <ac:spMkLst>
            <pc:docMk/>
            <pc:sldMk cId="4034978469" sldId="263"/>
            <ac:spMk id="3" creationId="{8E23FE03-77CB-4CF7-73EB-3A1C292AF17D}"/>
          </ac:spMkLst>
        </pc:spChg>
      </pc:sld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smtClean="0"/>
              <a:t>6/11/2024</a:t>
            </a:fld>
            <a:endParaRPr lang="en-US" sz="1050"/>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a:solidFill>
                  <a:schemeClr val="accent2"/>
                </a:solidFill>
              </a:rPr>
              <a:t>Hand out</a:t>
            </a:r>
            <a:r>
              <a:rPr lang="en-US" sz="1050">
                <a:solidFill>
                  <a:schemeClr val="accent2"/>
                </a:solidFill>
              </a:rPr>
              <a:t> </a:t>
            </a:r>
            <a:fld id="{C92BABF8-1341-4DCB-864A-D83C08BEEAE4}" type="slidenum">
              <a:rPr lang="en-US" sz="1050" smtClean="0"/>
              <a:t>‹Nr.›</a:t>
            </a:fld>
            <a:endParaRPr lang="en-US" sz="1050"/>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lvl1pPr>
          </a:lstStyle>
          <a:p>
            <a:endParaRPr lang="en-US"/>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lvl1pPr>
          </a:lstStyle>
          <a:p>
            <a:fld id="{76FBC1AF-E4C9-412F-9B6D-66CD520F95DB}" type="datetimeFigureOut">
              <a:rPr lang="en-US" smtClean="0"/>
              <a:pPr/>
              <a:t>6/11/2024</a:t>
            </a:fld>
            <a:endParaRPr lang="en-US"/>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lvl1pPr>
          </a:lstStyle>
          <a:p>
            <a:endParaRPr lang="en-US"/>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a:solidFill>
                  <a:schemeClr val="accent2"/>
                </a:solidFill>
              </a:rPr>
              <a:t>Notes</a:t>
            </a:r>
            <a:r>
              <a:rPr lang="en-US"/>
              <a:t> </a:t>
            </a:r>
            <a:fld id="{E76C657F-0E32-4130-ADDA-66B81138A76A}" type="slidenum">
              <a:rPr lang="en-US" smtClean="0"/>
              <a:pPr/>
              <a:t>‹Nr.›</a:t>
            </a:fld>
            <a:endParaRPr lang="en-US"/>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a:t>
            </a:fld>
            <a:endParaRPr lang="en-US"/>
          </a:p>
        </p:txBody>
      </p:sp>
    </p:spTree>
    <p:extLst>
      <p:ext uri="{BB962C8B-B14F-4D97-AF65-F5344CB8AC3E}">
        <p14:creationId xmlns:p14="http://schemas.microsoft.com/office/powerpoint/2010/main" val="28732296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r>
              <a:rPr lang="en-US" b="0" i="0">
                <a:solidFill>
                  <a:srgbClr val="000028"/>
                </a:solidFill>
                <a:effectLst/>
                <a:highlight>
                  <a:srgbClr val="FFFFFF"/>
                </a:highlight>
                <a:latin typeface="SiemensSans"/>
              </a:rPr>
              <a:t>Our new Hydrogen Plant Configurator is an intelligent chatbot based on generative artificial intelligence which enables users to create plant designs for hydrogen production. </a:t>
            </a:r>
          </a:p>
          <a:p>
            <a:endParaRPr lang="en-US" b="0" i="0">
              <a:solidFill>
                <a:srgbClr val="000028"/>
              </a:solidFill>
              <a:effectLst/>
              <a:highlight>
                <a:srgbClr val="FFFFFF"/>
              </a:highlight>
              <a:latin typeface="SiemensSans"/>
            </a:endParaRPr>
          </a:p>
          <a:p>
            <a:r>
              <a:rPr lang="en-US" b="0" i="0">
                <a:solidFill>
                  <a:srgbClr val="000028"/>
                </a:solidFill>
                <a:effectLst/>
                <a:highlight>
                  <a:srgbClr val="FFFFFF"/>
                </a:highlight>
                <a:latin typeface="SiemensSans"/>
              </a:rPr>
              <a:t>In an iterative process, the configurator is fed with the desired design characteristics of a production plant. </a:t>
            </a:r>
          </a:p>
          <a:p>
            <a:endParaRPr lang="en-US" b="0" i="0">
              <a:solidFill>
                <a:srgbClr val="000028"/>
              </a:solidFill>
              <a:effectLst/>
              <a:highlight>
                <a:srgbClr val="FFFFFF"/>
              </a:highlight>
              <a:latin typeface="SiemensSans"/>
            </a:endParaRPr>
          </a:p>
          <a:p>
            <a:r>
              <a:rPr lang="en-US" b="0" i="0">
                <a:solidFill>
                  <a:srgbClr val="000028"/>
                </a:solidFill>
                <a:effectLst/>
                <a:highlight>
                  <a:srgbClr val="FFFFFF"/>
                </a:highlight>
                <a:latin typeface="SiemensSans"/>
              </a:rPr>
              <a:t>The AI then creates seamless block flow diagrams up to precise layouts of the system units and connections. </a:t>
            </a:r>
          </a:p>
          <a:p>
            <a:endParaRPr lang="en-US" b="0" i="0">
              <a:solidFill>
                <a:srgbClr val="000028"/>
              </a:solidFill>
              <a:effectLst/>
              <a:highlight>
                <a:srgbClr val="FFFFFF"/>
              </a:highlight>
              <a:latin typeface="SiemensSans"/>
            </a:endParaRPr>
          </a:p>
          <a:p>
            <a:r>
              <a:rPr lang="en-US" b="0" i="0">
                <a:solidFill>
                  <a:srgbClr val="000028"/>
                </a:solidFill>
                <a:effectLst/>
                <a:highlight>
                  <a:srgbClr val="FFFFFF"/>
                </a:highlight>
                <a:latin typeface="SiemensSans"/>
              </a:rPr>
              <a:t>The data can then be transferred to engineering and simulation software such as </a:t>
            </a:r>
            <a:r>
              <a:rPr lang="en-US" b="0" i="0" err="1">
                <a:solidFill>
                  <a:srgbClr val="000028"/>
                </a:solidFill>
                <a:effectLst/>
                <a:highlight>
                  <a:srgbClr val="FFFFFF"/>
                </a:highlight>
                <a:latin typeface="SiemensSans"/>
              </a:rPr>
              <a:t>Comos</a:t>
            </a:r>
            <a:r>
              <a:rPr lang="en-US" b="0" i="0">
                <a:solidFill>
                  <a:srgbClr val="000028"/>
                </a:solidFill>
                <a:effectLst/>
                <a:highlight>
                  <a:srgbClr val="FFFFFF"/>
                </a:highlight>
                <a:latin typeface="SiemensSans"/>
              </a:rPr>
              <a:t> and </a:t>
            </a:r>
            <a:r>
              <a:rPr lang="en-US" b="0" i="0" err="1">
                <a:solidFill>
                  <a:srgbClr val="000028"/>
                </a:solidFill>
                <a:effectLst/>
                <a:highlight>
                  <a:srgbClr val="FFFFFF"/>
                </a:highlight>
                <a:latin typeface="SiemensSans"/>
              </a:rPr>
              <a:t>gProms</a:t>
            </a:r>
            <a:r>
              <a:rPr lang="en-US" b="0" i="0">
                <a:solidFill>
                  <a:srgbClr val="000028"/>
                </a:solidFill>
                <a:effectLst/>
                <a:highlight>
                  <a:srgbClr val="FFFFFF"/>
                </a:highlight>
                <a:latin typeface="SiemensSans"/>
              </a:rPr>
              <a:t>, for example, to automatically create the piping and instrumentation diagrams.</a:t>
            </a:r>
            <a:endParaRPr lang="en-US"/>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0</a:t>
            </a:fld>
            <a:endParaRPr lang="en-US"/>
          </a:p>
        </p:txBody>
      </p:sp>
    </p:spTree>
    <p:extLst>
      <p:ext uri="{BB962C8B-B14F-4D97-AF65-F5344CB8AC3E}">
        <p14:creationId xmlns:p14="http://schemas.microsoft.com/office/powerpoint/2010/main" val="12836810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The configurator will start with an AI assistant to guide users for configuration</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Users can type their replies in the user message box</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A summary of the user’s input is given to check on the right-hand side in case of long conversations</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Users can type the options they would like to have answered</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It is recommended that users type their answers with units if multiple units possible</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However, the AI will confirm with users which unit they refer to if not submitted</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A list of optional questions is shown for users to choose from once all mandatory questions are answered</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If users choose to answer optional questions, the AI will guide them through the chosen questions one by one</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Minor typos are not a problem, you can also go back and correct your input, the Chatbot takes care of modifications</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After all questions are answered, the AI starts configuration upon users confirmation</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As a result, a block flow diagram of the plant is created including needed process units and key material flows</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A legend on the right-bottom explains the diagram</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There are two types of material flow information shown:</a:t>
            </a: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Aptos" panose="020B0004020202020204" pitchFamily="34" charset="0"/>
              <a:buChar char="-"/>
            </a:pPr>
            <a:r>
              <a:rPr lang="en-US" sz="1800" kern="100">
                <a:effectLst/>
                <a:latin typeface="Aptos" panose="020B0004020202020204" pitchFamily="34" charset="0"/>
                <a:ea typeface="Aptos" panose="020B0004020202020204" pitchFamily="34" charset="0"/>
                <a:cs typeface="Times New Roman" panose="02020603050405020304" pitchFamily="18" charset="0"/>
              </a:rPr>
              <a:t>Full load average scenario, at the top of lines</a:t>
            </a: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spcAft>
                <a:spcPts val="800"/>
              </a:spcAft>
              <a:buFont typeface="Aptos" panose="020B0004020202020204" pitchFamily="34" charset="0"/>
              <a:buChar char="-"/>
            </a:pPr>
            <a:r>
              <a:rPr lang="en-US" sz="1800" kern="100">
                <a:effectLst/>
                <a:latin typeface="Aptos" panose="020B0004020202020204" pitchFamily="34" charset="0"/>
                <a:ea typeface="Aptos" panose="020B0004020202020204" pitchFamily="34" charset="0"/>
                <a:cs typeface="Times New Roman" panose="02020603050405020304" pitchFamily="18" charset="0"/>
              </a:rPr>
              <a:t>Maximum daily capacity at beginning of life, at the bottom of lines</a:t>
            </a:r>
          </a:p>
          <a:p>
            <a:pPr marL="342900" lvl="0" indent="-342900">
              <a:lnSpc>
                <a:spcPct val="107000"/>
              </a:lnSpc>
              <a:spcAft>
                <a:spcPts val="800"/>
              </a:spcAft>
              <a:buFont typeface="Aptos" panose="020B0004020202020204" pitchFamily="34" charset="0"/>
              <a:buChar char="-"/>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On the left-hand side, a list of key data of the plant is provided</a:t>
            </a:r>
          </a:p>
          <a:p>
            <a:pPr>
              <a:lnSpc>
                <a:spcPct val="107000"/>
              </a:lnSpc>
              <a:spcAft>
                <a:spcPts val="800"/>
              </a:spcAft>
            </a:pP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800" kern="100">
                <a:effectLst/>
                <a:latin typeface="Aptos" panose="020B0004020202020204" pitchFamily="34" charset="0"/>
                <a:ea typeface="Aptos" panose="020B0004020202020204" pitchFamily="34" charset="0"/>
                <a:cs typeface="Times New Roman" panose="02020603050405020304" pitchFamily="18" charset="0"/>
              </a:rPr>
              <a:t>Finally, you can export the diagram as a PDF file</a:t>
            </a:r>
            <a:endParaRPr lang="de-DE" sz="1800" kern="100">
              <a:effectLst/>
              <a:latin typeface="Aptos" panose="020B0004020202020204" pitchFamily="34" charset="0"/>
              <a:ea typeface="Aptos" panose="020B0004020202020204" pitchFamily="34" charset="0"/>
              <a:cs typeface="Times New Roman" panose="02020603050405020304" pitchFamily="18" charset="0"/>
            </a:endParaRPr>
          </a:p>
          <a:p>
            <a:endParaRPr lang="de-DE"/>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1</a:t>
            </a:fld>
            <a:endParaRPr lang="en-US"/>
          </a:p>
        </p:txBody>
      </p:sp>
    </p:spTree>
    <p:extLst>
      <p:ext uri="{BB962C8B-B14F-4D97-AF65-F5344CB8AC3E}">
        <p14:creationId xmlns:p14="http://schemas.microsoft.com/office/powerpoint/2010/main" val="41659932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9400" y="646113"/>
            <a:ext cx="6310313" cy="3549650"/>
          </a:xfrm>
        </p:spPr>
      </p:sp>
      <p:sp>
        <p:nvSpPr>
          <p:cNvPr id="3" name="Notizenplatzhalter 2"/>
          <p:cNvSpPr>
            <a:spLocks noGrp="1"/>
          </p:cNvSpPr>
          <p:nvPr>
            <p:ph type="body" idx="1"/>
          </p:nvPr>
        </p:nvSpPr>
        <p:spPr/>
        <p:txBody>
          <a:bodyPr/>
          <a:lstStyle/>
          <a:p>
            <a:pPr marL="0" lvl="0" indent="0">
              <a:lnSpc>
                <a:spcPct val="150000"/>
              </a:lnSpc>
              <a:spcAft>
                <a:spcPts val="800"/>
              </a:spcAft>
              <a:buFont typeface="Symbol" panose="05050102010706020507" pitchFamily="18" charset="2"/>
              <a:buNone/>
            </a:pPr>
            <a:r>
              <a:rPr lang="en-US" sz="1800">
                <a:effectLst/>
                <a:latin typeface="Arial" panose="020B0604020202020204" pitchFamily="34" charset="0"/>
                <a:ea typeface="Times New Roman" panose="02020603050405020304" pitchFamily="18" charset="0"/>
                <a:cs typeface="Arial" panose="020B0604020202020204" pitchFamily="34" charset="0"/>
              </a:rPr>
              <a:t>Both the Hydrogen Plant Configurator as well as SFC Generation will be available</a:t>
            </a:r>
            <a:r>
              <a:rPr lang="en-US" sz="1800">
                <a:effectLst/>
                <a:latin typeface="Arial" panose="020B0604020202020204" pitchFamily="34" charset="0"/>
                <a:ea typeface="Times New Roman" panose="02020603050405020304" pitchFamily="18" charset="0"/>
                <a:cs typeface="Times New Roman" panose="02020603050405020304" pitchFamily="18" charset="0"/>
              </a:rPr>
              <a:t> on the Siemens </a:t>
            </a:r>
            <a:r>
              <a:rPr lang="en-US" sz="1800" err="1">
                <a:effectLst/>
                <a:latin typeface="Arial" panose="020B0604020202020204" pitchFamily="34" charset="0"/>
                <a:ea typeface="Times New Roman" panose="02020603050405020304" pitchFamily="18" charset="0"/>
                <a:cs typeface="Times New Roman" panose="02020603050405020304" pitchFamily="18" charset="0"/>
              </a:rPr>
              <a:t>Xcelerator</a:t>
            </a:r>
            <a:r>
              <a:rPr lang="en-US" sz="1800">
                <a:effectLst/>
                <a:latin typeface="Arial" panose="020B0604020202020204" pitchFamily="34" charset="0"/>
                <a:ea typeface="Times New Roman" panose="02020603050405020304" pitchFamily="18" charset="0"/>
                <a:cs typeface="Times New Roman" panose="02020603050405020304" pitchFamily="18" charset="0"/>
              </a:rPr>
              <a:t> Marketplace l</a:t>
            </a:r>
            <a:r>
              <a:rPr lang="en-US" sz="1800">
                <a:effectLst/>
                <a:latin typeface="Arial" panose="020B0604020202020204" pitchFamily="34" charset="0"/>
                <a:ea typeface="Times New Roman" panose="02020603050405020304" pitchFamily="18" charset="0"/>
                <a:cs typeface="Arial" panose="020B0604020202020204" pitchFamily="34" charset="0"/>
              </a:rPr>
              <a:t>ater this year and beginning of next year respectively</a:t>
            </a:r>
            <a:endParaRPr lang="de-DE" sz="1800">
              <a:effectLst/>
              <a:latin typeface="Arial" panose="020B0604020202020204" pitchFamily="34" charset="0"/>
              <a:ea typeface="Times New Roman" panose="02020603050405020304" pitchFamily="18" charset="0"/>
              <a:cs typeface="Times New Roman" panose="02020603050405020304" pitchFamily="18" charset="0"/>
            </a:endParaRPr>
          </a:p>
          <a:p>
            <a:br>
              <a:rPr lang="en-US" sz="1800">
                <a:effectLst/>
                <a:latin typeface="Arial" panose="020B0604020202020204" pitchFamily="34" charset="0"/>
                <a:ea typeface="Times New Roman" panose="02020603050405020304" pitchFamily="18" charset="0"/>
              </a:rPr>
            </a:br>
            <a:endParaRPr lang="en-US" b="0" i="0">
              <a:solidFill>
                <a:srgbClr val="000000"/>
              </a:solidFill>
              <a:effectLst/>
              <a:latin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D7A0"/>
                </a:solidFill>
                <a:effectLst/>
                <a:uLnTx/>
                <a:uFillTx/>
                <a:latin typeface="Arial"/>
                <a:ea typeface="+mn-ea"/>
                <a:cs typeface="+mn-cs"/>
              </a:rPr>
              <a:t>Notes</a:t>
            </a:r>
            <a:r>
              <a:rPr kumimoji="0" lang="en-US" sz="1050" b="0" i="0" u="none" strike="noStrike" kern="1200" cap="none" spc="0" normalizeH="0" baseline="0" noProof="0">
                <a:ln>
                  <a:noFill/>
                </a:ln>
                <a:solidFill>
                  <a:srgbClr val="000000"/>
                </a:solidFill>
                <a:effectLst/>
                <a:uLnTx/>
                <a:uFillTx/>
                <a:latin typeface="Arial"/>
                <a:ea typeface="+mn-ea"/>
                <a:cs typeface="+mn-cs"/>
              </a:rPr>
              <a:t> </a:t>
            </a:r>
            <a:fld id="{E76C657F-0E32-4130-ADDA-66B81138A76A}" type="slidenum">
              <a:rPr kumimoji="0" 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332604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D7A0"/>
                </a:solidFill>
                <a:effectLst/>
                <a:uLnTx/>
                <a:uFillTx/>
                <a:latin typeface="Arial"/>
                <a:ea typeface="+mn-ea"/>
                <a:cs typeface="+mn-cs"/>
              </a:rPr>
              <a:t>Notes</a:t>
            </a:r>
            <a:r>
              <a:rPr kumimoji="0" lang="en-US" sz="1050" b="0" i="0" u="none" strike="noStrike" kern="1200" cap="none" spc="0" normalizeH="0" baseline="0" noProof="0">
                <a:ln>
                  <a:noFill/>
                </a:ln>
                <a:solidFill>
                  <a:srgbClr val="000000"/>
                </a:solidFill>
                <a:effectLst/>
                <a:uLnTx/>
                <a:uFillTx/>
                <a:latin typeface="Arial"/>
                <a:ea typeface="+mn-ea"/>
                <a:cs typeface="+mn-cs"/>
              </a:rPr>
              <a:t> </a:t>
            </a:r>
            <a:fld id="{E76C657F-0E32-4130-ADDA-66B81138A76A}" type="slidenum">
              <a:rPr kumimoji="0" 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59921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027278" y="6882465"/>
            <a:ext cx="7872086" cy="169277"/>
          </a:xfrm>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909786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00F686-A6B2-469C-B7A8-25796657ECB2}"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9302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00F686-A6B2-469C-B7A8-25796657ECB2}"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53022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592138"/>
            <a:ext cx="5921375" cy="3332162"/>
          </a:xfrm>
        </p:spPr>
      </p:sp>
      <p:sp>
        <p:nvSpPr>
          <p:cNvPr id="3" name="Notes Placeholder 2"/>
          <p:cNvSpPr>
            <a:spLocks noGrp="1"/>
          </p:cNvSpPr>
          <p:nvPr>
            <p:ph type="body" idx="1"/>
          </p:nvPr>
        </p:nvSpPr>
        <p:spPr>
          <a:xfrm>
            <a:off x="673281" y="4996056"/>
            <a:ext cx="5159395" cy="169277"/>
          </a:xfrm>
        </p:spPr>
        <p:txBody>
          <a:bodyPr/>
          <a:lstStyle/>
          <a:p>
            <a:endParaRPr lang="en-US"/>
          </a:p>
        </p:txBody>
      </p:sp>
      <p:sp>
        <p:nvSpPr>
          <p:cNvPr id="4" name="Date Placeholder 3"/>
          <p:cNvSpPr>
            <a:spLocks noGrp="1"/>
          </p:cNvSpPr>
          <p:nvPr>
            <p:ph type="dt" idx="1"/>
          </p:nvPr>
        </p:nvSpPr>
        <p:spPr/>
        <p:txBody>
          <a:bodyPr/>
          <a:lstStyle/>
          <a:p>
            <a:pPr marL="0" marR="0" lvl="0" indent="0" algn="r" defTabSz="924221"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24221" rtl="0" eaLnBrk="1" fontAlgn="auto" latinLnBrk="0" hangingPunct="1">
                <a:lnSpc>
                  <a:spcPct val="100000"/>
                </a:lnSpc>
                <a:spcBef>
                  <a:spcPts val="0"/>
                </a:spcBef>
                <a:spcAft>
                  <a:spcPts val="0"/>
                </a:spcAft>
                <a:buClrTx/>
                <a:buSzTx/>
                <a:buFontTx/>
                <a:buNone/>
                <a:tabLst/>
                <a:defRPr/>
              </a:pPr>
              <a:t>11 June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24221"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24221"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885426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D7A0"/>
                </a:solidFill>
                <a:effectLst/>
                <a:uLnTx/>
                <a:uFillTx/>
                <a:latin typeface="Arial"/>
                <a:ea typeface="+mn-ea"/>
                <a:cs typeface="+mn-cs"/>
              </a:rPr>
              <a:t>Notes</a:t>
            </a:r>
            <a:r>
              <a:rPr kumimoji="0" lang="en-US" sz="1050" b="0" i="0" u="none" strike="noStrike" kern="1200" cap="none" spc="0" normalizeH="0" baseline="0" noProof="0">
                <a:ln>
                  <a:noFill/>
                </a:ln>
                <a:solidFill>
                  <a:srgbClr val="000000"/>
                </a:solidFill>
                <a:effectLst/>
                <a:uLnTx/>
                <a:uFillTx/>
                <a:latin typeface="Arial"/>
                <a:ea typeface="+mn-ea"/>
                <a:cs typeface="+mn-cs"/>
              </a:rPr>
              <a:t> </a:t>
            </a:r>
            <a:fld id="{E76C657F-0E32-4130-ADDA-66B81138A76A}" type="slidenum">
              <a:rPr kumimoji="0" 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27138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22</a:t>
            </a:fld>
            <a:endParaRPr lang="en-US"/>
          </a:p>
        </p:txBody>
      </p:sp>
    </p:spTree>
    <p:extLst>
      <p:ext uri="{BB962C8B-B14F-4D97-AF65-F5344CB8AC3E}">
        <p14:creationId xmlns:p14="http://schemas.microsoft.com/office/powerpoint/2010/main" val="4159264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D7A0"/>
                </a:solidFill>
                <a:effectLst/>
                <a:uLnTx/>
                <a:uFillTx/>
                <a:latin typeface="Arial"/>
                <a:ea typeface="+mn-ea"/>
                <a:cs typeface="+mn-cs"/>
              </a:rPr>
              <a:t>Notes</a:t>
            </a:r>
            <a:r>
              <a:rPr kumimoji="0" lang="en-US" sz="1050" b="0" i="0" u="none" strike="noStrike" kern="1200" cap="none" spc="0" normalizeH="0" baseline="0" noProof="0">
                <a:ln>
                  <a:noFill/>
                </a:ln>
                <a:solidFill>
                  <a:srgbClr val="000000"/>
                </a:solidFill>
                <a:effectLst/>
                <a:uLnTx/>
                <a:uFillTx/>
                <a:latin typeface="Arial"/>
                <a:ea typeface="+mn-ea"/>
                <a:cs typeface="+mn-cs"/>
              </a:rPr>
              <a:t> </a:t>
            </a:r>
            <a:fld id="{E76C657F-0E32-4130-ADDA-66B81138A76A}" type="slidenum">
              <a:rPr kumimoji="0" 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2713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r>
              <a:rPr lang="en-US" sz="1200" b="0" i="0" u="none" strike="noStrike">
                <a:solidFill>
                  <a:srgbClr val="FFFFFF"/>
                </a:solidFill>
                <a:effectLst/>
                <a:latin typeface="Arial" panose="020B0604020202020204" pitchFamily="34" charset="0"/>
              </a:rPr>
              <a:t>All industrie</a:t>
            </a:r>
            <a:r>
              <a:rPr lang="en-US" sz="1200" b="0">
                <a:solidFill>
                  <a:srgbClr val="FFFFFF"/>
                </a:solidFill>
                <a:latin typeface="Arial" panose="020B0604020202020204" pitchFamily="34" charset="0"/>
              </a:rPr>
              <a:t>s are</a:t>
            </a:r>
            <a:r>
              <a:rPr lang="en-US" sz="1200" b="0" i="0" u="none" strike="noStrike">
                <a:solidFill>
                  <a:srgbClr val="FFFFFF"/>
                </a:solidFill>
                <a:effectLst/>
                <a:latin typeface="Arial" panose="020B0604020202020204" pitchFamily="34" charset="0"/>
              </a:rPr>
              <a:t> facing fast-changing market demand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a:solidFill>
                  <a:srgbClr val="00FFB9"/>
                </a:solidFill>
                <a:latin typeface="Arial" panose="020B0604020202020204" pitchFamily="34" charset="0"/>
              </a:rPr>
              <a:t>It’s crucial to navigate those challenges fast and flexibly.</a:t>
            </a:r>
          </a:p>
          <a:p>
            <a:endParaRPr lang="en-US"/>
          </a:p>
          <a:p>
            <a:endParaRPr lang="en-US"/>
          </a:p>
          <a:p>
            <a:pPr marL="171450" indent="-171450">
              <a:lnSpc>
                <a:spcPct val="107000"/>
              </a:lnSpc>
              <a:spcAft>
                <a:spcPts val="800"/>
              </a:spcAft>
              <a:buFont typeface="Arial" panose="020B0604020202020204" pitchFamily="34" charset="0"/>
              <a:buChar char="•"/>
            </a:pPr>
            <a:r>
              <a:rPr lang="en-US"/>
              <a:t>More flexible production, greater  productivity, and the development of new business models are all possible to-day thanks to digital solutions. </a:t>
            </a:r>
            <a:br>
              <a:rPr lang="en-US"/>
            </a:br>
            <a:r>
              <a:rPr lang="en-US"/>
              <a:t>But the future of industry offers even more potential: Cutting-edge technologies will create new opportunities for both discrete and process industries to fulfill their customers’ individual requirements and to do more with less. </a:t>
            </a:r>
          </a:p>
          <a:p>
            <a:pPr marL="171450" indent="-171450">
              <a:lnSpc>
                <a:spcPct val="107000"/>
              </a:lnSpc>
              <a:spcAft>
                <a:spcPts val="800"/>
              </a:spcAft>
              <a:buFont typeface="Arial" panose="020B0604020202020204" pitchFamily="34" charset="0"/>
              <a:buChar char="•"/>
            </a:pPr>
            <a:r>
              <a:rPr lang="en-US"/>
              <a:t>While our resources are finite, data  created in the Industrial Internet of  Things (</a:t>
            </a:r>
            <a:r>
              <a:rPr lang="en-US" err="1"/>
              <a:t>IIoT</a:t>
            </a:r>
            <a:r>
              <a:rPr lang="en-US"/>
              <a:t>) are infinite and need to be  collected, understood, and used. The  Digital Enterprise is doing exactly this by  combining the real and the digital worlds. As a result, the infinite amount of data allows us to use our finite resources  efficiently and with that make the  industry more sustainable.</a:t>
            </a:r>
          </a:p>
        </p:txBody>
      </p:sp>
      <p:sp>
        <p:nvSpPr>
          <p:cNvPr id="4" name="Foliennummernplatzhalt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
                <a:srgbClr val="009999"/>
              </a:buClr>
              <a:buSzTx/>
              <a:buFontTx/>
              <a:buNone/>
              <a:tabLst/>
              <a:defRPr/>
            </a:pPr>
            <a:r>
              <a:rPr kumimoji="0" lang="en-US" sz="1050" b="1" i="0" u="none" strike="noStrike" kern="0" cap="none" spc="0" normalizeH="0" baseline="0" noProof="0">
                <a:ln>
                  <a:noFill/>
                </a:ln>
                <a:solidFill>
                  <a:srgbClr val="00D7A0"/>
                </a:solidFill>
                <a:effectLst/>
                <a:uLnTx/>
                <a:uFillTx/>
              </a:rPr>
              <a:t>Notes</a:t>
            </a:r>
            <a:r>
              <a:rPr kumimoji="0" lang="en-US" sz="1050" b="0" i="0" u="none" strike="noStrike" kern="0" cap="none" spc="0" normalizeH="0" baseline="0" noProof="0">
                <a:ln>
                  <a:noFill/>
                </a:ln>
                <a:solidFill>
                  <a:sysClr val="windowText" lastClr="000000"/>
                </a:solidFill>
                <a:effectLst/>
                <a:uLnTx/>
                <a:uFillTx/>
              </a:rPr>
              <a:t> </a:t>
            </a:r>
            <a:fld id="{E76C657F-0E32-4130-ADDA-66B81138A76A}" type="slidenum">
              <a:rPr kumimoji="0" lang="en-US" sz="105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
                  <a:srgbClr val="009999"/>
                </a:buClr>
                <a:buSzTx/>
                <a:buFontTx/>
                <a:buNone/>
                <a:tabLst/>
                <a:defRPr/>
              </a:pPr>
              <a:t>3</a:t>
            </a:fld>
            <a:endParaRPr kumimoji="0" lang="en-US" sz="10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435402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r>
              <a:rPr lang="en-US"/>
              <a:t>But how to master those challenges? </a:t>
            </a:r>
          </a:p>
          <a:p>
            <a:endParaRPr lang="en-US"/>
          </a:p>
          <a:p>
            <a:pPr algn="l"/>
            <a:r>
              <a:rPr lang="en-US" sz="1800">
                <a:solidFill>
                  <a:srgbClr val="FFFFFF"/>
                </a:solidFill>
                <a:effectLst/>
                <a:latin typeface="Arial" panose="020B0604020202020204" pitchFamily="34" charset="0"/>
              </a:rPr>
              <a:t>In a nutshell it comes down </a:t>
            </a:r>
            <a:r>
              <a:rPr lang="en-US" sz="1800" u="sng">
                <a:solidFill>
                  <a:srgbClr val="FFFFFF"/>
                </a:solidFill>
                <a:effectLst/>
                <a:latin typeface="Arial" panose="020B0604020202020204" pitchFamily="34" charset="0"/>
              </a:rPr>
              <a:t>to consequently combining </a:t>
            </a:r>
            <a:r>
              <a:rPr lang="en-US" sz="1800">
                <a:solidFill>
                  <a:srgbClr val="FFFFFF"/>
                </a:solidFill>
                <a:effectLst/>
                <a:latin typeface="Arial" panose="020B0604020202020204" pitchFamily="34" charset="0"/>
              </a:rPr>
              <a:t>the real and digital worlds in order to</a:t>
            </a:r>
            <a:r>
              <a:rPr lang="en-US">
                <a:solidFill>
                  <a:srgbClr val="FFFFFF"/>
                </a:solidFill>
                <a:effectLst/>
                <a:latin typeface="Arial" panose="020B0604020202020204" pitchFamily="34" charset="0"/>
              </a:rPr>
              <a:t> </a:t>
            </a:r>
          </a:p>
          <a:p>
            <a:pPr algn="l"/>
            <a:r>
              <a:rPr lang="en-US" sz="1800">
                <a:solidFill>
                  <a:srgbClr val="FFFFFF"/>
                </a:solidFill>
                <a:effectLst/>
                <a:latin typeface="Arial" panose="020B0604020202020204" pitchFamily="34" charset="0"/>
              </a:rPr>
              <a:t>get </a:t>
            </a:r>
            <a:r>
              <a:rPr lang="en-US" sz="1800" u="sng">
                <a:solidFill>
                  <a:srgbClr val="FFFFFF"/>
                </a:solidFill>
                <a:effectLst/>
                <a:latin typeface="Arial" panose="020B0604020202020204" pitchFamily="34" charset="0"/>
              </a:rPr>
              <a:t>you </a:t>
            </a:r>
            <a:r>
              <a:rPr lang="en-US" sz="1800">
                <a:solidFill>
                  <a:srgbClr val="FFFFFF"/>
                </a:solidFill>
                <a:effectLst/>
                <a:latin typeface="Arial" panose="020B0604020202020204" pitchFamily="34" charset="0"/>
              </a:rPr>
              <a:t>the information </a:t>
            </a:r>
            <a:r>
              <a:rPr lang="en-US" sz="1800" u="sng">
                <a:solidFill>
                  <a:srgbClr val="FFFFFF"/>
                </a:solidFill>
                <a:effectLst/>
                <a:latin typeface="Arial" panose="020B0604020202020204" pitchFamily="34" charset="0"/>
              </a:rPr>
              <a:t>that you</a:t>
            </a:r>
            <a:r>
              <a:rPr lang="en-US" sz="1800">
                <a:solidFill>
                  <a:srgbClr val="FFFFFF"/>
                </a:solidFill>
                <a:effectLst/>
                <a:latin typeface="Arial" panose="020B0604020202020204" pitchFamily="34" charset="0"/>
              </a:rPr>
              <a:t> need to make the best decisions, based on information,</a:t>
            </a:r>
            <a:endParaRPr lang="en-US">
              <a:solidFill>
                <a:srgbClr val="FFFFFF"/>
              </a:solidFill>
              <a:effectLst/>
              <a:latin typeface="Arial" panose="020B0604020202020204" pitchFamily="34" charset="0"/>
            </a:endParaRPr>
          </a:p>
          <a:p>
            <a:pPr algn="l"/>
            <a:r>
              <a:rPr lang="en-US" sz="1800">
                <a:solidFill>
                  <a:srgbClr val="FFFFFF"/>
                </a:solidFill>
                <a:effectLst/>
                <a:latin typeface="Arial" panose="020B0604020202020204" pitchFamily="34" charset="0"/>
              </a:rPr>
              <a:t>and that </a:t>
            </a:r>
            <a:r>
              <a:rPr lang="en-US" sz="1800" u="sng">
                <a:solidFill>
                  <a:srgbClr val="FFFFFF"/>
                </a:solidFill>
                <a:effectLst/>
                <a:latin typeface="Arial" panose="020B0604020202020204" pitchFamily="34" charset="0"/>
              </a:rPr>
              <a:t>with</a:t>
            </a:r>
            <a:r>
              <a:rPr lang="en-US">
                <a:solidFill>
                  <a:srgbClr val="FFFFFF"/>
                </a:solidFill>
                <a:effectLst/>
                <a:latin typeface="Arial" panose="020B0604020202020204" pitchFamily="34" charset="0"/>
              </a:rPr>
              <a:t> </a:t>
            </a:r>
            <a:r>
              <a:rPr lang="en-US" sz="1800">
                <a:solidFill>
                  <a:srgbClr val="FFFFFF"/>
                </a:solidFill>
                <a:effectLst/>
                <a:latin typeface="Arial" panose="020B0604020202020204" pitchFamily="34" charset="0"/>
              </a:rPr>
              <a:t>confidence. </a:t>
            </a:r>
            <a:endParaRPr lang="en-US">
              <a:solidFill>
                <a:srgbClr val="FFFFFF"/>
              </a:solidFill>
              <a:effectLst/>
              <a:latin typeface="Arial" panose="020B0604020202020204" pitchFamily="34" charset="0"/>
            </a:endParaRPr>
          </a:p>
          <a:p>
            <a:endParaRPr lang="de-DE"/>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kern="1200">
                <a:solidFill>
                  <a:schemeClr val="tx1"/>
                </a:solidFill>
                <a:effectLst/>
                <a:latin typeface="Arial" panose="020B0604020202020204" pitchFamily="34" charset="0"/>
                <a:ea typeface="ＭＳ Ｐゴシック" charset="-128"/>
                <a:cs typeface="Arial" panose="020B0604020202020204" pitchFamily="34" charset="0"/>
              </a:rPr>
              <a:t>Siemens has consequently since 2007 been combining the real world and the digital worlds </a:t>
            </a:r>
            <a:r>
              <a:rPr lang="en-US"/>
              <a:t>enabling in this way a continuous loop of optimization.</a:t>
            </a:r>
          </a:p>
          <a:p>
            <a:endParaRPr lang="de-DE"/>
          </a:p>
        </p:txBody>
      </p:sp>
      <p:sp>
        <p:nvSpPr>
          <p:cNvPr id="4" name="Foliennummernplatzhalt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
                <a:srgbClr val="009999"/>
              </a:buClr>
              <a:buSzTx/>
              <a:buFontTx/>
              <a:buNone/>
              <a:tabLst/>
              <a:defRPr/>
            </a:pPr>
            <a:r>
              <a:rPr kumimoji="0" lang="en-US" sz="1050" b="1" i="0" u="none" strike="noStrike" kern="0" cap="none" spc="0" normalizeH="0" baseline="0" noProof="0">
                <a:ln>
                  <a:noFill/>
                </a:ln>
                <a:solidFill>
                  <a:srgbClr val="00D7A0"/>
                </a:solidFill>
                <a:effectLst/>
                <a:uLnTx/>
                <a:uFillTx/>
              </a:rPr>
              <a:t>Notes</a:t>
            </a:r>
            <a:r>
              <a:rPr kumimoji="0" lang="en-US" sz="1050" b="0" i="0" u="none" strike="noStrike" kern="0" cap="none" spc="0" normalizeH="0" baseline="0" noProof="0">
                <a:ln>
                  <a:noFill/>
                </a:ln>
                <a:solidFill>
                  <a:sysClr val="windowText" lastClr="000000"/>
                </a:solidFill>
                <a:effectLst/>
                <a:uLnTx/>
                <a:uFillTx/>
              </a:rPr>
              <a:t> </a:t>
            </a:r>
            <a:fld id="{E76C657F-0E32-4130-ADDA-66B81138A76A}" type="slidenum">
              <a:rPr kumimoji="0" lang="en-US" sz="105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
                  <a:srgbClr val="009999"/>
                </a:buClr>
                <a:buSzTx/>
                <a:buFontTx/>
                <a:buNone/>
                <a:tabLst/>
                <a:defRPr/>
              </a:pPr>
              <a:t>4</a:t>
            </a:fld>
            <a:endParaRPr kumimoji="0" lang="en-US" sz="105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36553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r>
              <a:rPr lang="de-DE"/>
              <a:t>Mastering </a:t>
            </a:r>
            <a:r>
              <a:rPr lang="de-DE" err="1"/>
              <a:t>the</a:t>
            </a:r>
            <a:r>
              <a:rPr lang="de-DE"/>
              <a:t> </a:t>
            </a:r>
            <a:r>
              <a:rPr lang="de-DE" err="1"/>
              <a:t>challenges</a:t>
            </a:r>
            <a:r>
              <a:rPr lang="de-DE"/>
              <a:t> by </a:t>
            </a:r>
            <a:r>
              <a:rPr lang="de-DE" err="1"/>
              <a:t>combining</a:t>
            </a:r>
            <a:r>
              <a:rPr lang="de-DE"/>
              <a:t> </a:t>
            </a:r>
            <a:r>
              <a:rPr lang="de-DE" err="1"/>
              <a:t>the</a:t>
            </a:r>
            <a:r>
              <a:rPr lang="de-DE"/>
              <a:t> real and </a:t>
            </a:r>
            <a:r>
              <a:rPr lang="de-DE" err="1"/>
              <a:t>the</a:t>
            </a:r>
            <a:r>
              <a:rPr lang="de-DE"/>
              <a:t> virtual </a:t>
            </a:r>
            <a:r>
              <a:rPr lang="de-DE" err="1"/>
              <a:t>world</a:t>
            </a:r>
            <a:r>
              <a:rPr lang="de-DE"/>
              <a:t> </a:t>
            </a:r>
            <a:r>
              <a:rPr lang="de-DE" err="1"/>
              <a:t>means</a:t>
            </a:r>
            <a:r>
              <a:rPr lang="de-DE"/>
              <a:t>:</a:t>
            </a:r>
          </a:p>
          <a:p>
            <a:r>
              <a:rPr lang="de-DE" err="1"/>
              <a:t>Helping</a:t>
            </a:r>
            <a:r>
              <a:rPr lang="de-DE"/>
              <a:t> </a:t>
            </a:r>
            <a:r>
              <a:rPr lang="de-DE" err="1"/>
              <a:t>our</a:t>
            </a:r>
            <a:r>
              <a:rPr lang="de-DE"/>
              <a:t> </a:t>
            </a:r>
            <a:r>
              <a:rPr lang="de-DE" err="1"/>
              <a:t>customers</a:t>
            </a:r>
            <a:r>
              <a:rPr lang="de-DE"/>
              <a:t> in </a:t>
            </a:r>
            <a:r>
              <a:rPr lang="de-DE" err="1"/>
              <a:t>process</a:t>
            </a:r>
            <a:r>
              <a:rPr lang="de-DE"/>
              <a:t> </a:t>
            </a:r>
            <a:r>
              <a:rPr lang="de-DE" err="1"/>
              <a:t>industries</a:t>
            </a:r>
            <a:r>
              <a:rPr lang="de-DE"/>
              <a:t> </a:t>
            </a:r>
            <a:r>
              <a:rPr lang="de-DE" err="1"/>
              <a:t>to</a:t>
            </a:r>
            <a:r>
              <a:rPr lang="de-DE"/>
              <a:t> </a:t>
            </a:r>
            <a:r>
              <a:rPr lang="de-DE" err="1"/>
              <a:t>overcome</a:t>
            </a:r>
            <a:r>
              <a:rPr lang="de-DE"/>
              <a:t> </a:t>
            </a:r>
            <a:r>
              <a:rPr lang="de-DE" err="1"/>
              <a:t>their</a:t>
            </a:r>
            <a:r>
              <a:rPr lang="de-DE"/>
              <a:t> </a:t>
            </a:r>
            <a:r>
              <a:rPr lang="de-DE" err="1"/>
              <a:t>most</a:t>
            </a:r>
            <a:r>
              <a:rPr lang="de-DE"/>
              <a:t> </a:t>
            </a:r>
            <a:r>
              <a:rPr lang="de-DE" err="1"/>
              <a:t>pressing</a:t>
            </a:r>
            <a:r>
              <a:rPr lang="de-DE"/>
              <a:t> </a:t>
            </a:r>
            <a:r>
              <a:rPr lang="de-DE" err="1"/>
              <a:t>challenges</a:t>
            </a:r>
            <a:r>
              <a:rPr lang="de-DE"/>
              <a:t>.</a:t>
            </a:r>
          </a:p>
          <a:p>
            <a:pPr marL="0" marR="0" lvl="0" indent="0" algn="l" defTabSz="914400" rtl="0" eaLnBrk="1" fontAlgn="auto" latinLnBrk="0" hangingPunct="1">
              <a:lnSpc>
                <a:spcPct val="100000"/>
              </a:lnSpc>
              <a:spcBef>
                <a:spcPts val="0"/>
              </a:spcBef>
              <a:spcAft>
                <a:spcPts val="600"/>
              </a:spcAft>
              <a:buClrTx/>
              <a:buSzTx/>
              <a:buFontTx/>
              <a:buNone/>
              <a:tabLst/>
              <a:defRPr/>
            </a:pPr>
            <a:r>
              <a:rPr lang="de-DE" b="1" err="1"/>
              <a:t>For</a:t>
            </a:r>
            <a:r>
              <a:rPr lang="de-DE" b="1"/>
              <a:t> Chemicals: </a:t>
            </a:r>
            <a:r>
              <a:rPr lang="en-US">
                <a:solidFill>
                  <a:schemeClr val="tx1"/>
                </a:solidFill>
                <a:cs typeface="Arial"/>
              </a:rPr>
              <a:t>Decarbonizing the chemical industry based on data-driven decisions</a:t>
            </a:r>
          </a:p>
          <a:p>
            <a:pPr marL="0" marR="0" lvl="0" indent="0" algn="l" defTabSz="914400" eaLnBrk="1" fontAlgn="auto" latinLnBrk="0" hangingPunct="1">
              <a:lnSpc>
                <a:spcPct val="100000"/>
              </a:lnSpc>
              <a:spcBef>
                <a:spcPts val="0"/>
              </a:spcBef>
              <a:spcAft>
                <a:spcPts val="0"/>
              </a:spcAft>
              <a:buClr>
                <a:srgbClr val="009999"/>
              </a:buClr>
              <a:buSzTx/>
              <a:buFontTx/>
              <a:buNone/>
              <a:tabLst/>
              <a:defRPr/>
            </a:pPr>
            <a:r>
              <a:rPr lang="en-US" b="1" kern="0">
                <a:solidFill>
                  <a:srgbClr val="00D7A0"/>
                </a:solidFill>
              </a:rPr>
              <a:t>For Hydrogen: </a:t>
            </a:r>
            <a:r>
              <a:rPr kumimoji="0" lang="en-US" i="0" u="none" strike="noStrike" kern="1200" cap="none" spc="0" normalizeH="0" baseline="0" noProof="0">
                <a:ln>
                  <a:noFill/>
                </a:ln>
                <a:solidFill>
                  <a:schemeClr val="tx1"/>
                </a:solidFill>
                <a:effectLst/>
                <a:uLnTx/>
                <a:uFillTx/>
                <a:ea typeface="Calibri"/>
                <a:cs typeface="Arial"/>
              </a:rPr>
              <a:t>Accelerating hydrogen production with </a:t>
            </a:r>
            <a:r>
              <a:rPr kumimoji="0" lang="en-US" i="0" u="none" strike="noStrike" kern="1200" cap="none" spc="0" normalizeH="0" baseline="0" noProof="0" err="1">
                <a:ln>
                  <a:noFill/>
                </a:ln>
                <a:solidFill>
                  <a:schemeClr val="tx1"/>
                </a:solidFill>
                <a:effectLst/>
                <a:uLnTx/>
                <a:uFillTx/>
                <a:ea typeface="Calibri"/>
                <a:cs typeface="Arial"/>
              </a:rPr>
              <a:t>GenAI</a:t>
            </a:r>
            <a:endParaRPr kumimoji="0" lang="en-US" i="0" u="none" strike="noStrike" kern="1200" cap="none" spc="0" normalizeH="0" baseline="0" noProof="0">
              <a:ln>
                <a:noFill/>
              </a:ln>
              <a:solidFill>
                <a:schemeClr val="tx1"/>
              </a:solidFill>
              <a:effectLst/>
              <a:uLnTx/>
              <a:uFillTx/>
              <a:ea typeface="Calibri"/>
              <a:cs typeface="Arial"/>
            </a:endParaRPr>
          </a:p>
          <a:p>
            <a:pPr marL="0" marR="0" lvl="0" indent="0" defTabSz="914400" eaLnBrk="1" fontAlgn="auto" latinLnBrk="0" hangingPunct="1">
              <a:lnSpc>
                <a:spcPct val="100000"/>
              </a:lnSpc>
              <a:spcBef>
                <a:spcPts val="0"/>
              </a:spcBef>
              <a:spcAft>
                <a:spcPts val="0"/>
              </a:spcAft>
              <a:buClr>
                <a:srgbClr val="009999"/>
              </a:buClr>
              <a:buSzTx/>
              <a:buFontTx/>
              <a:buNone/>
              <a:tabLst/>
              <a:defRPr/>
            </a:pPr>
            <a:r>
              <a:rPr kumimoji="0" lang="en-US" b="1" i="0" u="none" strike="noStrike" kern="1200" cap="none" spc="0" normalizeH="0" baseline="0" noProof="0">
                <a:ln>
                  <a:noFill/>
                </a:ln>
                <a:solidFill>
                  <a:schemeClr val="tx1"/>
                </a:solidFill>
                <a:effectLst/>
                <a:uLnTx/>
                <a:uFillTx/>
                <a:ea typeface="+mn-ea"/>
                <a:cs typeface="Arial"/>
              </a:rPr>
              <a:t>For </a:t>
            </a:r>
            <a:r>
              <a:rPr lang="en-US" b="1">
                <a:solidFill>
                  <a:srgbClr val="00C1B6"/>
                </a:solidFill>
                <a:cs typeface="Arial"/>
              </a:rPr>
              <a:t>Pharmaceuticals: </a:t>
            </a:r>
            <a:r>
              <a:rPr lang="en-US">
                <a:solidFill>
                  <a:schemeClr val="tx1"/>
                </a:solidFill>
                <a:cs typeface="Arial"/>
              </a:rPr>
              <a:t>Maximizing operational efficiency for faster time-to-market in the pharmaceutical industry</a:t>
            </a:r>
          </a:p>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i="0" u="none" strike="noStrike" kern="0" cap="none" spc="0" normalizeH="0" baseline="0" noProof="0">
              <a:ln>
                <a:noFill/>
              </a:ln>
              <a:solidFill>
                <a:schemeClr val="tx1"/>
              </a:solidFill>
              <a:effectLst/>
              <a:uLnTx/>
              <a:uFillTx/>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a:solidFill>
                <a:schemeClr val="tx1"/>
              </a:solidFill>
              <a:cs typeface="Arial"/>
            </a:endParaRPr>
          </a:p>
          <a:p>
            <a:endParaRPr lang="en-US"/>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5</a:t>
            </a:fld>
            <a:endParaRPr lang="en-US"/>
          </a:p>
        </p:txBody>
      </p:sp>
    </p:spTree>
    <p:extLst>
      <p:ext uri="{BB962C8B-B14F-4D97-AF65-F5344CB8AC3E}">
        <p14:creationId xmlns:p14="http://schemas.microsoft.com/office/powerpoint/2010/main" val="38692268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pPr marL="171450" indent="-171450">
              <a:buFont typeface="Calibri"/>
              <a:buChar char="-"/>
            </a:pPr>
            <a:r>
              <a:rPr lang="de-DE" b="1"/>
              <a:t>About </a:t>
            </a:r>
            <a:r>
              <a:rPr lang="de-DE" b="1" err="1"/>
              <a:t>the</a:t>
            </a:r>
            <a:r>
              <a:rPr lang="de-DE" b="1"/>
              <a:t> Technological Partnership </a:t>
            </a:r>
            <a:r>
              <a:rPr lang="de-DE" b="1" err="1"/>
              <a:t>with</a:t>
            </a:r>
            <a:r>
              <a:rPr lang="de-DE" b="1"/>
              <a:t> Siemens :</a:t>
            </a:r>
            <a:endParaRPr lang="de-DE"/>
          </a:p>
          <a:p>
            <a:pPr marL="314960" lvl="1" indent="-171450">
              <a:buFont typeface="Courier New"/>
              <a:buChar char="o"/>
            </a:pPr>
            <a:r>
              <a:rPr lang="de-DE"/>
              <a:t>The Lenzing Group, </a:t>
            </a:r>
            <a:r>
              <a:rPr lang="de-DE" err="1"/>
              <a:t>headquartered</a:t>
            </a:r>
            <a:r>
              <a:rPr lang="de-DE"/>
              <a:t> in Upper Austria, </a:t>
            </a:r>
            <a:r>
              <a:rPr lang="de-DE" err="1"/>
              <a:t>has</a:t>
            </a:r>
            <a:r>
              <a:rPr lang="de-DE"/>
              <a:t> </a:t>
            </a:r>
            <a:r>
              <a:rPr lang="de-DE" err="1"/>
              <a:t>established</a:t>
            </a:r>
            <a:r>
              <a:rPr lang="de-DE"/>
              <a:t> </a:t>
            </a:r>
            <a:r>
              <a:rPr lang="de-DE" err="1"/>
              <a:t>itself</a:t>
            </a:r>
            <a:r>
              <a:rPr lang="de-DE"/>
              <a:t> </a:t>
            </a:r>
            <a:r>
              <a:rPr lang="de-DE" err="1"/>
              <a:t>as</a:t>
            </a:r>
            <a:r>
              <a:rPr lang="de-DE"/>
              <a:t> a </a:t>
            </a:r>
            <a:r>
              <a:rPr lang="de-DE" err="1"/>
              <a:t>leading</a:t>
            </a:r>
            <a:r>
              <a:rPr lang="de-DE"/>
              <a:t> supplier in </a:t>
            </a:r>
            <a:r>
              <a:rPr lang="de-DE" err="1"/>
              <a:t>numerous</a:t>
            </a:r>
            <a:r>
              <a:rPr lang="de-DE"/>
              <a:t> business-</a:t>
            </a:r>
            <a:r>
              <a:rPr lang="de-DE" err="1"/>
              <a:t>to</a:t>
            </a:r>
            <a:r>
              <a:rPr lang="de-DE"/>
              <a:t>-business </a:t>
            </a:r>
            <a:r>
              <a:rPr lang="de-DE" err="1"/>
              <a:t>markets</a:t>
            </a:r>
            <a:r>
              <a:rPr lang="de-DE"/>
              <a:t>, </a:t>
            </a:r>
            <a:r>
              <a:rPr lang="de-DE" err="1"/>
              <a:t>especially</a:t>
            </a:r>
            <a:r>
              <a:rPr lang="de-DE"/>
              <a:t> in </a:t>
            </a:r>
            <a:r>
              <a:rPr lang="de-DE" err="1"/>
              <a:t>the</a:t>
            </a:r>
            <a:r>
              <a:rPr lang="de-DE"/>
              <a:t> </a:t>
            </a:r>
            <a:r>
              <a:rPr lang="de-DE" err="1"/>
              <a:t>cellulose</a:t>
            </a:r>
            <a:r>
              <a:rPr lang="de-DE"/>
              <a:t> </a:t>
            </a:r>
            <a:r>
              <a:rPr lang="de-DE" err="1"/>
              <a:t>fiber</a:t>
            </a:r>
            <a:r>
              <a:rPr lang="de-DE"/>
              <a:t> </a:t>
            </a:r>
            <a:r>
              <a:rPr lang="de-DE" err="1"/>
              <a:t>sector</a:t>
            </a:r>
            <a:r>
              <a:rPr lang="de-DE"/>
              <a:t>.  </a:t>
            </a:r>
          </a:p>
          <a:p>
            <a:pPr marL="314960" lvl="1" indent="-171450">
              <a:buFont typeface="Courier New"/>
              <a:buChar char="o"/>
            </a:pPr>
            <a:r>
              <a:rPr lang="de-DE"/>
              <a:t>With </a:t>
            </a:r>
            <a:r>
              <a:rPr lang="de-DE" err="1"/>
              <a:t>over</a:t>
            </a:r>
            <a:r>
              <a:rPr lang="de-DE"/>
              <a:t> 70 </a:t>
            </a:r>
            <a:r>
              <a:rPr lang="de-DE" err="1"/>
              <a:t>years</a:t>
            </a:r>
            <a:r>
              <a:rPr lang="de-DE"/>
              <a:t> </a:t>
            </a:r>
            <a:r>
              <a:rPr lang="de-DE" err="1"/>
              <a:t>of</a:t>
            </a:r>
            <a:r>
              <a:rPr lang="de-DE"/>
              <a:t> </a:t>
            </a:r>
            <a:r>
              <a:rPr lang="de-DE" err="1"/>
              <a:t>experience</a:t>
            </a:r>
            <a:r>
              <a:rPr lang="de-DE"/>
              <a:t> in </a:t>
            </a:r>
            <a:r>
              <a:rPr lang="de-DE" err="1"/>
              <a:t>fiber</a:t>
            </a:r>
            <a:r>
              <a:rPr lang="de-DE"/>
              <a:t> </a:t>
            </a:r>
            <a:r>
              <a:rPr lang="de-DE" err="1"/>
              <a:t>production</a:t>
            </a:r>
            <a:r>
              <a:rPr lang="de-DE"/>
              <a:t>, Lenzing </a:t>
            </a:r>
            <a:r>
              <a:rPr lang="de-DE" err="1"/>
              <a:t>is</a:t>
            </a:r>
            <a:r>
              <a:rPr lang="de-DE"/>
              <a:t> not </a:t>
            </a:r>
            <a:r>
              <a:rPr lang="de-DE" err="1"/>
              <a:t>only</a:t>
            </a:r>
            <a:r>
              <a:rPr lang="de-DE"/>
              <a:t> </a:t>
            </a:r>
            <a:r>
              <a:rPr lang="de-DE" err="1"/>
              <a:t>known</a:t>
            </a:r>
            <a:r>
              <a:rPr lang="de-DE"/>
              <a:t> </a:t>
            </a:r>
            <a:r>
              <a:rPr lang="de-DE" err="1"/>
              <a:t>for</a:t>
            </a:r>
            <a:r>
              <a:rPr lang="de-DE"/>
              <a:t> </a:t>
            </a:r>
            <a:r>
              <a:rPr lang="de-DE" err="1"/>
              <a:t>its</a:t>
            </a:r>
            <a:r>
              <a:rPr lang="de-DE"/>
              <a:t> innovative </a:t>
            </a:r>
            <a:r>
              <a:rPr lang="de-DE" err="1"/>
              <a:t>products</a:t>
            </a:r>
            <a:r>
              <a:rPr lang="de-DE"/>
              <a:t>, but also </a:t>
            </a:r>
            <a:r>
              <a:rPr lang="de-DE" err="1"/>
              <a:t>for</a:t>
            </a:r>
            <a:r>
              <a:rPr lang="de-DE"/>
              <a:t> </a:t>
            </a:r>
            <a:r>
              <a:rPr lang="de-DE" err="1"/>
              <a:t>its</a:t>
            </a:r>
            <a:r>
              <a:rPr lang="de-DE"/>
              <a:t> </a:t>
            </a:r>
            <a:r>
              <a:rPr lang="de-DE" err="1"/>
              <a:t>commitment</a:t>
            </a:r>
            <a:r>
              <a:rPr lang="de-DE"/>
              <a:t> </a:t>
            </a:r>
            <a:r>
              <a:rPr lang="de-DE" err="1"/>
              <a:t>to</a:t>
            </a:r>
            <a:r>
              <a:rPr lang="de-DE"/>
              <a:t> </a:t>
            </a:r>
            <a:r>
              <a:rPr lang="de-DE" err="1"/>
              <a:t>the</a:t>
            </a:r>
            <a:r>
              <a:rPr lang="de-DE"/>
              <a:t> </a:t>
            </a:r>
            <a:r>
              <a:rPr lang="de-DE" err="1"/>
              <a:t>environment</a:t>
            </a:r>
            <a:r>
              <a:rPr lang="de-DE"/>
              <a:t>.  </a:t>
            </a:r>
          </a:p>
          <a:p>
            <a:pPr marL="314960" lvl="1" indent="-171450">
              <a:buFont typeface="Courier New"/>
              <a:buChar char="o"/>
            </a:pPr>
            <a:r>
              <a:rPr lang="de-DE"/>
              <a:t>A large </a:t>
            </a:r>
            <a:r>
              <a:rPr lang="de-DE" err="1"/>
              <a:t>part</a:t>
            </a:r>
            <a:r>
              <a:rPr lang="de-DE"/>
              <a:t> </a:t>
            </a:r>
            <a:r>
              <a:rPr lang="de-DE" err="1"/>
              <a:t>of</a:t>
            </a:r>
            <a:r>
              <a:rPr lang="de-DE"/>
              <a:t> </a:t>
            </a:r>
            <a:r>
              <a:rPr lang="de-DE" err="1"/>
              <a:t>the</a:t>
            </a:r>
            <a:r>
              <a:rPr lang="de-DE"/>
              <a:t> Lenzing </a:t>
            </a:r>
            <a:r>
              <a:rPr lang="de-DE" err="1"/>
              <a:t>portfolio</a:t>
            </a:r>
            <a:r>
              <a:rPr lang="de-DE"/>
              <a:t> </a:t>
            </a:r>
            <a:r>
              <a:rPr lang="de-DE" err="1"/>
              <a:t>is</a:t>
            </a:r>
            <a:r>
              <a:rPr lang="de-DE"/>
              <a:t> </a:t>
            </a:r>
            <a:r>
              <a:rPr lang="de-DE" err="1"/>
              <a:t>based</a:t>
            </a:r>
            <a:r>
              <a:rPr lang="de-DE"/>
              <a:t> on </a:t>
            </a:r>
            <a:r>
              <a:rPr lang="de-DE" err="1"/>
              <a:t>the</a:t>
            </a:r>
            <a:r>
              <a:rPr lang="de-DE"/>
              <a:t> </a:t>
            </a:r>
            <a:r>
              <a:rPr lang="de-DE" err="1"/>
              <a:t>renewable</a:t>
            </a:r>
            <a:r>
              <a:rPr lang="de-DE"/>
              <a:t> </a:t>
            </a:r>
            <a:r>
              <a:rPr lang="de-DE" err="1"/>
              <a:t>raw</a:t>
            </a:r>
            <a:r>
              <a:rPr lang="de-DE"/>
              <a:t> material </a:t>
            </a:r>
            <a:r>
              <a:rPr lang="de-DE" err="1"/>
              <a:t>wood</a:t>
            </a:r>
            <a:r>
              <a:rPr lang="de-DE"/>
              <a:t> </a:t>
            </a:r>
            <a:r>
              <a:rPr lang="de-DE" err="1"/>
              <a:t>from</a:t>
            </a:r>
            <a:r>
              <a:rPr lang="de-DE"/>
              <a:t> </a:t>
            </a:r>
            <a:r>
              <a:rPr lang="de-DE" err="1"/>
              <a:t>sustainable</a:t>
            </a:r>
            <a:r>
              <a:rPr lang="de-DE"/>
              <a:t> </a:t>
            </a:r>
            <a:r>
              <a:rPr lang="de-DE" err="1"/>
              <a:t>forestry</a:t>
            </a:r>
            <a:r>
              <a:rPr lang="de-DE"/>
              <a:t>. The </a:t>
            </a:r>
            <a:r>
              <a:rPr lang="de-DE" err="1"/>
              <a:t>fibers</a:t>
            </a:r>
            <a:r>
              <a:rPr lang="de-DE"/>
              <a:t> </a:t>
            </a:r>
            <a:r>
              <a:rPr lang="de-DE" err="1"/>
              <a:t>are</a:t>
            </a:r>
            <a:r>
              <a:rPr lang="de-DE"/>
              <a:t> </a:t>
            </a:r>
            <a:r>
              <a:rPr lang="de-DE" err="1"/>
              <a:t>compostable</a:t>
            </a:r>
            <a:r>
              <a:rPr lang="de-DE"/>
              <a:t> and </a:t>
            </a:r>
            <a:r>
              <a:rPr lang="de-DE" err="1"/>
              <a:t>biodegradable</a:t>
            </a:r>
            <a:r>
              <a:rPr lang="de-DE"/>
              <a:t>. </a:t>
            </a:r>
            <a:r>
              <a:rPr lang="de-DE" err="1"/>
              <a:t>Following</a:t>
            </a:r>
            <a:r>
              <a:rPr lang="de-DE"/>
              <a:t> </a:t>
            </a:r>
            <a:r>
              <a:rPr lang="de-DE" err="1"/>
              <a:t>nature’s</a:t>
            </a:r>
            <a:r>
              <a:rPr lang="de-DE"/>
              <a:t> </a:t>
            </a:r>
            <a:r>
              <a:rPr lang="de-DE" err="1"/>
              <a:t>example</a:t>
            </a:r>
            <a:r>
              <a:rPr lang="de-DE"/>
              <a:t>, </a:t>
            </a:r>
            <a:r>
              <a:rPr lang="de-DE" err="1"/>
              <a:t>it</a:t>
            </a:r>
            <a:r>
              <a:rPr lang="de-DE"/>
              <a:t> </a:t>
            </a:r>
            <a:r>
              <a:rPr lang="de-DE" err="1"/>
              <a:t>is</a:t>
            </a:r>
            <a:r>
              <a:rPr lang="de-DE"/>
              <a:t> </a:t>
            </a:r>
            <a:r>
              <a:rPr lang="de-DE" err="1"/>
              <a:t>the</a:t>
            </a:r>
            <a:r>
              <a:rPr lang="de-DE"/>
              <a:t> </a:t>
            </a:r>
            <a:r>
              <a:rPr lang="de-DE" err="1"/>
              <a:t>vision</a:t>
            </a:r>
            <a:r>
              <a:rPr lang="de-DE"/>
              <a:t> </a:t>
            </a:r>
            <a:r>
              <a:rPr lang="de-DE" err="1"/>
              <a:t>of</a:t>
            </a:r>
            <a:r>
              <a:rPr lang="de-DE"/>
              <a:t> Lenzing </a:t>
            </a:r>
            <a:r>
              <a:rPr lang="de-DE" err="1"/>
              <a:t>to</a:t>
            </a:r>
            <a:r>
              <a:rPr lang="de-DE"/>
              <a:t> </a:t>
            </a:r>
            <a:r>
              <a:rPr lang="de-DE" err="1"/>
              <a:t>put</a:t>
            </a:r>
            <a:r>
              <a:rPr lang="de-DE"/>
              <a:t> </a:t>
            </a:r>
            <a:r>
              <a:rPr lang="de-DE" err="1"/>
              <a:t>the</a:t>
            </a:r>
            <a:r>
              <a:rPr lang="de-DE"/>
              <a:t> </a:t>
            </a:r>
            <a:r>
              <a:rPr lang="de-DE" err="1"/>
              <a:t>circular</a:t>
            </a:r>
            <a:r>
              <a:rPr lang="de-DE"/>
              <a:t> </a:t>
            </a:r>
            <a:r>
              <a:rPr lang="de-DE" err="1"/>
              <a:t>economy</a:t>
            </a:r>
            <a:r>
              <a:rPr lang="de-DE"/>
              <a:t> </a:t>
            </a:r>
            <a:r>
              <a:rPr lang="de-DE" err="1"/>
              <a:t>approach</a:t>
            </a:r>
            <a:r>
              <a:rPr lang="de-DE"/>
              <a:t> </a:t>
            </a:r>
            <a:r>
              <a:rPr lang="de-DE" err="1"/>
              <a:t>into</a:t>
            </a:r>
            <a:r>
              <a:rPr lang="de-DE"/>
              <a:t> </a:t>
            </a:r>
            <a:r>
              <a:rPr lang="de-DE" err="1"/>
              <a:t>practice</a:t>
            </a:r>
            <a:r>
              <a:rPr lang="de-DE"/>
              <a:t>.</a:t>
            </a:r>
          </a:p>
          <a:p>
            <a:pPr marL="314960" lvl="1" indent="-171450">
              <a:buFont typeface="Courier New"/>
              <a:buChar char="o"/>
            </a:pPr>
            <a:r>
              <a:rPr lang="de-DE"/>
              <a:t>Raw </a:t>
            </a:r>
            <a:r>
              <a:rPr lang="de-DE" err="1"/>
              <a:t>materials</a:t>
            </a:r>
            <a:r>
              <a:rPr lang="de-DE"/>
              <a:t> </a:t>
            </a:r>
            <a:r>
              <a:rPr lang="de-DE" err="1"/>
              <a:t>are</a:t>
            </a:r>
            <a:r>
              <a:rPr lang="de-DE"/>
              <a:t> </a:t>
            </a:r>
            <a:r>
              <a:rPr lang="de-DE" err="1"/>
              <a:t>recycled</a:t>
            </a:r>
            <a:r>
              <a:rPr lang="de-DE"/>
              <a:t> </a:t>
            </a:r>
            <a:r>
              <a:rPr lang="de-DE" err="1"/>
              <a:t>for</a:t>
            </a:r>
            <a:r>
              <a:rPr lang="de-DE"/>
              <a:t> </a:t>
            </a:r>
            <a:r>
              <a:rPr lang="de-DE" err="1"/>
              <a:t>as</a:t>
            </a:r>
            <a:r>
              <a:rPr lang="de-DE"/>
              <a:t> </a:t>
            </a:r>
            <a:r>
              <a:rPr lang="de-DE" err="1"/>
              <a:t>long</a:t>
            </a:r>
            <a:r>
              <a:rPr lang="de-DE"/>
              <a:t> </a:t>
            </a:r>
            <a:r>
              <a:rPr lang="de-DE" err="1"/>
              <a:t>as</a:t>
            </a:r>
            <a:r>
              <a:rPr lang="de-DE"/>
              <a:t> possible in </a:t>
            </a:r>
            <a:r>
              <a:rPr lang="de-DE" err="1"/>
              <a:t>order</a:t>
            </a:r>
            <a:r>
              <a:rPr lang="de-DE"/>
              <a:t> </a:t>
            </a:r>
            <a:r>
              <a:rPr lang="de-DE" err="1"/>
              <a:t>to</a:t>
            </a:r>
            <a:r>
              <a:rPr lang="de-DE"/>
              <a:t> </a:t>
            </a:r>
            <a:r>
              <a:rPr lang="de-DE" err="1"/>
              <a:t>minimize</a:t>
            </a:r>
            <a:r>
              <a:rPr lang="de-DE"/>
              <a:t> </a:t>
            </a:r>
            <a:r>
              <a:rPr lang="de-DE" err="1"/>
              <a:t>waste</a:t>
            </a:r>
            <a:r>
              <a:rPr lang="de-DE"/>
              <a:t> and </a:t>
            </a:r>
            <a:r>
              <a:rPr lang="de-DE" err="1"/>
              <a:t>maximize</a:t>
            </a:r>
            <a:r>
              <a:rPr lang="de-DE"/>
              <a:t> </a:t>
            </a:r>
            <a:r>
              <a:rPr lang="de-DE" err="1"/>
              <a:t>the</a:t>
            </a:r>
            <a:r>
              <a:rPr lang="de-DE"/>
              <a:t> </a:t>
            </a:r>
            <a:r>
              <a:rPr lang="de-DE" err="1"/>
              <a:t>service</a:t>
            </a:r>
            <a:r>
              <a:rPr lang="de-DE"/>
              <a:t> </a:t>
            </a:r>
            <a:r>
              <a:rPr lang="de-DE" err="1"/>
              <a:t>life</a:t>
            </a:r>
            <a:r>
              <a:rPr lang="de-DE"/>
              <a:t> </a:t>
            </a:r>
            <a:r>
              <a:rPr lang="de-DE" err="1"/>
              <a:t>of</a:t>
            </a:r>
            <a:r>
              <a:rPr lang="de-DE"/>
              <a:t> </a:t>
            </a:r>
            <a:r>
              <a:rPr lang="de-DE" err="1"/>
              <a:t>products</a:t>
            </a:r>
            <a:r>
              <a:rPr lang="de-DE"/>
              <a:t>.  </a:t>
            </a:r>
          </a:p>
          <a:p>
            <a:pPr marL="314960" lvl="1" indent="-171450">
              <a:buFont typeface="Courier New"/>
              <a:buChar char="o"/>
            </a:pPr>
            <a:r>
              <a:rPr lang="de-DE"/>
              <a:t>The Lenzing Group </a:t>
            </a:r>
            <a:r>
              <a:rPr lang="de-DE" err="1"/>
              <a:t>strives</a:t>
            </a:r>
            <a:r>
              <a:rPr lang="de-DE"/>
              <a:t> </a:t>
            </a:r>
            <a:r>
              <a:rPr lang="de-DE" err="1"/>
              <a:t>to</a:t>
            </a:r>
            <a:r>
              <a:rPr lang="de-DE"/>
              <a:t> </a:t>
            </a:r>
            <a:r>
              <a:rPr lang="de-DE" err="1"/>
              <a:t>lead</a:t>
            </a:r>
            <a:r>
              <a:rPr lang="de-DE"/>
              <a:t> </a:t>
            </a:r>
            <a:r>
              <a:rPr lang="de-DE" err="1"/>
              <a:t>the</a:t>
            </a:r>
            <a:r>
              <a:rPr lang="de-DE"/>
              <a:t> textile </a:t>
            </a:r>
            <a:r>
              <a:rPr lang="de-DE" err="1"/>
              <a:t>industry</a:t>
            </a:r>
            <a:r>
              <a:rPr lang="de-DE"/>
              <a:t> </a:t>
            </a:r>
            <a:r>
              <a:rPr lang="de-DE" err="1"/>
              <a:t>towards</a:t>
            </a:r>
            <a:r>
              <a:rPr lang="de-DE"/>
              <a:t> a </a:t>
            </a:r>
            <a:r>
              <a:rPr lang="de-DE" err="1"/>
              <a:t>comprehensive</a:t>
            </a:r>
            <a:r>
              <a:rPr lang="de-DE"/>
              <a:t> </a:t>
            </a:r>
            <a:r>
              <a:rPr lang="de-DE" err="1"/>
              <a:t>circular</a:t>
            </a:r>
            <a:r>
              <a:rPr lang="de-DE"/>
              <a:t> </a:t>
            </a:r>
            <a:r>
              <a:rPr lang="de-DE" err="1"/>
              <a:t>economy</a:t>
            </a:r>
            <a:r>
              <a:rPr lang="de-DE"/>
              <a:t>, </a:t>
            </a:r>
            <a:r>
              <a:rPr lang="de-DE" err="1"/>
              <a:t>relying</a:t>
            </a:r>
            <a:r>
              <a:rPr lang="de-DE"/>
              <a:t> on </a:t>
            </a:r>
            <a:r>
              <a:rPr lang="de-DE" err="1"/>
              <a:t>partnerships</a:t>
            </a:r>
            <a:r>
              <a:rPr lang="de-DE"/>
              <a:t> and innovative </a:t>
            </a:r>
            <a:r>
              <a:rPr lang="de-DE" err="1"/>
              <a:t>solutions</a:t>
            </a:r>
            <a:r>
              <a:rPr lang="de-DE"/>
              <a:t>. </a:t>
            </a:r>
            <a:endParaRPr lang="de-DE">
              <a:cs typeface="Arial"/>
            </a:endParaRPr>
          </a:p>
          <a:p>
            <a:r>
              <a:rPr lang="de-DE"/>
              <a:t> </a:t>
            </a:r>
            <a:endParaRPr lang="de-DE">
              <a:cs typeface="Arial"/>
            </a:endParaRPr>
          </a:p>
          <a:p>
            <a:r>
              <a:rPr lang="de-DE" b="1"/>
              <a:t>Challenges:</a:t>
            </a:r>
            <a:endParaRPr lang="de-DE" b="1">
              <a:cs typeface="Arial"/>
            </a:endParaRPr>
          </a:p>
          <a:p>
            <a:pPr marL="171450" indent="-171450">
              <a:buFont typeface="Calibri"/>
              <a:buChar char="-"/>
            </a:pPr>
            <a:r>
              <a:rPr lang="de-DE" err="1"/>
              <a:t>Centralized</a:t>
            </a:r>
            <a:r>
              <a:rPr lang="de-DE"/>
              <a:t> </a:t>
            </a:r>
            <a:r>
              <a:rPr lang="de-DE" err="1"/>
              <a:t>monitoring</a:t>
            </a:r>
            <a:r>
              <a:rPr lang="de-DE"/>
              <a:t> </a:t>
            </a:r>
            <a:r>
              <a:rPr lang="de-DE" err="1"/>
              <a:t>of</a:t>
            </a:r>
            <a:r>
              <a:rPr lang="de-DE"/>
              <a:t> </a:t>
            </a:r>
            <a:r>
              <a:rPr lang="de-DE" err="1"/>
              <a:t>production</a:t>
            </a:r>
            <a:r>
              <a:rPr lang="de-DE"/>
              <a:t> plants </a:t>
            </a:r>
          </a:p>
          <a:p>
            <a:pPr marL="171450" indent="-171450">
              <a:buFont typeface="Calibri"/>
              <a:buChar char="-"/>
            </a:pPr>
            <a:r>
              <a:rPr lang="de-DE" err="1"/>
              <a:t>Standardization</a:t>
            </a:r>
            <a:r>
              <a:rPr lang="de-DE"/>
              <a:t> </a:t>
            </a:r>
            <a:r>
              <a:rPr lang="de-DE" err="1"/>
              <a:t>across</a:t>
            </a:r>
            <a:r>
              <a:rPr lang="de-DE"/>
              <a:t> </a:t>
            </a:r>
            <a:r>
              <a:rPr lang="de-DE" err="1"/>
              <a:t>sites</a:t>
            </a:r>
            <a:r>
              <a:rPr lang="de-DE"/>
              <a:t> </a:t>
            </a:r>
          </a:p>
          <a:p>
            <a:pPr marL="171450" indent="-171450">
              <a:buFont typeface="Calibri"/>
              <a:buChar char="-"/>
            </a:pPr>
            <a:r>
              <a:rPr lang="de-DE" err="1"/>
              <a:t>Digitize</a:t>
            </a:r>
            <a:r>
              <a:rPr lang="de-DE"/>
              <a:t> </a:t>
            </a:r>
            <a:r>
              <a:rPr lang="de-DE" err="1"/>
              <a:t>legacy</a:t>
            </a:r>
            <a:r>
              <a:rPr lang="de-DE"/>
              <a:t> </a:t>
            </a:r>
            <a:r>
              <a:rPr lang="de-DE" err="1"/>
              <a:t>documentation</a:t>
            </a:r>
            <a:r>
              <a:rPr lang="de-DE"/>
              <a:t> </a:t>
            </a:r>
          </a:p>
          <a:p>
            <a:pPr marL="171450" indent="-171450">
              <a:buFont typeface="Calibri"/>
              <a:buChar char="-"/>
            </a:pPr>
            <a:r>
              <a:rPr lang="de-DE" err="1"/>
              <a:t>Creating</a:t>
            </a:r>
            <a:r>
              <a:rPr lang="de-DE"/>
              <a:t> a digital </a:t>
            </a:r>
            <a:r>
              <a:rPr lang="de-DE" err="1"/>
              <a:t>twin</a:t>
            </a:r>
            <a:r>
              <a:rPr lang="de-DE"/>
              <a:t> </a:t>
            </a:r>
            <a:r>
              <a:rPr lang="de-DE" err="1"/>
              <a:t>with</a:t>
            </a:r>
            <a:r>
              <a:rPr lang="de-DE"/>
              <a:t> </a:t>
            </a:r>
            <a:r>
              <a:rPr lang="de-DE" err="1"/>
              <a:t>unified</a:t>
            </a:r>
            <a:r>
              <a:rPr lang="de-DE"/>
              <a:t> </a:t>
            </a:r>
            <a:r>
              <a:rPr lang="de-DE" err="1"/>
              <a:t>documentation</a:t>
            </a:r>
            <a:r>
              <a:rPr lang="de-DE"/>
              <a:t> </a:t>
            </a:r>
            <a:endParaRPr lang="de-DE">
              <a:cs typeface="Arial"/>
            </a:endParaRPr>
          </a:p>
          <a:p>
            <a:r>
              <a:rPr lang="de-DE"/>
              <a:t> </a:t>
            </a:r>
            <a:endParaRPr lang="de-DE">
              <a:cs typeface="Arial"/>
            </a:endParaRPr>
          </a:p>
          <a:p>
            <a:r>
              <a:rPr lang="de-DE" b="1"/>
              <a:t>Solution </a:t>
            </a:r>
            <a:endParaRPr lang="de-DE" b="1">
              <a:cs typeface="Arial"/>
            </a:endParaRPr>
          </a:p>
          <a:p>
            <a:pPr marL="171450" indent="-171450">
              <a:buFont typeface="Calibri"/>
              <a:buChar char="-"/>
            </a:pPr>
            <a:r>
              <a:rPr lang="de-DE"/>
              <a:t>Digital Twin </a:t>
            </a:r>
            <a:r>
              <a:rPr lang="de-DE" err="1"/>
              <a:t>as</a:t>
            </a:r>
            <a:r>
              <a:rPr lang="de-DE"/>
              <a:t> </a:t>
            </a:r>
            <a:r>
              <a:rPr lang="de-DE" err="1"/>
              <a:t>unified</a:t>
            </a:r>
            <a:r>
              <a:rPr lang="de-DE"/>
              <a:t> </a:t>
            </a:r>
            <a:r>
              <a:rPr lang="de-DE" err="1"/>
              <a:t>data</a:t>
            </a:r>
            <a:r>
              <a:rPr lang="de-DE"/>
              <a:t> source </a:t>
            </a:r>
          </a:p>
          <a:p>
            <a:pPr marL="171450" indent="-171450">
              <a:buFont typeface="Calibri"/>
              <a:buChar char="-"/>
            </a:pPr>
            <a:r>
              <a:rPr lang="de-DE"/>
              <a:t>Simulation </a:t>
            </a:r>
            <a:r>
              <a:rPr lang="de-DE" err="1"/>
              <a:t>to</a:t>
            </a:r>
            <a:r>
              <a:rPr lang="de-DE"/>
              <a:t> </a:t>
            </a:r>
            <a:r>
              <a:rPr lang="de-DE" err="1"/>
              <a:t>predict</a:t>
            </a:r>
            <a:r>
              <a:rPr lang="de-DE"/>
              <a:t> </a:t>
            </a:r>
            <a:r>
              <a:rPr lang="de-DE" err="1"/>
              <a:t>behavior</a:t>
            </a:r>
            <a:r>
              <a:rPr lang="de-DE"/>
              <a:t> (SIMIT) </a:t>
            </a:r>
          </a:p>
          <a:p>
            <a:pPr marL="171450" indent="-171450">
              <a:buFont typeface="Calibri"/>
              <a:buChar char="-"/>
            </a:pPr>
            <a:r>
              <a:rPr lang="de-DE"/>
              <a:t>Central </a:t>
            </a:r>
            <a:r>
              <a:rPr lang="de-DE" err="1"/>
              <a:t>engineering</a:t>
            </a:r>
            <a:r>
              <a:rPr lang="de-DE"/>
              <a:t> </a:t>
            </a:r>
            <a:r>
              <a:rPr lang="de-DE" err="1"/>
              <a:t>data</a:t>
            </a:r>
            <a:r>
              <a:rPr lang="de-DE"/>
              <a:t> hub (COMOS) </a:t>
            </a:r>
          </a:p>
          <a:p>
            <a:pPr marL="171450" indent="-171450">
              <a:buFont typeface="Calibri"/>
              <a:buChar char="-"/>
            </a:pPr>
            <a:r>
              <a:rPr lang="de-DE"/>
              <a:t>AI-</a:t>
            </a:r>
            <a:r>
              <a:rPr lang="de-DE" err="1"/>
              <a:t>supported</a:t>
            </a:r>
            <a:r>
              <a:rPr lang="de-DE"/>
              <a:t> </a:t>
            </a:r>
            <a:r>
              <a:rPr lang="de-DE" err="1"/>
              <a:t>digitalization</a:t>
            </a:r>
            <a:r>
              <a:rPr lang="de-DE"/>
              <a:t> </a:t>
            </a:r>
          </a:p>
          <a:p>
            <a:pPr marL="171450" indent="-171450">
              <a:buFont typeface="Calibri"/>
              <a:buChar char="-"/>
            </a:pPr>
            <a:r>
              <a:rPr lang="de-DE" err="1"/>
              <a:t>Accelerated</a:t>
            </a:r>
            <a:r>
              <a:rPr lang="de-DE"/>
              <a:t> </a:t>
            </a:r>
            <a:r>
              <a:rPr lang="de-DE" err="1"/>
              <a:t>automation</a:t>
            </a:r>
            <a:r>
              <a:rPr lang="de-DE"/>
              <a:t> </a:t>
            </a:r>
            <a:r>
              <a:rPr lang="de-DE" err="1"/>
              <a:t>engineering</a:t>
            </a:r>
            <a:r>
              <a:rPr lang="de-DE"/>
              <a:t> and </a:t>
            </a:r>
            <a:r>
              <a:rPr lang="de-DE" err="1"/>
              <a:t>improve</a:t>
            </a:r>
            <a:r>
              <a:rPr lang="de-DE"/>
              <a:t> </a:t>
            </a:r>
            <a:r>
              <a:rPr lang="de-DE" err="1"/>
              <a:t>usability</a:t>
            </a:r>
            <a:r>
              <a:rPr lang="de-DE"/>
              <a:t> </a:t>
            </a:r>
            <a:r>
              <a:rPr lang="de-DE" err="1"/>
              <a:t>for</a:t>
            </a:r>
            <a:r>
              <a:rPr lang="de-DE"/>
              <a:t> </a:t>
            </a:r>
            <a:r>
              <a:rPr lang="de-DE" err="1"/>
              <a:t>operators</a:t>
            </a:r>
            <a:r>
              <a:rPr lang="de-DE"/>
              <a:t> (SIMATIC PCS </a:t>
            </a:r>
            <a:r>
              <a:rPr lang="de-DE" err="1"/>
              <a:t>neo</a:t>
            </a:r>
            <a:r>
              <a:rPr lang="de-DE"/>
              <a:t>) --&gt; </a:t>
            </a:r>
            <a:r>
              <a:rPr lang="de-DE" err="1"/>
              <a:t>with</a:t>
            </a:r>
            <a:r>
              <a:rPr lang="de-DE"/>
              <a:t> </a:t>
            </a:r>
            <a:r>
              <a:rPr lang="de-DE" err="1"/>
              <a:t>the</a:t>
            </a:r>
            <a:r>
              <a:rPr lang="de-DE"/>
              <a:t> </a:t>
            </a:r>
            <a:r>
              <a:rPr lang="de-DE" err="1"/>
              <a:t>help</a:t>
            </a:r>
            <a:r>
              <a:rPr lang="de-DE"/>
              <a:t> </a:t>
            </a:r>
            <a:r>
              <a:rPr lang="de-DE" err="1"/>
              <a:t>of</a:t>
            </a:r>
            <a:r>
              <a:rPr lang="de-DE"/>
              <a:t> </a:t>
            </a:r>
            <a:r>
              <a:rPr lang="de-DE" err="1"/>
              <a:t>our</a:t>
            </a:r>
            <a:r>
              <a:rPr lang="de-DE"/>
              <a:t> </a:t>
            </a:r>
            <a:r>
              <a:rPr lang="de-DE" err="1"/>
              <a:t>process</a:t>
            </a:r>
            <a:r>
              <a:rPr lang="de-DE"/>
              <a:t> </a:t>
            </a:r>
            <a:r>
              <a:rPr lang="de-DE" err="1"/>
              <a:t>control</a:t>
            </a:r>
            <a:r>
              <a:rPr lang="de-DE"/>
              <a:t> </a:t>
            </a:r>
            <a:r>
              <a:rPr lang="de-DE" err="1"/>
              <a:t>technology</a:t>
            </a:r>
            <a:r>
              <a:rPr lang="de-DE"/>
              <a:t>, </a:t>
            </a:r>
            <a:r>
              <a:rPr lang="de-DE" err="1"/>
              <a:t>the</a:t>
            </a:r>
            <a:r>
              <a:rPr lang="de-DE"/>
              <a:t> </a:t>
            </a:r>
            <a:r>
              <a:rPr lang="de-DE" err="1"/>
              <a:t>black</a:t>
            </a:r>
            <a:r>
              <a:rPr lang="de-DE"/>
              <a:t> </a:t>
            </a:r>
            <a:r>
              <a:rPr lang="de-DE" err="1"/>
              <a:t>color</a:t>
            </a:r>
            <a:r>
              <a:rPr lang="de-DE"/>
              <a:t> für </a:t>
            </a:r>
            <a:r>
              <a:rPr lang="de-DE" err="1"/>
              <a:t>dyening</a:t>
            </a:r>
            <a:r>
              <a:rPr lang="de-DE"/>
              <a:t> </a:t>
            </a:r>
            <a:r>
              <a:rPr lang="de-DE" err="1"/>
              <a:t>the</a:t>
            </a:r>
            <a:r>
              <a:rPr lang="de-DE"/>
              <a:t> Lenzing “</a:t>
            </a:r>
            <a:r>
              <a:rPr lang="de-DE" err="1"/>
              <a:t>EcoVero</a:t>
            </a:r>
            <a:r>
              <a:rPr lang="de-DE"/>
              <a:t> </a:t>
            </a:r>
            <a:r>
              <a:rPr lang="de-DE" err="1"/>
              <a:t>fiber</a:t>
            </a:r>
            <a:r>
              <a:rPr lang="de-DE"/>
              <a:t>” </a:t>
            </a:r>
            <a:r>
              <a:rPr lang="de-DE" err="1"/>
              <a:t>is</a:t>
            </a:r>
            <a:r>
              <a:rPr lang="de-DE"/>
              <a:t> </a:t>
            </a:r>
            <a:r>
              <a:rPr lang="de-DE" err="1"/>
              <a:t>made</a:t>
            </a:r>
            <a:r>
              <a:rPr lang="de-DE"/>
              <a:t> possible - </a:t>
            </a:r>
            <a:r>
              <a:rPr lang="de-DE" err="1"/>
              <a:t>with</a:t>
            </a:r>
            <a:r>
              <a:rPr lang="de-DE"/>
              <a:t> </a:t>
            </a:r>
            <a:r>
              <a:rPr lang="de-DE" err="1"/>
              <a:t>lower</a:t>
            </a:r>
            <a:r>
              <a:rPr lang="de-DE"/>
              <a:t> CO2 </a:t>
            </a:r>
            <a:r>
              <a:rPr lang="de-DE" err="1"/>
              <a:t>emissions</a:t>
            </a:r>
            <a:r>
              <a:rPr lang="de-DE"/>
              <a:t> and </a:t>
            </a:r>
            <a:r>
              <a:rPr lang="de-DE" err="1"/>
              <a:t>reduced</a:t>
            </a:r>
            <a:r>
              <a:rPr lang="de-DE"/>
              <a:t> </a:t>
            </a:r>
            <a:r>
              <a:rPr lang="de-DE" err="1"/>
              <a:t>water</a:t>
            </a:r>
            <a:r>
              <a:rPr lang="de-DE"/>
              <a:t> </a:t>
            </a:r>
            <a:r>
              <a:rPr lang="de-DE" err="1"/>
              <a:t>consumption</a:t>
            </a:r>
            <a:r>
              <a:rPr lang="de-DE"/>
              <a:t>.</a:t>
            </a:r>
            <a:endParaRPr lang="de-DE">
              <a:cs typeface="Arial"/>
            </a:endParaRPr>
          </a:p>
          <a:p>
            <a:r>
              <a:rPr lang="de-DE"/>
              <a:t> </a:t>
            </a:r>
            <a:endParaRPr lang="de-DE">
              <a:cs typeface="Arial"/>
            </a:endParaRPr>
          </a:p>
          <a:p>
            <a:r>
              <a:rPr lang="de-DE" b="1"/>
              <a:t>Benefit </a:t>
            </a:r>
            <a:endParaRPr lang="de-DE" b="1">
              <a:cs typeface="Arial"/>
            </a:endParaRPr>
          </a:p>
          <a:p>
            <a:pPr marL="171450" indent="-171450">
              <a:buFont typeface="Calibri"/>
              <a:buChar char="-"/>
            </a:pPr>
            <a:r>
              <a:rPr lang="de-DE"/>
              <a:t>Data </a:t>
            </a:r>
            <a:r>
              <a:rPr lang="de-DE" err="1"/>
              <a:t>reuse</a:t>
            </a:r>
            <a:r>
              <a:rPr lang="de-DE"/>
              <a:t> </a:t>
            </a:r>
            <a:r>
              <a:rPr lang="de-DE" err="1"/>
              <a:t>across</a:t>
            </a:r>
            <a:r>
              <a:rPr lang="de-DE"/>
              <a:t> </a:t>
            </a:r>
            <a:r>
              <a:rPr lang="de-DE" err="1"/>
              <a:t>tools</a:t>
            </a:r>
            <a:r>
              <a:rPr lang="de-DE"/>
              <a:t> </a:t>
            </a:r>
            <a:r>
              <a:rPr lang="de-DE" err="1"/>
              <a:t>shortens</a:t>
            </a:r>
            <a:r>
              <a:rPr lang="de-DE"/>
              <a:t> </a:t>
            </a:r>
            <a:r>
              <a:rPr lang="de-DE" err="1"/>
              <a:t>project</a:t>
            </a:r>
            <a:r>
              <a:rPr lang="de-DE"/>
              <a:t> </a:t>
            </a:r>
            <a:r>
              <a:rPr lang="de-DE" err="1"/>
              <a:t>times</a:t>
            </a:r>
            <a:r>
              <a:rPr lang="de-DE"/>
              <a:t> </a:t>
            </a:r>
          </a:p>
          <a:p>
            <a:pPr marL="171450" indent="-171450">
              <a:buFont typeface="Calibri"/>
              <a:buChar char="-"/>
            </a:pPr>
            <a:r>
              <a:rPr lang="de-DE"/>
              <a:t>&lt; 5 </a:t>
            </a:r>
            <a:r>
              <a:rPr lang="de-DE" err="1"/>
              <a:t>months</a:t>
            </a:r>
            <a:r>
              <a:rPr lang="de-DE"/>
              <a:t> </a:t>
            </a:r>
            <a:r>
              <a:rPr lang="de-DE" err="1"/>
              <a:t>for</a:t>
            </a:r>
            <a:r>
              <a:rPr lang="de-DE"/>
              <a:t> </a:t>
            </a:r>
            <a:r>
              <a:rPr lang="de-DE" err="1"/>
              <a:t>planning</a:t>
            </a:r>
            <a:r>
              <a:rPr lang="de-DE"/>
              <a:t> and </a:t>
            </a:r>
            <a:r>
              <a:rPr lang="de-DE" err="1"/>
              <a:t>commissioning</a:t>
            </a:r>
            <a:r>
              <a:rPr lang="de-DE"/>
              <a:t> </a:t>
            </a:r>
            <a:r>
              <a:rPr lang="de-DE" err="1"/>
              <a:t>of</a:t>
            </a:r>
            <a:r>
              <a:rPr lang="de-DE"/>
              <a:t> </a:t>
            </a:r>
            <a:r>
              <a:rPr lang="de-DE" err="1"/>
              <a:t>production</a:t>
            </a:r>
            <a:r>
              <a:rPr lang="de-DE"/>
              <a:t> </a:t>
            </a:r>
          </a:p>
          <a:p>
            <a:pPr marL="171450" indent="-171450">
              <a:buFont typeface="Calibri"/>
              <a:buChar char="-"/>
            </a:pPr>
            <a:r>
              <a:rPr lang="de-DE"/>
              <a:t>Remote </a:t>
            </a:r>
            <a:r>
              <a:rPr lang="de-DE" err="1"/>
              <a:t>troubleshooting</a:t>
            </a:r>
            <a:r>
              <a:rPr lang="de-DE"/>
              <a:t> </a:t>
            </a:r>
            <a:r>
              <a:rPr lang="de-DE" err="1"/>
              <a:t>minimizes</a:t>
            </a:r>
            <a:r>
              <a:rPr lang="de-DE"/>
              <a:t> </a:t>
            </a:r>
            <a:r>
              <a:rPr lang="de-DE" err="1"/>
              <a:t>times</a:t>
            </a:r>
            <a:r>
              <a:rPr lang="de-DE"/>
              <a:t> on </a:t>
            </a:r>
            <a:r>
              <a:rPr lang="de-DE" err="1"/>
              <a:t>site</a:t>
            </a:r>
            <a:r>
              <a:rPr lang="de-DE"/>
              <a:t> and </a:t>
            </a:r>
            <a:r>
              <a:rPr lang="de-DE" err="1"/>
              <a:t>traveling</a:t>
            </a:r>
            <a:r>
              <a:rPr lang="de-DE"/>
              <a:t> </a:t>
            </a:r>
            <a:endParaRPr lang="de-DE">
              <a:cs typeface="Arial"/>
            </a:endParaRPr>
          </a:p>
          <a:p>
            <a:endParaRPr lang="en-US">
              <a:latin typeface="Calibri"/>
              <a:ea typeface="Calibri"/>
              <a:cs typeface="Calibri"/>
            </a:endParaRPr>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6</a:t>
            </a:fld>
            <a:endParaRPr lang="en-US"/>
          </a:p>
        </p:txBody>
      </p:sp>
    </p:spTree>
    <p:extLst>
      <p:ext uri="{BB962C8B-B14F-4D97-AF65-F5344CB8AC3E}">
        <p14:creationId xmlns:p14="http://schemas.microsoft.com/office/powerpoint/2010/main" val="14295317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endParaRPr lang="en-US">
              <a:latin typeface="Arial"/>
              <a:ea typeface="Calibri"/>
              <a:cs typeface="Arial"/>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D7A0"/>
                </a:solidFill>
                <a:effectLst/>
                <a:uLnTx/>
                <a:uFillTx/>
                <a:latin typeface="Arial"/>
                <a:ea typeface="+mn-ea"/>
                <a:cs typeface="+mn-cs"/>
              </a:rPr>
              <a:t>Notes</a:t>
            </a:r>
            <a:r>
              <a:rPr kumimoji="0" lang="en-US" sz="1050" b="0" i="0" u="none" strike="noStrike" kern="1200" cap="none" spc="0" normalizeH="0" baseline="0" noProof="0">
                <a:ln>
                  <a:noFill/>
                </a:ln>
                <a:solidFill>
                  <a:srgbClr val="000000"/>
                </a:solidFill>
                <a:effectLst/>
                <a:uLnTx/>
                <a:uFillTx/>
                <a:latin typeface="Arial"/>
                <a:ea typeface="+mn-ea"/>
                <a:cs typeface="+mn-cs"/>
              </a:rPr>
              <a:t> </a:t>
            </a:r>
            <a:fld id="{E76C657F-0E32-4130-ADDA-66B81138A76A}" type="slidenum">
              <a:rPr kumimoji="0" 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7172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19125"/>
            <a:ext cx="6048375" cy="3402013"/>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cs typeface="Arial"/>
              </a:rPr>
              <a:t>Software-defined Process Automation is the direction for us at Siemens. Moving away from traditional automation pyramids, which are becoming obsolete, we are shifting to more dynamic architectures. This means moving past hierarchical-driven thinking and enabling seamless data flow between layers. </a:t>
            </a:r>
          </a:p>
          <a:p>
            <a:pPr marL="171450" indent="-171450">
              <a:buFont typeface="Arial" panose="020B0604020202020204" pitchFamily="34" charset="0"/>
              <a:buChar char="•"/>
            </a:pPr>
            <a:r>
              <a:rPr lang="en-US">
                <a:cs typeface="Arial"/>
              </a:rPr>
              <a:t>Today, customers are already leaning towards plant architectures that facilitate better data exchange between different layers and systems, integrating the benefits of IT systems into the OT world. </a:t>
            </a:r>
          </a:p>
          <a:p>
            <a:pPr marL="171450" indent="-171450">
              <a:buFont typeface="Arial" panose="020B0604020202020204" pitchFamily="34" charset="0"/>
              <a:buChar char="•"/>
            </a:pPr>
            <a:r>
              <a:rPr lang="en-US">
                <a:cs typeface="Arial"/>
              </a:rPr>
              <a:t>So, a further convergence of IT and OT is the next logical step. This shift empowers our customers to decide how and where they will consume automation and engineering services, with an intelligent field underneath that allows for real-time process optimizations, even remotely.  </a:t>
            </a:r>
          </a:p>
          <a:p>
            <a:pPr marL="171450" indent="-171450">
              <a:buFont typeface="Arial" panose="020B0604020202020204" pitchFamily="34" charset="0"/>
              <a:buChar char="•"/>
            </a:pPr>
            <a:r>
              <a:rPr lang="en-US">
                <a:cs typeface="Arial"/>
              </a:rPr>
              <a:t>This digital transformation will make manufacturing much more user-centric, giving operators a holistic view of their plants and empowering them through data and information. </a:t>
            </a:r>
          </a:p>
          <a:p>
            <a:pPr marL="0" indent="0">
              <a:buFont typeface="Arial" panose="020B0604020202020204" pitchFamily="34" charset="0"/>
              <a:buNone/>
            </a:pPr>
            <a:endParaRPr lang="en-US">
              <a:cs typeface="Arial"/>
            </a:endParaRPr>
          </a:p>
          <a:p>
            <a:pPr marL="171450" indent="-171450">
              <a:buFont typeface="Arial" panose="020B0604020202020204" pitchFamily="34" charset="0"/>
              <a:buChar char="•"/>
            </a:pPr>
            <a:r>
              <a:rPr lang="en-US">
                <a:cs typeface="Arial"/>
              </a:rPr>
              <a:t>And the good news: Today with our DCS SIMATIC PCS neo, we don't just talk about software-defined process automation, we already deliver a software-defined process automation system as we are the first DCS provider capable of offering a seamless IT/OT integration solution with our web-based technology. We easily connect global engineering teams and simplify plant operations with our highly innovative user interface. </a:t>
            </a:r>
          </a:p>
          <a:p>
            <a:endParaRPr lang="en-US">
              <a:cs typeface="Arial"/>
            </a:endParaRPr>
          </a:p>
          <a:p>
            <a:pPr marL="171450" indent="-171450">
              <a:buFont typeface="Arial" panose="020B0604020202020204" pitchFamily="34" charset="0"/>
              <a:buChar char="•"/>
            </a:pPr>
            <a:r>
              <a:rPr lang="en-US">
                <a:cs typeface="Arial"/>
              </a:rPr>
              <a:t>Highlight new at Achema: PCS neo in the cloud</a:t>
            </a:r>
          </a:p>
          <a:p>
            <a:pPr marL="171450" indent="-171450">
              <a:buFont typeface="Arial" panose="020B0604020202020204" pitchFamily="34" charset="0"/>
              <a:buChar char="•"/>
            </a:pPr>
            <a:r>
              <a:rPr lang="en-US"/>
              <a:t>We are also demonstrating here how easy it is to setup an engineering environment in the cloud – that’s opening a completely new level of global collaboration, working in parallel and … you don’t need a dedicated, fixed and locally installed engineering system anymore. You can use every office PC with a state-of-the-art browser to work jointly in a project. And the best: you only pay for what you use!</a:t>
            </a:r>
            <a:endParaRPr lang="en-US">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A35049-C0C0-4EA8-806A-4289709955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27508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19125"/>
            <a:ext cx="6048375" cy="3402013"/>
          </a:xfrm>
        </p:spPr>
      </p:sp>
      <p:sp>
        <p:nvSpPr>
          <p:cNvPr id="3" name="Notizenplatzhalter 2"/>
          <p:cNvSpPr>
            <a:spLocks noGrp="1"/>
          </p:cNvSpPr>
          <p:nvPr>
            <p:ph type="body" idx="1"/>
          </p:nvPr>
        </p:nvSpPr>
        <p:spPr/>
        <p:txBody>
          <a:bodyPr/>
          <a:lstStyle/>
          <a:p>
            <a:r>
              <a:rPr lang="en-US" sz="1200" b="1">
                <a:gradFill>
                  <a:gsLst>
                    <a:gs pos="100000">
                      <a:srgbClr val="00E6DC"/>
                    </a:gs>
                    <a:gs pos="0">
                      <a:srgbClr val="00FFB9"/>
                    </a:gs>
                  </a:gsLst>
                  <a:lin ang="0" scaled="0"/>
                </a:gradFill>
                <a:latin typeface="+mn-lt"/>
                <a:ea typeface="+mn-ea"/>
                <a:cs typeface="+mn-cs"/>
              </a:rPr>
              <a:t>SIMATIC PCS neo </a:t>
            </a:r>
            <a:br>
              <a:rPr lang="en-US" sz="1200" b="1">
                <a:gradFill>
                  <a:gsLst>
                    <a:gs pos="100000">
                      <a:srgbClr val="00E6DC"/>
                    </a:gs>
                    <a:gs pos="0">
                      <a:srgbClr val="00FFB9"/>
                    </a:gs>
                  </a:gsLst>
                  <a:lin ang="0" scaled="0"/>
                </a:gradFill>
                <a:latin typeface="+mn-lt"/>
                <a:ea typeface="+mn-ea"/>
                <a:cs typeface="+mn-cs"/>
              </a:rPr>
            </a:br>
            <a:r>
              <a:rPr lang="en-US" sz="1200" b="1" err="1">
                <a:gradFill>
                  <a:gsLst>
                    <a:gs pos="100000">
                      <a:srgbClr val="00E6DC"/>
                    </a:gs>
                    <a:gs pos="0">
                      <a:srgbClr val="00FFB9"/>
                    </a:gs>
                  </a:gsLst>
                  <a:lin ang="0" scaled="0"/>
                </a:gradFill>
                <a:latin typeface="+mn-lt"/>
                <a:ea typeface="+mn-ea"/>
                <a:cs typeface="+mn-cs"/>
              </a:rPr>
              <a:t>GenAI</a:t>
            </a:r>
            <a:r>
              <a:rPr lang="en-US" sz="1200" b="1">
                <a:gradFill>
                  <a:gsLst>
                    <a:gs pos="100000">
                      <a:srgbClr val="00E6DC"/>
                    </a:gs>
                    <a:gs pos="0">
                      <a:srgbClr val="00FFB9"/>
                    </a:gs>
                  </a:gsLst>
                  <a:lin ang="0" scaled="0"/>
                </a:gradFill>
                <a:latin typeface="+mn-lt"/>
                <a:ea typeface="+mn-ea"/>
                <a:cs typeface="+mn-cs"/>
              </a:rPr>
              <a:t> SFC Generation</a:t>
            </a:r>
          </a:p>
          <a:p>
            <a:endParaRPr lang="en-US" sz="1200" b="1">
              <a:gradFill>
                <a:gsLst>
                  <a:gs pos="100000">
                    <a:srgbClr val="00E6DC"/>
                  </a:gs>
                  <a:gs pos="0">
                    <a:srgbClr val="00FFB9"/>
                  </a:gs>
                </a:gsLst>
                <a:lin ang="0" scaled="0"/>
              </a:gradFill>
              <a:latin typeface="+mn-lt"/>
              <a:ea typeface="+mn-ea"/>
              <a:cs typeface="+mn-cs"/>
            </a:endParaRPr>
          </a:p>
          <a:p>
            <a:pPr marL="182880" indent="-182880">
              <a:lnSpc>
                <a:spcPct val="110000"/>
              </a:lnSpc>
              <a:buFont typeface="Arial" panose="020B0604020202020204" pitchFamily="34" charset="0"/>
              <a:buChar char="•"/>
            </a:pPr>
            <a:r>
              <a:rPr lang="en-US" sz="1200">
                <a:solidFill>
                  <a:schemeClr val="bg1"/>
                </a:solidFill>
                <a:latin typeface="+mn-lt"/>
              </a:rPr>
              <a:t>SFC Generation as a module within SIMATIC PCS neo to automate the creation of Sequential Function Charts (SFCs). </a:t>
            </a:r>
          </a:p>
          <a:p>
            <a:pPr marL="182880" indent="-182880">
              <a:lnSpc>
                <a:spcPct val="110000"/>
              </a:lnSpc>
              <a:spcBef>
                <a:spcPts val="600"/>
              </a:spcBef>
              <a:buFont typeface="Arial" panose="020B0604020202020204" pitchFamily="34" charset="0"/>
              <a:buChar char="•"/>
            </a:pPr>
            <a:r>
              <a:rPr lang="en-US" sz="1200">
                <a:solidFill>
                  <a:schemeClr val="bg1"/>
                </a:solidFill>
                <a:latin typeface="+mn-lt"/>
              </a:rPr>
              <a:t>Visual representation of the process logic, allowing to manage complex workflows with ease</a:t>
            </a:r>
          </a:p>
          <a:p>
            <a:pPr>
              <a:spcAft>
                <a:spcPts val="0"/>
              </a:spcAft>
            </a:pPr>
            <a:endParaRPr lang="en-US">
              <a:latin typeface="Arial"/>
              <a:ea typeface="Calibri"/>
              <a:cs typeface="Arial"/>
            </a:endParaRPr>
          </a:p>
          <a:p>
            <a:pPr marL="171450" indent="-171450">
              <a:buFont typeface="Calibri"/>
              <a:buChar char="-"/>
            </a:pPr>
            <a:r>
              <a:rPr lang="en-US"/>
              <a:t>This is currently a proof of concept. At present, SFCs can be edited in PCS neo using </a:t>
            </a:r>
            <a:r>
              <a:rPr lang="en-US" err="1"/>
              <a:t>GenAI</a:t>
            </a:r>
            <a:r>
              <a:rPr lang="en-US"/>
              <a:t>.</a:t>
            </a:r>
            <a:endParaRPr lang="en-US">
              <a:cs typeface="Arial"/>
            </a:endParaRPr>
          </a:p>
          <a:p>
            <a:pPr marL="171450" indent="-171450">
              <a:buFont typeface="Calibri"/>
              <a:buChar char="-"/>
            </a:pPr>
            <a:r>
              <a:rPr lang="en-US"/>
              <a:t>Simple interactions: 'Add the step Warmup after "</a:t>
            </a:r>
            <a:r>
              <a:rPr lang="en-US" err="1"/>
              <a:t>IsStarting</a:t>
            </a:r>
            <a:r>
              <a:rPr lang="en-US"/>
              <a:t>".</a:t>
            </a:r>
            <a:endParaRPr lang="en-US">
              <a:cs typeface="Arial"/>
            </a:endParaRPr>
          </a:p>
          <a:p>
            <a:pPr marL="171450" indent="-171450">
              <a:buFont typeface="Calibri"/>
              <a:buChar char="-"/>
            </a:pPr>
            <a:r>
              <a:rPr lang="en-US"/>
              <a:t>Complex interactions: 'Add the step "</a:t>
            </a:r>
            <a:r>
              <a:rPr lang="en-US" err="1"/>
              <a:t>PumpStop</a:t>
            </a:r>
            <a:r>
              <a:rPr lang="en-US"/>
              <a:t>" before all Ventil Zu steps.</a:t>
            </a:r>
            <a:endParaRPr lang="en-US">
              <a:cs typeface="Arial"/>
            </a:endParaRPr>
          </a:p>
          <a:p>
            <a:pPr marL="171450" indent="-171450">
              <a:buFont typeface="Calibri"/>
              <a:buChar char="-"/>
            </a:pPr>
            <a:r>
              <a:rPr lang="en-US"/>
              <a:t>Create an entire SFC from a process description.</a:t>
            </a:r>
            <a:endParaRPr lang="en-US">
              <a:cs typeface="Arial"/>
            </a:endParaRPr>
          </a:p>
          <a:p>
            <a:pPr marL="171450" indent="-171450">
              <a:buFont typeface="Calibri"/>
              <a:buChar char="-"/>
            </a:pPr>
            <a:r>
              <a:rPr lang="en-US"/>
              <a:t>In the long term, all aspects of PCS neo engineering should be enabled with </a:t>
            </a:r>
            <a:r>
              <a:rPr lang="en-US" err="1"/>
              <a:t>GenAI</a:t>
            </a:r>
            <a:r>
              <a:rPr lang="en-US"/>
              <a:t>, including CFC, hardware configuration, signals, and HMI screens.</a:t>
            </a:r>
            <a:endParaRPr lang="en-US">
              <a:cs typeface="Arial"/>
            </a:endParaRPr>
          </a:p>
          <a:p>
            <a:pPr marL="171450" indent="-171450">
              <a:buFont typeface="Calibri"/>
              <a:buChar char="-"/>
            </a:pPr>
            <a:r>
              <a:rPr lang="en-US"/>
              <a:t>As a vision, it is also planned not only to manipulate engineering programs but also to align and validate them. For example: 'Here is a process description and the industry standards. Does my SFC plan conform to the specifications?</a:t>
            </a:r>
            <a:endParaRPr lang="en-US">
              <a:cs typeface="Arial"/>
            </a:endParaRPr>
          </a:p>
          <a:p>
            <a:endParaRPr lang="en-US"/>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9</a:t>
            </a:fld>
            <a:endParaRPr lang="en-US"/>
          </a:p>
        </p:txBody>
      </p:sp>
    </p:spTree>
    <p:extLst>
      <p:ext uri="{BB962C8B-B14F-4D97-AF65-F5344CB8AC3E}">
        <p14:creationId xmlns:p14="http://schemas.microsoft.com/office/powerpoint/2010/main" val="2033889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7.xml"/><Relationship Id="rId7" Type="http://schemas.openxmlformats.org/officeDocument/2006/relationships/oleObject" Target="../embeddings/oleObject4.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3.xml"/><Relationship Id="rId5" Type="http://schemas.openxmlformats.org/officeDocument/2006/relationships/tags" Target="../tags/tag29.xml"/><Relationship Id="rId10" Type="http://schemas.openxmlformats.org/officeDocument/2006/relationships/image" Target="../media/image13.emf"/><Relationship Id="rId4" Type="http://schemas.openxmlformats.org/officeDocument/2006/relationships/tags" Target="../tags/tag28.xml"/><Relationship Id="rId9"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9.emf"/><Relationship Id="rId4" Type="http://schemas.openxmlformats.org/officeDocument/2006/relationships/tags" Target="../tags/tag33.xml"/><Relationship Id="rId9"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9.xml"/><Relationship Id="rId7"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5.xml"/><Relationship Id="rId7"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11.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1.xml"/><Relationship Id="rId7"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11.emf"/></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10" Type="http://schemas.openxmlformats.org/officeDocument/2006/relationships/image" Target="../media/image11.emf"/><Relationship Id="rId4" Type="http://schemas.openxmlformats.org/officeDocument/2006/relationships/tags" Target="../tags/tag58.xml"/><Relationship Id="rId9" Type="http://schemas.openxmlformats.org/officeDocument/2006/relationships/oleObject" Target="../embeddings/oleObject9.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10.emf"/><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image" Target="../media/image9.emf"/><Relationship Id="rId5" Type="http://schemas.openxmlformats.org/officeDocument/2006/relationships/tags" Target="../tags/tag66.xml"/><Relationship Id="rId10" Type="http://schemas.openxmlformats.org/officeDocument/2006/relationships/oleObject" Target="../embeddings/oleObject10.bin"/><Relationship Id="rId4" Type="http://schemas.openxmlformats.org/officeDocument/2006/relationships/tags" Target="../tags/tag6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10.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image" Target="../media/image9.emf"/><Relationship Id="rId5" Type="http://schemas.openxmlformats.org/officeDocument/2006/relationships/tags" Target="../tags/tag74.xml"/><Relationship Id="rId10" Type="http://schemas.openxmlformats.org/officeDocument/2006/relationships/oleObject" Target="../embeddings/oleObject11.bin"/><Relationship Id="rId4" Type="http://schemas.openxmlformats.org/officeDocument/2006/relationships/tags" Target="../tags/tag73.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image" Target="../media/image10.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image" Target="../media/image9.emf"/><Relationship Id="rId5" Type="http://schemas.openxmlformats.org/officeDocument/2006/relationships/tags" Target="../tags/tag82.xml"/><Relationship Id="rId10" Type="http://schemas.openxmlformats.org/officeDocument/2006/relationships/oleObject" Target="../embeddings/oleObject12.bin"/><Relationship Id="rId4" Type="http://schemas.openxmlformats.org/officeDocument/2006/relationships/tags" Target="../tags/tag81.xml"/><Relationship Id="rId9"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10.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image" Target="../media/image14.emf"/><Relationship Id="rId5" Type="http://schemas.openxmlformats.org/officeDocument/2006/relationships/tags" Target="../tags/tag90.xml"/><Relationship Id="rId10" Type="http://schemas.openxmlformats.org/officeDocument/2006/relationships/oleObject" Target="../embeddings/oleObject13.bin"/><Relationship Id="rId4" Type="http://schemas.openxmlformats.org/officeDocument/2006/relationships/tags" Target="../tags/tag89.xml"/><Relationship Id="rId9"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10.emf"/><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image" Target="../media/image9.emf"/><Relationship Id="rId5" Type="http://schemas.openxmlformats.org/officeDocument/2006/relationships/tags" Target="../tags/tag98.xml"/><Relationship Id="rId10" Type="http://schemas.openxmlformats.org/officeDocument/2006/relationships/oleObject" Target="../embeddings/oleObject14.bin"/><Relationship Id="rId4" Type="http://schemas.openxmlformats.org/officeDocument/2006/relationships/tags" Target="../tags/tag97.xml"/><Relationship Id="rId9"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0.emf"/><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1.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10.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image" Target="../media/image9.emf"/><Relationship Id="rId5" Type="http://schemas.openxmlformats.org/officeDocument/2006/relationships/tags" Target="../tags/tag108.xml"/><Relationship Id="rId10" Type="http://schemas.openxmlformats.org/officeDocument/2006/relationships/oleObject" Target="../embeddings/oleObject16.bin"/><Relationship Id="rId4" Type="http://schemas.openxmlformats.org/officeDocument/2006/relationships/tags" Target="../tags/tag107.xml"/><Relationship Id="rId9"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4.xml"/><Relationship Id="rId7" Type="http://schemas.openxmlformats.org/officeDocument/2006/relationships/oleObject" Target="../embeddings/oleObject17.bin"/><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3.xml"/><Relationship Id="rId5" Type="http://schemas.openxmlformats.org/officeDocument/2006/relationships/tags" Target="../tags/tag116.xml"/><Relationship Id="rId10" Type="http://schemas.openxmlformats.org/officeDocument/2006/relationships/image" Target="../media/image13.emf"/><Relationship Id="rId4" Type="http://schemas.openxmlformats.org/officeDocument/2006/relationships/tags" Target="../tags/tag115.xml"/><Relationship Id="rId9" Type="http://schemas.openxmlformats.org/officeDocument/2006/relationships/image" Target="../media/image15.jpe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9.xml"/><Relationship Id="rId7" Type="http://schemas.openxmlformats.org/officeDocument/2006/relationships/oleObject" Target="../embeddings/oleObject18.bin"/><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slideMaster" Target="../slideMasters/slideMaster3.xml"/><Relationship Id="rId5" Type="http://schemas.openxmlformats.org/officeDocument/2006/relationships/tags" Target="../tags/tag121.xml"/><Relationship Id="rId10" Type="http://schemas.openxmlformats.org/officeDocument/2006/relationships/image" Target="../media/image13.emf"/><Relationship Id="rId4" Type="http://schemas.openxmlformats.org/officeDocument/2006/relationships/tags" Target="../tags/tag120.xml"/><Relationship Id="rId9" Type="http://schemas.openxmlformats.org/officeDocument/2006/relationships/image" Target="../media/image16.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49.xml"/><Relationship Id="rId7" Type="http://schemas.openxmlformats.org/officeDocument/2006/relationships/oleObject" Target="../embeddings/oleObject22.bin"/><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slideMaster" Target="../slideMasters/slideMaster5.xml"/><Relationship Id="rId5" Type="http://schemas.openxmlformats.org/officeDocument/2006/relationships/tags" Target="../tags/tag151.xml"/><Relationship Id="rId10" Type="http://schemas.openxmlformats.org/officeDocument/2006/relationships/image" Target="../media/image13.emf"/><Relationship Id="rId4" Type="http://schemas.openxmlformats.org/officeDocument/2006/relationships/tags" Target="../tags/tag150.xml"/><Relationship Id="rId9" Type="http://schemas.openxmlformats.org/officeDocument/2006/relationships/image" Target="../media/image12.png"/></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54.xml"/><Relationship Id="rId7" Type="http://schemas.openxmlformats.org/officeDocument/2006/relationships/tags" Target="../tags/tag158.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tags" Target="../tags/tag157.xml"/><Relationship Id="rId5" Type="http://schemas.openxmlformats.org/officeDocument/2006/relationships/tags" Target="../tags/tag156.xml"/><Relationship Id="rId10" Type="http://schemas.openxmlformats.org/officeDocument/2006/relationships/image" Target="../media/image9.emf"/><Relationship Id="rId4" Type="http://schemas.openxmlformats.org/officeDocument/2006/relationships/tags" Target="../tags/tag155.xml"/><Relationship Id="rId9" Type="http://schemas.openxmlformats.org/officeDocument/2006/relationships/oleObject" Target="../embeddings/oleObject23.bin"/></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61.xml"/><Relationship Id="rId7" Type="http://schemas.openxmlformats.org/officeDocument/2006/relationships/slideMaster" Target="../slideMasters/slideMaster5.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 Id="rId9" Type="http://schemas.openxmlformats.org/officeDocument/2006/relationships/image" Target="../media/image11.emf"/></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67.xml"/><Relationship Id="rId7" Type="http://schemas.openxmlformats.org/officeDocument/2006/relationships/slideMaster" Target="../slideMasters/slideMaster5.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5" Type="http://schemas.openxmlformats.org/officeDocument/2006/relationships/tags" Target="../tags/tag169.xml"/><Relationship Id="rId4" Type="http://schemas.openxmlformats.org/officeDocument/2006/relationships/tags" Target="../tags/tag168.xml"/><Relationship Id="rId9" Type="http://schemas.openxmlformats.org/officeDocument/2006/relationships/image" Target="../media/image11.emf"/></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73.xml"/><Relationship Id="rId7" Type="http://schemas.openxmlformats.org/officeDocument/2006/relationships/slideMaster" Target="../slideMasters/slideMaster5.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11.emf"/></Relationships>
</file>

<file path=ppt/slideLayouts/_rels/slideLayout5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10" Type="http://schemas.openxmlformats.org/officeDocument/2006/relationships/image" Target="../media/image11.emf"/><Relationship Id="rId4" Type="http://schemas.openxmlformats.org/officeDocument/2006/relationships/tags" Target="../tags/tag180.xml"/><Relationship Id="rId9" Type="http://schemas.openxmlformats.org/officeDocument/2006/relationships/oleObject" Target="../embeddings/oleObject27.bin"/></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191.xml"/><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image" Target="../media/image10.emf"/><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image" Target="../media/image9.emf"/><Relationship Id="rId5" Type="http://schemas.openxmlformats.org/officeDocument/2006/relationships/tags" Target="../tags/tag188.xml"/><Relationship Id="rId10" Type="http://schemas.openxmlformats.org/officeDocument/2006/relationships/oleObject" Target="../embeddings/oleObject28.bin"/><Relationship Id="rId4" Type="http://schemas.openxmlformats.org/officeDocument/2006/relationships/tags" Target="../tags/tag187.xml"/><Relationship Id="rId9"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199.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image" Target="../media/image10.emf"/><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image" Target="../media/image9.emf"/><Relationship Id="rId5" Type="http://schemas.openxmlformats.org/officeDocument/2006/relationships/tags" Target="../tags/tag196.xml"/><Relationship Id="rId10" Type="http://schemas.openxmlformats.org/officeDocument/2006/relationships/oleObject" Target="../embeddings/oleObject29.bin"/><Relationship Id="rId4" Type="http://schemas.openxmlformats.org/officeDocument/2006/relationships/tags" Target="../tags/tag195.xml"/><Relationship Id="rId9"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207.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10.emf"/><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image" Target="../media/image11.emf"/><Relationship Id="rId5" Type="http://schemas.openxmlformats.org/officeDocument/2006/relationships/tags" Target="../tags/tag204.xml"/><Relationship Id="rId10" Type="http://schemas.openxmlformats.org/officeDocument/2006/relationships/oleObject" Target="../embeddings/oleObject30.bin"/><Relationship Id="rId4" Type="http://schemas.openxmlformats.org/officeDocument/2006/relationships/tags" Target="../tags/tag203.xml"/><Relationship Id="rId9"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215.xml"/><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image" Target="../media/image10.emf"/><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image" Target="../media/image9.emf"/><Relationship Id="rId5" Type="http://schemas.openxmlformats.org/officeDocument/2006/relationships/tags" Target="../tags/tag212.xml"/><Relationship Id="rId10" Type="http://schemas.openxmlformats.org/officeDocument/2006/relationships/oleObject" Target="../embeddings/oleObject31.bin"/><Relationship Id="rId4" Type="http://schemas.openxmlformats.org/officeDocument/2006/relationships/tags" Target="../tags/tag211.xml"/><Relationship Id="rId9"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223.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image" Target="../media/image10.emf"/><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image" Target="../media/image11.emf"/><Relationship Id="rId5" Type="http://schemas.openxmlformats.org/officeDocument/2006/relationships/tags" Target="../tags/tag220.xml"/><Relationship Id="rId10" Type="http://schemas.openxmlformats.org/officeDocument/2006/relationships/oleObject" Target="../embeddings/oleObject32.bin"/><Relationship Id="rId4" Type="http://schemas.openxmlformats.org/officeDocument/2006/relationships/tags" Target="../tags/tag219.xml"/><Relationship Id="rId9"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226.xml"/><Relationship Id="rId7" Type="http://schemas.openxmlformats.org/officeDocument/2006/relationships/slideMaster" Target="../slideMasters/slideMaster5.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tags" Target="../tags/tag229.xml"/><Relationship Id="rId5" Type="http://schemas.openxmlformats.org/officeDocument/2006/relationships/tags" Target="../tags/tag228.xml"/><Relationship Id="rId10" Type="http://schemas.openxmlformats.org/officeDocument/2006/relationships/image" Target="../media/image10.emf"/><Relationship Id="rId4" Type="http://schemas.openxmlformats.org/officeDocument/2006/relationships/tags" Target="../tags/tag227.xml"/><Relationship Id="rId9" Type="http://schemas.openxmlformats.org/officeDocument/2006/relationships/image" Target="../media/image1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10.emf"/><Relationship Id="rId5" Type="http://schemas.openxmlformats.org/officeDocument/2006/relationships/image" Target="../media/image11.emf"/><Relationship Id="rId4" Type="http://schemas.openxmlformats.org/officeDocument/2006/relationships/oleObject" Target="../embeddings/oleObject34.bin"/></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34.xml"/><Relationship Id="rId7" Type="http://schemas.openxmlformats.org/officeDocument/2006/relationships/tags" Target="../tags/tag238.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tags" Target="../tags/tag237.xml"/><Relationship Id="rId11" Type="http://schemas.openxmlformats.org/officeDocument/2006/relationships/image" Target="../media/image10.emf"/><Relationship Id="rId5" Type="http://schemas.openxmlformats.org/officeDocument/2006/relationships/tags" Target="../tags/tag236.xml"/><Relationship Id="rId10" Type="http://schemas.openxmlformats.org/officeDocument/2006/relationships/image" Target="../media/image11.emf"/><Relationship Id="rId4" Type="http://schemas.openxmlformats.org/officeDocument/2006/relationships/tags" Target="../tags/tag235.xml"/><Relationship Id="rId9" Type="http://schemas.openxmlformats.org/officeDocument/2006/relationships/oleObject" Target="../embeddings/oleObject35.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262.xml"/><Relationship Id="rId7" Type="http://schemas.openxmlformats.org/officeDocument/2006/relationships/oleObject" Target="../embeddings/oleObject37.bin"/><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slideMaster" Target="../slideMasters/slideMaster6.xml"/><Relationship Id="rId5" Type="http://schemas.openxmlformats.org/officeDocument/2006/relationships/tags" Target="../tags/tag264.xml"/><Relationship Id="rId10" Type="http://schemas.openxmlformats.org/officeDocument/2006/relationships/image" Target="../media/image13.emf"/><Relationship Id="rId4" Type="http://schemas.openxmlformats.org/officeDocument/2006/relationships/tags" Target="../tags/tag263.xml"/><Relationship Id="rId9" Type="http://schemas.openxmlformats.org/officeDocument/2006/relationships/image" Target="../media/image12.png"/></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67.xml"/><Relationship Id="rId7" Type="http://schemas.openxmlformats.org/officeDocument/2006/relationships/tags" Target="../tags/tag271.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tags" Target="../tags/tag270.xml"/><Relationship Id="rId5" Type="http://schemas.openxmlformats.org/officeDocument/2006/relationships/tags" Target="../tags/tag269.xml"/><Relationship Id="rId10" Type="http://schemas.openxmlformats.org/officeDocument/2006/relationships/image" Target="../media/image9.emf"/><Relationship Id="rId4" Type="http://schemas.openxmlformats.org/officeDocument/2006/relationships/tags" Target="../tags/tag268.xml"/><Relationship Id="rId9" Type="http://schemas.openxmlformats.org/officeDocument/2006/relationships/oleObject" Target="../embeddings/oleObject38.bin"/></Relationships>
</file>

<file path=ppt/slideLayouts/_rels/slideLayout67.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74.xml"/><Relationship Id="rId7" Type="http://schemas.openxmlformats.org/officeDocument/2006/relationships/slideMaster" Target="../slideMasters/slideMaster6.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tags" Target="../tags/tag277.xml"/><Relationship Id="rId5" Type="http://schemas.openxmlformats.org/officeDocument/2006/relationships/tags" Target="../tags/tag276.xml"/><Relationship Id="rId4" Type="http://schemas.openxmlformats.org/officeDocument/2006/relationships/tags" Target="../tags/tag275.xml"/><Relationship Id="rId9" Type="http://schemas.openxmlformats.org/officeDocument/2006/relationships/image" Target="../media/image11.emf"/></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280.xml"/><Relationship Id="rId7" Type="http://schemas.openxmlformats.org/officeDocument/2006/relationships/slideMaster" Target="../slideMasters/slideMaster6.xml"/><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5" Type="http://schemas.openxmlformats.org/officeDocument/2006/relationships/tags" Target="../tags/tag282.xml"/><Relationship Id="rId4" Type="http://schemas.openxmlformats.org/officeDocument/2006/relationships/tags" Target="../tags/tag281.xml"/><Relationship Id="rId9"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286.xml"/><Relationship Id="rId7" Type="http://schemas.openxmlformats.org/officeDocument/2006/relationships/slideMaster" Target="../slideMasters/slideMaster6.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tags" Target="../tags/tag289.xml"/><Relationship Id="rId5" Type="http://schemas.openxmlformats.org/officeDocument/2006/relationships/tags" Target="../tags/tag288.xml"/><Relationship Id="rId4" Type="http://schemas.openxmlformats.org/officeDocument/2006/relationships/tags" Target="../tags/tag287.xml"/><Relationship Id="rId9"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92.xml"/><Relationship Id="rId7" Type="http://schemas.openxmlformats.org/officeDocument/2006/relationships/tags" Target="../tags/tag296.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tags" Target="../tags/tag295.xml"/><Relationship Id="rId5" Type="http://schemas.openxmlformats.org/officeDocument/2006/relationships/tags" Target="../tags/tag294.xml"/><Relationship Id="rId10" Type="http://schemas.openxmlformats.org/officeDocument/2006/relationships/image" Target="../media/image11.emf"/><Relationship Id="rId4" Type="http://schemas.openxmlformats.org/officeDocument/2006/relationships/tags" Target="../tags/tag293.xml"/><Relationship Id="rId9" Type="http://schemas.openxmlformats.org/officeDocument/2006/relationships/oleObject" Target="../embeddings/oleObject42.bin"/></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304.xml"/><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image" Target="../media/image10.emf"/><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tags" Target="../tags/tag302.xml"/><Relationship Id="rId11" Type="http://schemas.openxmlformats.org/officeDocument/2006/relationships/image" Target="../media/image9.emf"/><Relationship Id="rId5" Type="http://schemas.openxmlformats.org/officeDocument/2006/relationships/tags" Target="../tags/tag301.xml"/><Relationship Id="rId10" Type="http://schemas.openxmlformats.org/officeDocument/2006/relationships/oleObject" Target="../embeddings/oleObject43.bin"/><Relationship Id="rId4" Type="http://schemas.openxmlformats.org/officeDocument/2006/relationships/tags" Target="../tags/tag300.xml"/><Relationship Id="rId9"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312.xml"/><Relationship Id="rId3" Type="http://schemas.openxmlformats.org/officeDocument/2006/relationships/tags" Target="../tags/tag307.xml"/><Relationship Id="rId7" Type="http://schemas.openxmlformats.org/officeDocument/2006/relationships/tags" Target="../tags/tag311.xml"/><Relationship Id="rId12" Type="http://schemas.openxmlformats.org/officeDocument/2006/relationships/image" Target="../media/image10.emf"/><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tags" Target="../tags/tag310.xml"/><Relationship Id="rId11" Type="http://schemas.openxmlformats.org/officeDocument/2006/relationships/image" Target="../media/image9.emf"/><Relationship Id="rId5" Type="http://schemas.openxmlformats.org/officeDocument/2006/relationships/tags" Target="../tags/tag309.xml"/><Relationship Id="rId10" Type="http://schemas.openxmlformats.org/officeDocument/2006/relationships/oleObject" Target="../embeddings/oleObject44.bin"/><Relationship Id="rId4" Type="http://schemas.openxmlformats.org/officeDocument/2006/relationships/tags" Target="../tags/tag308.xml"/><Relationship Id="rId9"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320.xml"/><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10.emf"/><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tags" Target="../tags/tag318.xml"/><Relationship Id="rId11" Type="http://schemas.openxmlformats.org/officeDocument/2006/relationships/image" Target="../media/image11.emf"/><Relationship Id="rId5" Type="http://schemas.openxmlformats.org/officeDocument/2006/relationships/tags" Target="../tags/tag317.xml"/><Relationship Id="rId10" Type="http://schemas.openxmlformats.org/officeDocument/2006/relationships/oleObject" Target="../embeddings/oleObject45.bin"/><Relationship Id="rId4" Type="http://schemas.openxmlformats.org/officeDocument/2006/relationships/tags" Target="../tags/tag316.xml"/><Relationship Id="rId9"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328.xml"/><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10.emf"/><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image" Target="../media/image9.emf"/><Relationship Id="rId5" Type="http://schemas.openxmlformats.org/officeDocument/2006/relationships/tags" Target="../tags/tag325.xml"/><Relationship Id="rId10" Type="http://schemas.openxmlformats.org/officeDocument/2006/relationships/oleObject" Target="../embeddings/oleObject46.bin"/><Relationship Id="rId4" Type="http://schemas.openxmlformats.org/officeDocument/2006/relationships/tags" Target="../tags/tag324.xml"/><Relationship Id="rId9"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336.xml"/><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image" Target="../media/image10.emf"/><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11" Type="http://schemas.openxmlformats.org/officeDocument/2006/relationships/image" Target="../media/image11.emf"/><Relationship Id="rId5" Type="http://schemas.openxmlformats.org/officeDocument/2006/relationships/tags" Target="../tags/tag333.xml"/><Relationship Id="rId10" Type="http://schemas.openxmlformats.org/officeDocument/2006/relationships/oleObject" Target="../embeddings/oleObject47.bin"/><Relationship Id="rId4" Type="http://schemas.openxmlformats.org/officeDocument/2006/relationships/tags" Target="../tags/tag332.xml"/><Relationship Id="rId9"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339.xml"/><Relationship Id="rId7" Type="http://schemas.openxmlformats.org/officeDocument/2006/relationships/slideMaster" Target="../slideMasters/slideMaster6.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tags" Target="../tags/tag342.xml"/><Relationship Id="rId5" Type="http://schemas.openxmlformats.org/officeDocument/2006/relationships/tags" Target="../tags/tag341.xml"/><Relationship Id="rId10" Type="http://schemas.openxmlformats.org/officeDocument/2006/relationships/image" Target="../media/image10.emf"/><Relationship Id="rId4" Type="http://schemas.openxmlformats.org/officeDocument/2006/relationships/tags" Target="../tags/tag340.xml"/><Relationship Id="rId9" Type="http://schemas.openxmlformats.org/officeDocument/2006/relationships/image" Target="../media/image11.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image" Target="../media/image10.emf"/><Relationship Id="rId5" Type="http://schemas.openxmlformats.org/officeDocument/2006/relationships/image" Target="../media/image11.emf"/><Relationship Id="rId4" Type="http://schemas.openxmlformats.org/officeDocument/2006/relationships/oleObject" Target="../embeddings/oleObject49.bin"/></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47.xml"/><Relationship Id="rId7" Type="http://schemas.openxmlformats.org/officeDocument/2006/relationships/tags" Target="../tags/tag351.xml"/><Relationship Id="rId2" Type="http://schemas.openxmlformats.org/officeDocument/2006/relationships/tags" Target="../tags/tag346.xml"/><Relationship Id="rId1" Type="http://schemas.openxmlformats.org/officeDocument/2006/relationships/tags" Target="../tags/tag345.xml"/><Relationship Id="rId6" Type="http://schemas.openxmlformats.org/officeDocument/2006/relationships/tags" Target="../tags/tag350.xml"/><Relationship Id="rId11" Type="http://schemas.openxmlformats.org/officeDocument/2006/relationships/image" Target="../media/image10.emf"/><Relationship Id="rId5" Type="http://schemas.openxmlformats.org/officeDocument/2006/relationships/tags" Target="../tags/tag349.xml"/><Relationship Id="rId10" Type="http://schemas.openxmlformats.org/officeDocument/2006/relationships/image" Target="../media/image11.emf"/><Relationship Id="rId4" Type="http://schemas.openxmlformats.org/officeDocument/2006/relationships/tags" Target="../tags/tag348.xml"/><Relationship Id="rId9" Type="http://schemas.openxmlformats.org/officeDocument/2006/relationships/oleObject" Target="../embeddings/oleObject50.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en-US" noProof="0"/>
              <a:t>Picture</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en-US"/>
              <a:t>Click to edit </a:t>
            </a:r>
            <a:br>
              <a:rPr lang="en-US"/>
            </a:br>
            <a:r>
              <a:rPr lang="en-US"/>
              <a:t>Master title style</a:t>
            </a:r>
            <a:br>
              <a:rPr lang="en-US"/>
            </a:br>
            <a:r>
              <a:rPr lang="en-US"/>
              <a:t>3 lines</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n-US"/>
              <a:t>Restricted | © Siemens 20XX | Author | Department | YYYY-MM-DD</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FBAE40"/>
          </p15:clr>
        </p15:guide>
        <p15:guide id="5" pos="6472" userDrawn="1">
          <p15:clr>
            <a:srgbClr val="65CEFF"/>
          </p15:clr>
        </p15:guide>
        <p15:guide id="6" pos="7425" userDrawn="1">
          <p15:clr>
            <a:srgbClr val="FBAE40"/>
          </p15:clr>
        </p15:guide>
        <p15:guide id="7" orient="horz" pos="302" userDrawn="1">
          <p15:clr>
            <a:srgbClr val="65CEFF"/>
          </p15:clr>
        </p15:guide>
        <p15:guide id="8" orient="horz" pos="664" userDrawn="1">
          <p15:clr>
            <a:srgbClr val="FBAE40"/>
          </p15:clr>
        </p15:guide>
        <p15:guide id="9" orient="horz" pos="891" userDrawn="1">
          <p15:clr>
            <a:srgbClr val="65CEFF"/>
          </p15:clr>
        </p15:guide>
        <p15:guide id="11" orient="horz" pos="3885" userDrawn="1">
          <p15:clr>
            <a:srgbClr val="FBAE40"/>
          </p15:clr>
        </p15:guide>
        <p15:guide id="12" orient="horz" pos="4157" userDrawn="1">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Deep Blue 8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4656244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Deep Blue 6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7" name="Siemens Logo" descr="Siemens logo">
            <a:extLst>
              <a:ext uri="{FF2B5EF4-FFF2-40B4-BE49-F238E27FC236}">
                <a16:creationId xmlns:a16="http://schemas.microsoft.com/office/drawing/2014/main" id="{092D1760-10AA-43FB-AC0B-074FF500719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6913533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Deep Blue 4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7" name="Siemens Logo" descr="Siemens logo">
            <a:extLst>
              <a:ext uri="{FF2B5EF4-FFF2-40B4-BE49-F238E27FC236}">
                <a16:creationId xmlns:a16="http://schemas.microsoft.com/office/drawing/2014/main" id="{BC293230-94BC-41FA-A2D9-E9259B125F8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3046146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fr-FR"/>
              <a:t>Restricted | © Siemens 20XX | Author | Department | YYYY-MM-DD</a:t>
            </a:r>
            <a:endParaRPr lang="en-US"/>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2945690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11376788" cy="2462213"/>
          </a:xfrm>
          <a:noFill/>
        </p:spPr>
        <p:txBody>
          <a:bodyPr wrap="square" rIns="0" bIns="0" anchor="b" anchorCtr="0">
            <a:spAutoFit/>
          </a:bodyPr>
          <a:lstStyle>
            <a:lvl1pPr marL="0">
              <a:lnSpc>
                <a:spcPct val="100000"/>
              </a:lnSpc>
              <a:defRPr sz="8000" b="0">
                <a:solidFill>
                  <a:schemeClr val="tx1"/>
                </a:solidFill>
              </a:defRPr>
            </a:lvl1pPr>
          </a:lstStyle>
          <a:p>
            <a:r>
              <a:rPr lang="en-US"/>
              <a:t>Title chart, </a:t>
            </a:r>
            <a:br>
              <a:rPr lang="en-US"/>
            </a:br>
            <a:r>
              <a:rPr lang="en-US"/>
              <a:t>Arial, 80 </a:t>
            </a:r>
            <a:r>
              <a:rPr lang="en-US" err="1"/>
              <a:t>pt</a:t>
            </a:r>
            <a:endParaRPr lang="en-US"/>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2" y="3876677"/>
            <a:ext cx="9286875"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23730690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000" cy="2769989"/>
          </a:xfrm>
          <a:noFill/>
        </p:spPr>
        <p:txBody>
          <a:bodyPr wrap="square" rIns="0" bIns="0" anchor="b" anchorCtr="0">
            <a:spAutoFit/>
          </a:bodyPr>
          <a:lstStyle>
            <a:lvl1pPr marL="0">
              <a:lnSpc>
                <a:spcPct val="100000"/>
              </a:lnSpc>
              <a:defRPr sz="6000" b="0">
                <a:solidFill>
                  <a:schemeClr val="tx1"/>
                </a:solidFill>
              </a:defRPr>
            </a:lvl1pPr>
          </a:lstStyle>
          <a:p>
            <a:r>
              <a:rPr lang="en-US"/>
              <a:t>Title chart, </a:t>
            </a:r>
            <a:br>
              <a:rPr lang="en-US"/>
            </a:br>
            <a:r>
              <a:rPr lang="en-US"/>
              <a:t>Arial Regular, 60 </a:t>
            </a:r>
            <a:r>
              <a:rPr lang="en-US" err="1"/>
              <a:t>pt</a:t>
            </a:r>
            <a:r>
              <a:rPr lang="en-US"/>
              <a:t>,</a:t>
            </a:r>
            <a:br>
              <a:rPr lang="en-US"/>
            </a:br>
            <a:r>
              <a:rPr lang="en-US"/>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4184453"/>
            <a:ext cx="9288000"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pic>
        <p:nvPicPr>
          <p:cNvPr id="7" name="Siemens Logo" descr="Siemens logo">
            <a:extLst>
              <a:ext uri="{FF2B5EF4-FFF2-40B4-BE49-F238E27FC236}">
                <a16:creationId xmlns:a16="http://schemas.microsoft.com/office/drawing/2014/main" id="{092D1760-10AA-43FB-AC0B-074FF500719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10518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4"/>
            <a:ext cx="9288000" cy="2462213"/>
          </a:xfrm>
          <a:noFill/>
        </p:spPr>
        <p:txBody>
          <a:bodyPr wrap="square" rIns="0" bIns="0" anchor="b" anchorCtr="0">
            <a:spAutoFit/>
          </a:bodyPr>
          <a:lstStyle>
            <a:lvl1pPr marL="0">
              <a:lnSpc>
                <a:spcPct val="100000"/>
              </a:lnSpc>
              <a:defRPr sz="4000" b="0">
                <a:solidFill>
                  <a:schemeClr val="tx1"/>
                </a:solidFill>
              </a:defRPr>
            </a:lvl1pPr>
          </a:lstStyle>
          <a:p>
            <a:r>
              <a:rPr lang="en-US"/>
              <a:t>Title chart, </a:t>
            </a:r>
            <a:br>
              <a:rPr lang="en-US"/>
            </a:br>
            <a:r>
              <a:rPr lang="en-US"/>
              <a:t>Arial Regular, 40 </a:t>
            </a:r>
            <a:r>
              <a:rPr lang="en-US" err="1"/>
              <a:t>pt</a:t>
            </a:r>
            <a:r>
              <a:rPr lang="en-US"/>
              <a:t>, </a:t>
            </a:r>
            <a:br>
              <a:rPr lang="en-US"/>
            </a:br>
            <a:r>
              <a:rPr lang="en-US"/>
              <a:t>extra long headlines,</a:t>
            </a:r>
            <a:br>
              <a:rPr lang="en-US"/>
            </a:br>
            <a:r>
              <a:rPr lang="en-US"/>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pic>
        <p:nvPicPr>
          <p:cNvPr id="7" name="Siemens Logo" descr="Siemens logo">
            <a:extLst>
              <a:ext uri="{FF2B5EF4-FFF2-40B4-BE49-F238E27FC236}">
                <a16:creationId xmlns:a16="http://schemas.microsoft.com/office/drawing/2014/main" id="{BC293230-94BC-41FA-A2D9-E9259B125F8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4400" y="6364800"/>
            <a:ext cx="1512000"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163" y="6310800"/>
            <a:ext cx="9288000" cy="547200"/>
          </a:xfrm>
        </p:spPr>
        <p:txBody>
          <a:bodyPr/>
          <a:lstStyle/>
          <a:p>
            <a:pPr>
              <a:lnSpc>
                <a:spcPct val="100000"/>
              </a:lnSpc>
            </a:pPr>
            <a:r>
              <a:rPr lang="en-US"/>
              <a:t>Restricted | © Siemens 20XX | Author | Department | YYYY-MM-DD</a:t>
            </a:r>
          </a:p>
        </p:txBody>
      </p:sp>
    </p:spTree>
    <p:extLst>
      <p:ext uri="{BB962C8B-B14F-4D97-AF65-F5344CB8AC3E}">
        <p14:creationId xmlns:p14="http://schemas.microsoft.com/office/powerpoint/2010/main" val="148640387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79444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FBAE40"/>
          </p15:clr>
        </p15:guide>
        <p15:guide id="10" pos="7425">
          <p15:clr>
            <a:srgbClr val="FBAE40"/>
          </p15:clr>
        </p15:guide>
        <p15:guide id="11" orient="horz" pos="302">
          <p15:clr>
            <a:srgbClr val="65CEFF"/>
          </p15:clr>
        </p15:guide>
        <p15:guide id="12" orient="horz" pos="664">
          <p15:clr>
            <a:srgbClr val="65CEFF"/>
          </p15:clr>
        </p15:guide>
        <p15:guide id="13" orient="horz" pos="891">
          <p15:clr>
            <a:srgbClr val="FBAE40"/>
          </p15:clr>
        </p15:guide>
        <p15:guide id="17" orient="horz" pos="3885">
          <p15:clr>
            <a:srgbClr val="FBAE40"/>
          </p15:clr>
        </p15:guide>
        <p15:guide id="18"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542248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25" name="Group 24">
            <a:extLst>
              <a:ext uri="{FF2B5EF4-FFF2-40B4-BE49-F238E27FC236}">
                <a16:creationId xmlns:a16="http://schemas.microsoft.com/office/drawing/2014/main" id="{05F0C1C9-28C5-4E9C-8165-34DFFC182CC4}"/>
              </a:ext>
            </a:extLst>
          </p:cNvPr>
          <p:cNvGrpSpPr/>
          <p:nvPr userDrawn="1"/>
        </p:nvGrpSpPr>
        <p:grpSpPr bwMode="ltGray">
          <a:xfrm>
            <a:off x="-10032" y="0"/>
            <a:ext cx="12202031" cy="6858000"/>
            <a:chOff x="-10032" y="0"/>
            <a:chExt cx="12202031" cy="6858000"/>
          </a:xfrm>
        </p:grpSpPr>
        <p:pic>
          <p:nvPicPr>
            <p:cNvPr id="26" name="Picture 25">
              <a:extLst>
                <a:ext uri="{FF2B5EF4-FFF2-40B4-BE49-F238E27FC236}">
                  <a16:creationId xmlns:a16="http://schemas.microsoft.com/office/drawing/2014/main" id="{6503E400-6263-4D96-B326-FB00CA84A06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bwMode="ltGray">
            <a:xfrm>
              <a:off x="0" y="3176"/>
              <a:ext cx="12191999" cy="6854824"/>
            </a:xfrm>
            <a:prstGeom prst="rect">
              <a:avLst/>
            </a:prstGeom>
          </p:spPr>
        </p:pic>
        <p:pic>
          <p:nvPicPr>
            <p:cNvPr id="27" name="Immagine 13">
              <a:extLst>
                <a:ext uri="{FF2B5EF4-FFF2-40B4-BE49-F238E27FC236}">
                  <a16:creationId xmlns:a16="http://schemas.microsoft.com/office/drawing/2014/main" id="{8190A74E-88D6-40CB-B497-831F71E74B7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bwMode="ltGray">
            <a:xfrm>
              <a:off x="5405448" y="6600815"/>
              <a:ext cx="1375832" cy="153318"/>
            </a:xfrm>
            <a:prstGeom prst="rect">
              <a:avLst/>
            </a:prstGeom>
          </p:spPr>
        </p:pic>
        <p:sp>
          <p:nvSpPr>
            <p:cNvPr id="28" name="Trapezoid 27">
              <a:extLst>
                <a:ext uri="{FF2B5EF4-FFF2-40B4-BE49-F238E27FC236}">
                  <a16:creationId xmlns:a16="http://schemas.microsoft.com/office/drawing/2014/main" id="{B0783164-15AA-4C3A-941B-9C6C0EE1B237}"/>
                </a:ext>
              </a:extLst>
            </p:cNvPr>
            <p:cNvSpPr/>
            <p:nvPr/>
          </p:nvSpPr>
          <p:spPr bwMode="ltGray">
            <a:xfrm>
              <a:off x="81565" y="192276"/>
              <a:ext cx="4155155" cy="6662548"/>
            </a:xfrm>
            <a:prstGeom prst="trapezoid">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9" name="Parallelogram 28">
              <a:extLst>
                <a:ext uri="{FF2B5EF4-FFF2-40B4-BE49-F238E27FC236}">
                  <a16:creationId xmlns:a16="http://schemas.microsoft.com/office/drawing/2014/main" id="{650FACDB-6C43-4736-A2FF-A20A395B289C}"/>
                </a:ext>
              </a:extLst>
            </p:cNvPr>
            <p:cNvSpPr/>
            <p:nvPr/>
          </p:nvSpPr>
          <p:spPr bwMode="ltGray">
            <a:xfrm>
              <a:off x="-10032" y="0"/>
              <a:ext cx="4155155" cy="6854824"/>
            </a:xfrm>
            <a:prstGeom prst="parallelogram">
              <a:avLst>
                <a:gd name="adj" fmla="val 22249"/>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Documenttype">
            <a:extLst>
              <a:ext uri="{FF2B5EF4-FFF2-40B4-BE49-F238E27FC236}">
                <a16:creationId xmlns:a16="http://schemas.microsoft.com/office/drawing/2014/main" id="{7BBB2F0D-9CC7-402A-8463-7633538D9D63}"/>
              </a:ext>
            </a:extLst>
          </p:cNvPr>
          <p:cNvSpPr>
            <a:spLocks noGrp="1"/>
          </p:cNvSpPr>
          <p:nvPr>
            <p:ph type="body" sz="quarter" idx="13" hasCustomPrompt="1"/>
            <p:custDataLst>
              <p:tags r:id="rId3"/>
            </p:custDataLst>
          </p:nvPr>
        </p:nvSpPr>
        <p:spPr>
          <a:xfrm>
            <a:off x="701964" y="5997606"/>
            <a:ext cx="2355272" cy="215444"/>
          </a:xfrm>
          <a:prstGeom prst="rect">
            <a:avLst/>
          </a:prstGeom>
        </p:spPr>
        <p:txBody>
          <a:bodyPr wrap="square">
            <a:noAutofit/>
          </a:bodyPr>
          <a:lstStyle>
            <a:lvl1pPr algn="l" rtl="0">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98A64D13-9633-400A-9DA8-0918E673D9F5}"/>
              </a:ext>
            </a:extLst>
          </p:cNvPr>
          <p:cNvSpPr>
            <a:spLocks noGrp="1"/>
          </p:cNvSpPr>
          <p:nvPr>
            <p:ph type="subTitle" idx="1"/>
            <p:custDataLst>
              <p:tags r:id="rId4"/>
            </p:custDataLst>
          </p:nvPr>
        </p:nvSpPr>
        <p:spPr>
          <a:xfrm>
            <a:off x="701964" y="5017279"/>
            <a:ext cx="2355272" cy="553998"/>
          </a:xfrm>
          <a:prstGeom prst="rect">
            <a:avLst/>
          </a:prstGeom>
        </p:spPr>
        <p:txBody>
          <a:bodyPr wrap="square">
            <a:noAutofit/>
          </a:bodyPr>
          <a:lstStyle>
            <a:lvl1pPr marL="0" indent="0" algn="l" rtl="0">
              <a:buNone/>
              <a:defRPr sz="18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itle">
            <a:extLst>
              <a:ext uri="{FF2B5EF4-FFF2-40B4-BE49-F238E27FC236}">
                <a16:creationId xmlns:a16="http://schemas.microsoft.com/office/drawing/2014/main" id="{7D1DF2BA-2419-4047-8FBB-9AE513EF0579}"/>
              </a:ext>
            </a:extLst>
          </p:cNvPr>
          <p:cNvSpPr>
            <a:spLocks noGrp="1"/>
          </p:cNvSpPr>
          <p:nvPr>
            <p:ph type="title" hasCustomPrompt="1"/>
            <p:custDataLst>
              <p:tags r:id="rId5"/>
            </p:custDataLst>
          </p:nvPr>
        </p:nvSpPr>
        <p:spPr>
          <a:xfrm>
            <a:off x="701964" y="3456760"/>
            <a:ext cx="2576946" cy="1477328"/>
          </a:xfrm>
          <a:prstGeom prst="rect">
            <a:avLst/>
          </a:prstGeom>
        </p:spPr>
        <p:txBody>
          <a:bodyPr vert="horz" wrap="square" anchor="b">
            <a:noAutofit/>
          </a:bodyPr>
          <a:lstStyle>
            <a:lvl1pPr algn="l" rtl="0">
              <a:defRPr sz="3200" baseline="0">
                <a:ln w="6350" cap="flat">
                  <a:noFill/>
                  <a:miter lim="800000"/>
                </a:ln>
                <a:solidFill>
                  <a:schemeClr val="bg2"/>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2377277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126729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5693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122533"/>
            <a:ext cx="110825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800" b="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82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808AC2C3-445C-48DF-85FF-0A11B87171AE}"/>
              </a:ext>
            </a:extLst>
          </p:cNvPr>
          <p:cNvSpPr>
            <a:spLocks noChangeArrowheads="1"/>
          </p:cNvSpPr>
          <p:nvPr userDrawn="1">
            <p:custDataLst>
              <p:tags r:id="rId7"/>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349594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en-US"/>
              <a:t>Click to edit Master title style</a:t>
            </a:r>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FBAE40"/>
          </p15:clr>
        </p15:guide>
        <p15:guide id="9" pos="6472" userDrawn="1">
          <p15:clr>
            <a:srgbClr val="65CEFF"/>
          </p15:clr>
        </p15:guide>
        <p15:guide id="10" pos="7425" userDrawn="1">
          <p15:clr>
            <a:srgbClr val="FBAE40"/>
          </p15:clr>
        </p15:guide>
        <p15:guide id="11" orient="horz" pos="302" userDrawn="1">
          <p15:clr>
            <a:srgbClr val="65CEFF"/>
          </p15:clr>
        </p15:guide>
        <p15:guide id="12" orient="horz" pos="664" userDrawn="1">
          <p15:clr>
            <a:srgbClr val="65CEFF"/>
          </p15:clr>
        </p15:guide>
        <p15:guide id="13" orient="horz" pos="891" userDrawn="1">
          <p15:clr>
            <a:srgbClr val="FBAE40"/>
          </p15:clr>
        </p15:guide>
        <p15:guide id="17" orient="horz" pos="3885" userDrawn="1">
          <p15:clr>
            <a:srgbClr val="FBAE40"/>
          </p15:clr>
        </p15:guide>
        <p15:guide id="18" orient="horz" pos="4157" userDrawn="1">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10809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chorCtr="0">
            <a:noAutofit/>
          </a:bodyPr>
          <a:lstStyle>
            <a:lvl1pPr rtl="0">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7" name="Slide Number">
            <a:extLst>
              <a:ext uri="{FF2B5EF4-FFF2-40B4-BE49-F238E27FC236}">
                <a16:creationId xmlns:a16="http://schemas.microsoft.com/office/drawing/2014/main" id="{CEF21220-8625-4609-AAF9-12DFBA626E22}"/>
              </a:ext>
            </a:extLst>
          </p:cNvPr>
          <p:cNvSpPr>
            <a:spLocks noChangeArrowheads="1"/>
          </p:cNvSpPr>
          <p:nvPr userDrawn="1">
            <p:custDataLst>
              <p:tags r:id="rId6"/>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217970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724994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7" name="Slide Number">
            <a:extLst>
              <a:ext uri="{FF2B5EF4-FFF2-40B4-BE49-F238E27FC236}">
                <a16:creationId xmlns:a16="http://schemas.microsoft.com/office/drawing/2014/main" id="{95ACB023-865D-4D73-8989-0420A5D0E58A}"/>
              </a:ext>
            </a:extLst>
          </p:cNvPr>
          <p:cNvSpPr>
            <a:spLocks noChangeArrowheads="1"/>
          </p:cNvSpPr>
          <p:nvPr userDrawn="1">
            <p:custDataLst>
              <p:tags r:id="rId6"/>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824381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9069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2CB676B3-069A-4296-AEC1-F4672E26E46D}"/>
              </a:ext>
            </a:extLst>
          </p:cNvPr>
          <p:cNvSpPr>
            <a:spLocks noChangeArrowheads="1"/>
          </p:cNvSpPr>
          <p:nvPr userDrawn="1">
            <p:custDataLst>
              <p:tags r:id="rId6"/>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854883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48954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B7BE8A33-74DF-40B4-8E3D-56D7B2E0FAE9}"/>
              </a:ext>
            </a:extLst>
          </p:cNvPr>
          <p:cNvSpPr>
            <a:spLocks noChangeArrowheads="1"/>
          </p:cNvSpPr>
          <p:nvPr userDrawn="1">
            <p:custDataLst>
              <p:tags r:id="rId7"/>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019984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616563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a:spLocks/>
          </p:cNvSpPr>
          <p:nvPr userDrawn="1">
            <p:custDataLst>
              <p:tags r:id="rId3"/>
            </p:custDataLst>
          </p:nvPr>
        </p:nvSpPr>
        <p:spPr bwMode="ltGray">
          <a:xfrm>
            <a:off x="3413760" y="0"/>
            <a:ext cx="8778240"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rtl="0">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386F374D-27F7-490D-937C-630DE0D44DAA}"/>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a:solidFill>
                <a:schemeClr val="tx1"/>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769EE4F4-8B47-479A-BD9E-178FDB29CE86}"/>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EE8838A3-31DB-42DA-A277-A9F523C361C8}"/>
              </a:ext>
            </a:extLst>
          </p:cNvPr>
          <p:cNvSpPr/>
          <p:nvPr userDrawn="1"/>
        </p:nvSpPr>
        <p:spPr bwMode="ltGray">
          <a:xfrm>
            <a:off x="554736" y="981293"/>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Footer Placeholder 4">
            <a:extLst>
              <a:ext uri="{FF2B5EF4-FFF2-40B4-BE49-F238E27FC236}">
                <a16:creationId xmlns:a16="http://schemas.microsoft.com/office/drawing/2014/main" id="{A63AB532-92DE-4758-9D1C-861E05C2330E}"/>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baseline="0">
                <a:solidFill>
                  <a:schemeClr val="tx1"/>
                </a:solidFill>
                <a:latin typeface="+mn-lt"/>
              </a:rPr>
              <a:t>Confidential for internal use only</a:t>
            </a:r>
          </a:p>
        </p:txBody>
      </p:sp>
    </p:spTree>
    <p:extLst>
      <p:ext uri="{BB962C8B-B14F-4D97-AF65-F5344CB8AC3E}">
        <p14:creationId xmlns:p14="http://schemas.microsoft.com/office/powerpoint/2010/main" val="37350247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041829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rtl="0">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CAAEFD12-2C20-466D-B24F-E987150DDCC3}"/>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a:solidFill>
                <a:schemeClr val="tx1"/>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924EEE69-0AB5-4AE9-A863-A3DDCE7058F3}"/>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AD516004-EB4B-4931-953D-1A73CBFB8497}"/>
              </a:ext>
            </a:extLst>
          </p:cNvPr>
          <p:cNvSpPr/>
          <p:nvPr userDrawn="1"/>
        </p:nvSpPr>
        <p:spPr bwMode="ltGray">
          <a:xfrm>
            <a:off x="554736" y="981293"/>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Footer Placeholder 4">
            <a:extLst>
              <a:ext uri="{FF2B5EF4-FFF2-40B4-BE49-F238E27FC236}">
                <a16:creationId xmlns:a16="http://schemas.microsoft.com/office/drawing/2014/main" id="{EB536FB4-3D14-4C87-B6DB-A3006767C6A8}"/>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baseline="0">
                <a:solidFill>
                  <a:schemeClr val="tx1"/>
                </a:solidFill>
                <a:latin typeface="+mn-lt"/>
              </a:rPr>
              <a:t>Confidential for internal use only</a:t>
            </a:r>
          </a:p>
        </p:txBody>
      </p:sp>
    </p:spTree>
    <p:extLst>
      <p:ext uri="{BB962C8B-B14F-4D97-AF65-F5344CB8AC3E}">
        <p14:creationId xmlns:p14="http://schemas.microsoft.com/office/powerpoint/2010/main" val="12999032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580102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6932"/>
            <a:ext cx="5065776" cy="384721"/>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122533"/>
            <a:ext cx="5065776"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ED18F7F0-3EBA-4D36-8D25-E62A9CCF8120}"/>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a:solidFill>
                <a:schemeClr val="tx1"/>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FFEDF3B8-933C-4AE8-BA2E-A986FFBF22AB}"/>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AD79AA54-280B-481D-B8D9-EC4BB09664A4}"/>
              </a:ext>
            </a:extLst>
          </p:cNvPr>
          <p:cNvSpPr/>
          <p:nvPr userDrawn="1"/>
        </p:nvSpPr>
        <p:spPr bwMode="ltGray">
          <a:xfrm>
            <a:off x="554736" y="981293"/>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Footer Placeholder 4">
            <a:extLst>
              <a:ext uri="{FF2B5EF4-FFF2-40B4-BE49-F238E27FC236}">
                <a16:creationId xmlns:a16="http://schemas.microsoft.com/office/drawing/2014/main" id="{89569542-ECF7-44F7-9408-A0675E215DBA}"/>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baseline="0">
                <a:solidFill>
                  <a:schemeClr val="tx1"/>
                </a:solidFill>
                <a:latin typeface="+mn-lt"/>
              </a:rPr>
              <a:t>Confidential for internal use only</a:t>
            </a:r>
          </a:p>
        </p:txBody>
      </p:sp>
    </p:spTree>
    <p:extLst>
      <p:ext uri="{BB962C8B-B14F-4D97-AF65-F5344CB8AC3E}">
        <p14:creationId xmlns:p14="http://schemas.microsoft.com/office/powerpoint/2010/main" val="42599720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19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56932"/>
            <a:ext cx="6967728" cy="384721"/>
          </a:xfrm>
        </p:spPr>
        <p:txBody>
          <a:bodyPr vert="horz">
            <a:spAutoFit/>
          </a:bodyPr>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1122533"/>
            <a:ext cx="6967728"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482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7F311B4-D91A-462F-B0AF-7BD84E8970DE}"/>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a:solidFill>
                <a:schemeClr val="tx1"/>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9D4C6B48-49C9-45D6-A517-56E92BB007DA}"/>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60622DE8-57D6-489A-81E7-9AB2605574E5}"/>
              </a:ext>
            </a:extLst>
          </p:cNvPr>
          <p:cNvSpPr/>
          <p:nvPr userDrawn="1"/>
        </p:nvSpPr>
        <p:spPr bwMode="ltGray">
          <a:xfrm>
            <a:off x="554736" y="981293"/>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Footer Placeholder 4">
            <a:extLst>
              <a:ext uri="{FF2B5EF4-FFF2-40B4-BE49-F238E27FC236}">
                <a16:creationId xmlns:a16="http://schemas.microsoft.com/office/drawing/2014/main" id="{84CC3866-B518-4EDF-8B5B-D870FE9B9337}"/>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baseline="0">
                <a:solidFill>
                  <a:schemeClr val="tx1"/>
                </a:solidFill>
                <a:latin typeface="+mn-lt"/>
              </a:rPr>
              <a:t>Confidential for internal use only</a:t>
            </a:r>
          </a:p>
        </p:txBody>
      </p:sp>
    </p:spTree>
    <p:extLst>
      <p:ext uri="{BB962C8B-B14F-4D97-AF65-F5344CB8AC3E}">
        <p14:creationId xmlns:p14="http://schemas.microsoft.com/office/powerpoint/2010/main" val="11932156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56959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2">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6932"/>
            <a:ext cx="7918704" cy="384721"/>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122533"/>
            <a:ext cx="7918704"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489E4A0F-5EF6-4A3F-803E-DEEAF1E79F30}"/>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a:solidFill>
                <a:schemeClr val="tx1"/>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752A5BFF-FB9E-4379-9763-123F1D3213CE}"/>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5D10B039-2B60-4C83-8A5A-B9CE8E4B7394}"/>
              </a:ext>
            </a:extLst>
          </p:cNvPr>
          <p:cNvSpPr/>
          <p:nvPr userDrawn="1"/>
        </p:nvSpPr>
        <p:spPr bwMode="ltGray">
          <a:xfrm>
            <a:off x="554736" y="981293"/>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Footer Placeholder 4">
            <a:extLst>
              <a:ext uri="{FF2B5EF4-FFF2-40B4-BE49-F238E27FC236}">
                <a16:creationId xmlns:a16="http://schemas.microsoft.com/office/drawing/2014/main" id="{A663A385-5D72-4F07-98D3-BECCF2E64CE0}"/>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baseline="0">
                <a:solidFill>
                  <a:schemeClr val="tx1"/>
                </a:solidFill>
                <a:latin typeface="+mn-lt"/>
              </a:rPr>
              <a:t>Confidential for internal use only</a:t>
            </a:r>
          </a:p>
        </p:txBody>
      </p:sp>
    </p:spTree>
    <p:extLst>
      <p:ext uri="{BB962C8B-B14F-4D97-AF65-F5344CB8AC3E}">
        <p14:creationId xmlns:p14="http://schemas.microsoft.com/office/powerpoint/2010/main" val="32925974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527688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Immagine 4" descr="logo.eps">
            <a:extLst>
              <a:ext uri="{FF2B5EF4-FFF2-40B4-BE49-F238E27FC236}">
                <a16:creationId xmlns:a16="http://schemas.microsoft.com/office/drawing/2014/main" id="{068FFF8B-ED20-4CFD-AA7D-DC7C34334A8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468914" y="3136248"/>
            <a:ext cx="5254172" cy="585506"/>
          </a:xfrm>
          <a:prstGeom prst="rect">
            <a:avLst/>
          </a:prstGeom>
        </p:spPr>
      </p:pic>
    </p:spTree>
    <p:extLst>
      <p:ext uri="{BB962C8B-B14F-4D97-AF65-F5344CB8AC3E}">
        <p14:creationId xmlns:p14="http://schemas.microsoft.com/office/powerpoint/2010/main" val="40501977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FBAE40"/>
          </p15:clr>
        </p15:guide>
        <p15:guide id="10" pos="7425" userDrawn="1">
          <p15:clr>
            <a:srgbClr val="FBAE40"/>
          </p15:clr>
        </p15:guide>
        <p15:guide id="11" orient="horz" pos="302" userDrawn="1">
          <p15:clr>
            <a:srgbClr val="65CEFF"/>
          </p15:clr>
        </p15:guide>
        <p15:guide id="12" orient="horz" pos="664" userDrawn="1">
          <p15:clr>
            <a:srgbClr val="65CEFF"/>
          </p15:clr>
        </p15:guide>
        <p15:guide id="13" orient="horz" pos="891" userDrawn="1">
          <p15:clr>
            <a:srgbClr val="FBAE40"/>
          </p15:clr>
        </p15:guide>
        <p15:guide id="17" orient="horz" pos="3885" userDrawn="1">
          <p15:clr>
            <a:srgbClr val="FBAE40"/>
          </p15:clr>
        </p15:guide>
        <p15:guide id="18" orient="horz" pos="4157" userDrawn="1">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73682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78310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rtl="0">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028D67C9-BA77-47E5-93F2-D863ACAEB03F}"/>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5F0260AF-36B0-4CC8-8755-E45CF8989AD4}"/>
              </a:ext>
            </a:extLst>
          </p:cNvPr>
          <p:cNvPicPr>
            <a:picLocks noChangeAspect="1"/>
          </p:cNvPicPr>
          <p:nvPr userDrawn="1"/>
        </p:nvPicPr>
        <p:blipFill>
          <a:blip r:embed="rId12">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92C7D169-65C1-482A-8877-EF7E4301E7FA}"/>
              </a:ext>
            </a:extLst>
          </p:cNvPr>
          <p:cNvSpPr/>
          <p:nvPr userDrawn="1"/>
        </p:nvSpPr>
        <p:spPr bwMode="ltGray">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4" name="Footer Placeholder 4">
            <a:extLst>
              <a:ext uri="{FF2B5EF4-FFF2-40B4-BE49-F238E27FC236}">
                <a16:creationId xmlns:a16="http://schemas.microsoft.com/office/drawing/2014/main" id="{3A88B2F5-865B-4E09-83BA-24F9EE1E6B77}"/>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18168962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205078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C3730B8-4B82-4E15-B160-44433119C8BA}"/>
              </a:ext>
            </a:extLst>
          </p:cNvPr>
          <p:cNvPicPr>
            <a:picLocks noChangeAspect="1"/>
          </p:cNvPicPr>
          <p:nvPr userDrawn="1"/>
        </p:nvPicPr>
        <p:blipFill rotWithShape="1">
          <a:blip r:embed="rId9"/>
          <a:srcRect t="4662" r="4662"/>
          <a:stretch/>
        </p:blipFill>
        <p:spPr>
          <a:xfrm>
            <a:off x="0" y="1"/>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Title 1">
            <a:extLst>
              <a:ext uri="{FF2B5EF4-FFF2-40B4-BE49-F238E27FC236}">
                <a16:creationId xmlns:a16="http://schemas.microsoft.com/office/drawing/2014/main" id="{99FDC0B1-9DAF-42A0-A5C5-112C3D1086C4}"/>
              </a:ext>
            </a:extLst>
          </p:cNvPr>
          <p:cNvSpPr txBox="1">
            <a:spLocks/>
          </p:cNvSpPr>
          <p:nvPr userDrawn="1"/>
        </p:nvSpPr>
        <p:spPr bwMode="ltGray">
          <a:xfrm>
            <a:off x="0" y="3302000"/>
            <a:ext cx="12192000" cy="1066801"/>
          </a:xfrm>
          <a:prstGeom prst="rect">
            <a:avLst/>
          </a:prstGeom>
          <a:gradFill flip="none" rotWithShape="1">
            <a:gsLst>
              <a:gs pos="0">
                <a:srgbClr val="005A64">
                  <a:alpha val="50000"/>
                </a:srgbClr>
              </a:gs>
              <a:gs pos="100000">
                <a:srgbClr val="005A64">
                  <a:alpha val="0"/>
                </a:srgbClr>
              </a:gs>
            </a:gsLst>
            <a:lin ang="16200000" scaled="0"/>
            <a:tileRect/>
          </a:gradFill>
        </p:spPr>
        <p:txBody>
          <a:bodyPr vert="horz" lIns="108000" tIns="45720" rIns="0" bIns="45720" rtlCol="0" anchor="b" anchorCtr="0">
            <a:noAutofit/>
          </a:bodyPr>
          <a:lstStyle>
            <a:lvl1pPr algn="ctr" defTabSz="914400" rtl="0" eaLnBrk="1" latinLnBrk="0" hangingPunct="1">
              <a:lnSpc>
                <a:spcPct val="100000"/>
              </a:lnSpc>
              <a:spcBef>
                <a:spcPct val="0"/>
              </a:spcBef>
              <a:buNone/>
              <a:defRPr sz="4800" b="1" kern="1200" spc="300" baseline="0">
                <a:solidFill>
                  <a:schemeClr val="bg1"/>
                </a:solidFill>
                <a:latin typeface="Arial" panose="020B0604020202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800" b="1" i="0" u="none" strike="noStrike" kern="1200" cap="none" spc="300" normalizeH="0" baseline="0" noProof="0">
              <a:ln>
                <a:noFill/>
              </a:ln>
              <a:solidFill>
                <a:sysClr val="window" lastClr="FFFFFF"/>
              </a:solidFill>
              <a:effectLst/>
              <a:uLnTx/>
              <a:uFillTx/>
              <a:latin typeface="Arial" panose="020B0604020202020204" pitchFamily="34" charset="0"/>
              <a:ea typeface="+mj-ea"/>
              <a:cs typeface="+mj-cs"/>
            </a:endParaRPr>
          </a:p>
        </p:txBody>
      </p:sp>
      <p:sp>
        <p:nvSpPr>
          <p:cNvPr id="17" name="Rettangolo 9">
            <a:extLst>
              <a:ext uri="{FF2B5EF4-FFF2-40B4-BE49-F238E27FC236}">
                <a16:creationId xmlns:a16="http://schemas.microsoft.com/office/drawing/2014/main" id="{E405D683-0D13-4CDF-9734-2846F0FE1BBE}"/>
              </a:ext>
            </a:extLst>
          </p:cNvPr>
          <p:cNvSpPr/>
          <p:nvPr userDrawn="1"/>
        </p:nvSpPr>
        <p:spPr bwMode="ltGray">
          <a:xfrm>
            <a:off x="0" y="6096000"/>
            <a:ext cx="12191999" cy="762000"/>
          </a:xfrm>
          <a:prstGeom prst="rect">
            <a:avLst/>
          </a:prstGeom>
          <a:solidFill>
            <a:srgbClr val="005A6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Arial"/>
              <a:ea typeface="+mn-ea"/>
              <a:cs typeface="+mn-cs"/>
            </a:endParaRPr>
          </a:p>
        </p:txBody>
      </p:sp>
      <p:sp>
        <p:nvSpPr>
          <p:cNvPr id="18" name="Text Placeholder 2">
            <a:extLst>
              <a:ext uri="{FF2B5EF4-FFF2-40B4-BE49-F238E27FC236}">
                <a16:creationId xmlns:a16="http://schemas.microsoft.com/office/drawing/2014/main" id="{A1D17AE2-4268-442E-95A7-F4067BD94271}"/>
              </a:ext>
            </a:extLst>
          </p:cNvPr>
          <p:cNvSpPr txBox="1">
            <a:spLocks/>
          </p:cNvSpPr>
          <p:nvPr userDrawn="1"/>
        </p:nvSpPr>
        <p:spPr bwMode="ltGray">
          <a:xfrm>
            <a:off x="0" y="4368801"/>
            <a:ext cx="12192000" cy="1739900"/>
          </a:xfrm>
          <a:prstGeom prst="rect">
            <a:avLst/>
          </a:prstGeom>
          <a:gradFill flip="none" rotWithShape="1">
            <a:gsLst>
              <a:gs pos="0">
                <a:srgbClr val="005A64"/>
              </a:gs>
              <a:gs pos="100000">
                <a:srgbClr val="005A64">
                  <a:alpha val="50000"/>
                </a:srgbClr>
              </a:gs>
            </a:gsLst>
            <a:lin ang="16200000" scaled="0"/>
            <a:tileRect/>
          </a:gradFill>
        </p:spPr>
        <p:txBody>
          <a:bodyPr vert="horz" lIns="91440" tIns="0" rIns="91440" bIns="45720" rtlCol="0" anchor="t" anchorCtr="0">
            <a:noAutofit/>
          </a:bodyPr>
          <a:lstStyle>
            <a:lvl1pPr marL="0" indent="0" algn="ctr" defTabSz="914400" rtl="0" eaLnBrk="1" latinLnBrk="0" hangingPunct="1">
              <a:lnSpc>
                <a:spcPct val="110000"/>
              </a:lnSpc>
              <a:spcBef>
                <a:spcPts val="1000"/>
              </a:spcBef>
              <a:buFont typeface="Arial"/>
              <a:buNone/>
              <a:defRPr sz="2400" kern="1200" spc="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150000"/>
              </a:lnSpc>
              <a:spcBef>
                <a:spcPts val="1400"/>
              </a:spcBef>
              <a:buFont typeface="Arial"/>
              <a:buNone/>
              <a:defRPr sz="2000" kern="1200" baseline="0">
                <a:solidFill>
                  <a:schemeClr val="tx1">
                    <a:tint val="75000"/>
                  </a:schemeClr>
                </a:solidFill>
                <a:latin typeface="Arial" panose="020B0604020202020204" pitchFamily="34" charset="0"/>
                <a:ea typeface="+mn-ea"/>
                <a:cs typeface="+mn-cs"/>
              </a:defRPr>
            </a:lvl2pPr>
            <a:lvl3pPr marL="914400" indent="0" algn="l" defTabSz="914400" rtl="0" eaLnBrk="1" latinLnBrk="0" hangingPunct="1">
              <a:lnSpc>
                <a:spcPct val="150000"/>
              </a:lnSpc>
              <a:spcBef>
                <a:spcPts val="1400"/>
              </a:spcBef>
              <a:buFont typeface="Arial"/>
              <a:buNone/>
              <a:defRPr sz="1800" kern="1200" baseline="0">
                <a:solidFill>
                  <a:schemeClr val="tx1">
                    <a:tint val="75000"/>
                  </a:schemeClr>
                </a:solidFill>
                <a:latin typeface="Arial" panose="020B0604020202020204" pitchFamily="34" charset="0"/>
                <a:ea typeface="+mn-ea"/>
                <a:cs typeface="+mn-cs"/>
              </a:defRPr>
            </a:lvl3pPr>
            <a:lvl4pPr marL="1371600" indent="0" algn="l" defTabSz="914400" rtl="0" eaLnBrk="1" latinLnBrk="0" hangingPunct="1">
              <a:lnSpc>
                <a:spcPct val="150000"/>
              </a:lnSpc>
              <a:spcBef>
                <a:spcPts val="500"/>
              </a:spcBef>
              <a:buFont typeface="Arial"/>
              <a:buNone/>
              <a:defRPr sz="1600" kern="1200" baseline="0">
                <a:solidFill>
                  <a:schemeClr val="tx1">
                    <a:tint val="75000"/>
                  </a:schemeClr>
                </a:solidFill>
                <a:latin typeface="Arial" panose="020B0604020202020204" pitchFamily="34" charset="0"/>
                <a:ea typeface="+mn-ea"/>
                <a:cs typeface="+mn-cs"/>
              </a:defRPr>
            </a:lvl4pPr>
            <a:lvl5pPr marL="1828800" indent="0" algn="l" defTabSz="914400" rtl="0" eaLnBrk="1" latinLnBrk="0" hangingPunct="1">
              <a:lnSpc>
                <a:spcPct val="150000"/>
              </a:lnSpc>
              <a:spcBef>
                <a:spcPts val="500"/>
              </a:spcBef>
              <a:buFont typeface="Arial"/>
              <a:buNone/>
              <a:defRPr sz="1600" kern="1200" baseline="0">
                <a:solidFill>
                  <a:schemeClr val="tx1">
                    <a:tint val="75000"/>
                  </a:schemeClr>
                </a:solidFill>
                <a:latin typeface="Arial" panose="020B0604020202020204"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10000"/>
              </a:lnSpc>
              <a:spcBef>
                <a:spcPts val="1000"/>
              </a:spcBef>
              <a:spcAft>
                <a:spcPts val="0"/>
              </a:spcAft>
              <a:buClrTx/>
              <a:buSzTx/>
              <a:buFont typeface="Arial"/>
              <a:buNone/>
              <a:tabLst/>
              <a:defRPr/>
            </a:pPr>
            <a:endParaRPr kumimoji="0" lang="en-US" sz="2400" b="0" i="0" u="none" strike="noStrike" kern="1200" cap="none" spc="0" normalizeH="0" baseline="0" noProof="0">
              <a:ln>
                <a:noFill/>
              </a:ln>
              <a:solidFill>
                <a:sysClr val="window" lastClr="FFFFFF"/>
              </a:solidFill>
              <a:effectLst/>
              <a:uLnTx/>
              <a:uFillTx/>
              <a:latin typeface="Arial" panose="020B0604020202020204" pitchFamily="34" charset="0"/>
              <a:ea typeface="+mn-ea"/>
              <a:cs typeface="+mn-cs"/>
            </a:endParaRPr>
          </a:p>
        </p:txBody>
      </p:sp>
      <p:pic>
        <p:nvPicPr>
          <p:cNvPr id="19" name="Immagine 13">
            <a:extLst>
              <a:ext uri="{FF2B5EF4-FFF2-40B4-BE49-F238E27FC236}">
                <a16:creationId xmlns:a16="http://schemas.microsoft.com/office/drawing/2014/main" id="{33A3B97E-5B47-485F-B7BA-386180F0E608}"/>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ltGray">
          <a:xfrm>
            <a:off x="5405448" y="6447497"/>
            <a:ext cx="1375832" cy="153318"/>
          </a:xfrm>
          <a:prstGeom prst="rect">
            <a:avLst/>
          </a:prstGeom>
        </p:spPr>
      </p:pic>
      <p:sp>
        <p:nvSpPr>
          <p:cNvPr id="13" name="Documenttype">
            <a:extLst>
              <a:ext uri="{FF2B5EF4-FFF2-40B4-BE49-F238E27FC236}">
                <a16:creationId xmlns:a16="http://schemas.microsoft.com/office/drawing/2014/main" id="{7BBB2F0D-9CC7-402A-8463-7633538D9D63}"/>
              </a:ext>
            </a:extLst>
          </p:cNvPr>
          <p:cNvSpPr>
            <a:spLocks noGrp="1"/>
          </p:cNvSpPr>
          <p:nvPr userDrawn="1">
            <p:ph type="body" sz="quarter" idx="13" hasCustomPrompt="1"/>
            <p:custDataLst>
              <p:tags r:id="rId3"/>
            </p:custDataLst>
          </p:nvPr>
        </p:nvSpPr>
        <p:spPr>
          <a:xfrm>
            <a:off x="550800" y="5825050"/>
            <a:ext cx="11082847" cy="276999"/>
          </a:xfrm>
          <a:prstGeom prst="rect">
            <a:avLst/>
          </a:prstGeom>
        </p:spPr>
        <p:txBody>
          <a:bodyPr wrap="square">
            <a:spAutoFit/>
          </a:bodyPr>
          <a:lstStyle>
            <a:lvl1pPr algn="ctr">
              <a:buNone/>
              <a:defRPr sz="18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98A64D13-9633-400A-9DA8-0918E673D9F5}"/>
              </a:ext>
            </a:extLst>
          </p:cNvPr>
          <p:cNvSpPr>
            <a:spLocks noGrp="1"/>
          </p:cNvSpPr>
          <p:nvPr userDrawn="1">
            <p:ph type="subTitle" idx="1"/>
            <p:custDataLst>
              <p:tags r:id="rId4"/>
            </p:custDataLst>
          </p:nvPr>
        </p:nvSpPr>
        <p:spPr>
          <a:xfrm>
            <a:off x="551941" y="5321011"/>
            <a:ext cx="11082847" cy="369332"/>
          </a:xfrm>
          <a:prstGeom prst="rect">
            <a:avLst/>
          </a:prstGeom>
        </p:spPr>
        <p:txBody>
          <a:bodyPr wrap="square">
            <a:spAutoFit/>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itle">
            <a:extLst>
              <a:ext uri="{FF2B5EF4-FFF2-40B4-BE49-F238E27FC236}">
                <a16:creationId xmlns:a16="http://schemas.microsoft.com/office/drawing/2014/main" id="{7D1DF2BA-2419-4047-8FBB-9AE513EF0579}"/>
              </a:ext>
            </a:extLst>
          </p:cNvPr>
          <p:cNvSpPr>
            <a:spLocks noGrp="1"/>
          </p:cNvSpPr>
          <p:nvPr userDrawn="1">
            <p:ph type="title" hasCustomPrompt="1"/>
            <p:custDataLst>
              <p:tags r:id="rId5"/>
            </p:custDataLst>
          </p:nvPr>
        </p:nvSpPr>
        <p:spPr>
          <a:xfrm>
            <a:off x="551941" y="3832088"/>
            <a:ext cx="11082847" cy="1354217"/>
          </a:xfrm>
          <a:prstGeom prst="rect">
            <a:avLst/>
          </a:prstGeom>
        </p:spPr>
        <p:txBody>
          <a:bodyPr vert="horz" wrap="square" anchor="b">
            <a:spAutoFit/>
          </a:bodyPr>
          <a:lstStyle>
            <a:lvl1pPr algn="ctr">
              <a:defRPr sz="4400" baseline="0">
                <a:ln w="6350" cap="flat">
                  <a:noFill/>
                  <a:miter lim="800000"/>
                </a:ln>
                <a:solidFill>
                  <a:schemeClr val="bg2"/>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22528047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416603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0C3730B8-4B82-4E15-B160-44433119C8BA}"/>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Title 1">
            <a:extLst>
              <a:ext uri="{FF2B5EF4-FFF2-40B4-BE49-F238E27FC236}">
                <a16:creationId xmlns:a16="http://schemas.microsoft.com/office/drawing/2014/main" id="{99FDC0B1-9DAF-42A0-A5C5-112C3D1086C4}"/>
              </a:ext>
            </a:extLst>
          </p:cNvPr>
          <p:cNvSpPr txBox="1">
            <a:spLocks/>
          </p:cNvSpPr>
          <p:nvPr userDrawn="1"/>
        </p:nvSpPr>
        <p:spPr bwMode="ltGray">
          <a:xfrm>
            <a:off x="0" y="3302000"/>
            <a:ext cx="12192000" cy="1066801"/>
          </a:xfrm>
          <a:prstGeom prst="rect">
            <a:avLst/>
          </a:prstGeom>
          <a:gradFill flip="none" rotWithShape="1">
            <a:gsLst>
              <a:gs pos="0">
                <a:srgbClr val="005A64">
                  <a:alpha val="50000"/>
                </a:srgbClr>
              </a:gs>
              <a:gs pos="100000">
                <a:srgbClr val="005A64">
                  <a:alpha val="0"/>
                </a:srgbClr>
              </a:gs>
            </a:gsLst>
            <a:lin ang="16200000" scaled="0"/>
            <a:tileRect/>
          </a:gradFill>
        </p:spPr>
        <p:txBody>
          <a:bodyPr vert="horz" lIns="108000" tIns="45720" rIns="0" bIns="45720" rtlCol="0" anchor="b" anchorCtr="0">
            <a:noAutofit/>
          </a:bodyPr>
          <a:lstStyle>
            <a:lvl1pPr algn="ctr" defTabSz="914400" rtl="0" eaLnBrk="1" latinLnBrk="0" hangingPunct="1">
              <a:lnSpc>
                <a:spcPct val="100000"/>
              </a:lnSpc>
              <a:spcBef>
                <a:spcPct val="0"/>
              </a:spcBef>
              <a:buNone/>
              <a:defRPr sz="4800" b="1" kern="1200" spc="300" baseline="0">
                <a:solidFill>
                  <a:schemeClr val="bg1"/>
                </a:solidFill>
                <a:latin typeface="Arial" panose="020B0604020202020204" pitchFamily="34"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800" b="1" i="0" u="none" strike="noStrike" kern="1200" cap="none" spc="300" normalizeH="0" baseline="0" noProof="0">
              <a:ln>
                <a:noFill/>
              </a:ln>
              <a:solidFill>
                <a:sysClr val="window" lastClr="FFFFFF"/>
              </a:solidFill>
              <a:effectLst/>
              <a:uLnTx/>
              <a:uFillTx/>
              <a:latin typeface="Arial" panose="020B0604020202020204" pitchFamily="34" charset="0"/>
              <a:ea typeface="+mj-ea"/>
              <a:cs typeface="+mj-cs"/>
            </a:endParaRPr>
          </a:p>
        </p:txBody>
      </p:sp>
      <p:sp>
        <p:nvSpPr>
          <p:cNvPr id="17" name="Rettangolo 9">
            <a:extLst>
              <a:ext uri="{FF2B5EF4-FFF2-40B4-BE49-F238E27FC236}">
                <a16:creationId xmlns:a16="http://schemas.microsoft.com/office/drawing/2014/main" id="{E405D683-0D13-4CDF-9734-2846F0FE1BBE}"/>
              </a:ext>
            </a:extLst>
          </p:cNvPr>
          <p:cNvSpPr/>
          <p:nvPr userDrawn="1"/>
        </p:nvSpPr>
        <p:spPr bwMode="ltGray">
          <a:xfrm>
            <a:off x="0" y="6096000"/>
            <a:ext cx="12191999" cy="762000"/>
          </a:xfrm>
          <a:prstGeom prst="rect">
            <a:avLst/>
          </a:prstGeom>
          <a:solidFill>
            <a:srgbClr val="005A6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Arial"/>
              <a:ea typeface="+mn-ea"/>
              <a:cs typeface="+mn-cs"/>
            </a:endParaRPr>
          </a:p>
        </p:txBody>
      </p:sp>
      <p:sp>
        <p:nvSpPr>
          <p:cNvPr id="18" name="Text Placeholder 2">
            <a:extLst>
              <a:ext uri="{FF2B5EF4-FFF2-40B4-BE49-F238E27FC236}">
                <a16:creationId xmlns:a16="http://schemas.microsoft.com/office/drawing/2014/main" id="{A1D17AE2-4268-442E-95A7-F4067BD94271}"/>
              </a:ext>
            </a:extLst>
          </p:cNvPr>
          <p:cNvSpPr txBox="1">
            <a:spLocks/>
          </p:cNvSpPr>
          <p:nvPr userDrawn="1"/>
        </p:nvSpPr>
        <p:spPr bwMode="ltGray">
          <a:xfrm>
            <a:off x="0" y="4368801"/>
            <a:ext cx="12192000" cy="1739900"/>
          </a:xfrm>
          <a:prstGeom prst="rect">
            <a:avLst/>
          </a:prstGeom>
          <a:gradFill flip="none" rotWithShape="1">
            <a:gsLst>
              <a:gs pos="0">
                <a:srgbClr val="005A64"/>
              </a:gs>
              <a:gs pos="100000">
                <a:srgbClr val="005A64">
                  <a:alpha val="50000"/>
                </a:srgbClr>
              </a:gs>
            </a:gsLst>
            <a:lin ang="16200000" scaled="0"/>
            <a:tileRect/>
          </a:gradFill>
        </p:spPr>
        <p:txBody>
          <a:bodyPr vert="horz" lIns="91440" tIns="0" rIns="91440" bIns="45720" rtlCol="0" anchor="t" anchorCtr="0">
            <a:noAutofit/>
          </a:bodyPr>
          <a:lstStyle>
            <a:lvl1pPr marL="0" indent="0" algn="ctr" defTabSz="914400" rtl="0" eaLnBrk="1" latinLnBrk="0" hangingPunct="1">
              <a:lnSpc>
                <a:spcPct val="110000"/>
              </a:lnSpc>
              <a:spcBef>
                <a:spcPts val="1000"/>
              </a:spcBef>
              <a:buFont typeface="Arial"/>
              <a:buNone/>
              <a:defRPr sz="2400" kern="1200" spc="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150000"/>
              </a:lnSpc>
              <a:spcBef>
                <a:spcPts val="1400"/>
              </a:spcBef>
              <a:buFont typeface="Arial"/>
              <a:buNone/>
              <a:defRPr sz="2000" kern="1200" baseline="0">
                <a:solidFill>
                  <a:schemeClr val="tx1">
                    <a:tint val="75000"/>
                  </a:schemeClr>
                </a:solidFill>
                <a:latin typeface="Arial" panose="020B0604020202020204" pitchFamily="34" charset="0"/>
                <a:ea typeface="+mn-ea"/>
                <a:cs typeface="+mn-cs"/>
              </a:defRPr>
            </a:lvl2pPr>
            <a:lvl3pPr marL="914400" indent="0" algn="l" defTabSz="914400" rtl="0" eaLnBrk="1" latinLnBrk="0" hangingPunct="1">
              <a:lnSpc>
                <a:spcPct val="150000"/>
              </a:lnSpc>
              <a:spcBef>
                <a:spcPts val="1400"/>
              </a:spcBef>
              <a:buFont typeface="Arial"/>
              <a:buNone/>
              <a:defRPr sz="1800" kern="1200" baseline="0">
                <a:solidFill>
                  <a:schemeClr val="tx1">
                    <a:tint val="75000"/>
                  </a:schemeClr>
                </a:solidFill>
                <a:latin typeface="Arial" panose="020B0604020202020204" pitchFamily="34" charset="0"/>
                <a:ea typeface="+mn-ea"/>
                <a:cs typeface="+mn-cs"/>
              </a:defRPr>
            </a:lvl3pPr>
            <a:lvl4pPr marL="1371600" indent="0" algn="l" defTabSz="914400" rtl="0" eaLnBrk="1" latinLnBrk="0" hangingPunct="1">
              <a:lnSpc>
                <a:spcPct val="150000"/>
              </a:lnSpc>
              <a:spcBef>
                <a:spcPts val="500"/>
              </a:spcBef>
              <a:buFont typeface="Arial"/>
              <a:buNone/>
              <a:defRPr sz="1600" kern="1200" baseline="0">
                <a:solidFill>
                  <a:schemeClr val="tx1">
                    <a:tint val="75000"/>
                  </a:schemeClr>
                </a:solidFill>
                <a:latin typeface="Arial" panose="020B0604020202020204" pitchFamily="34" charset="0"/>
                <a:ea typeface="+mn-ea"/>
                <a:cs typeface="+mn-cs"/>
              </a:defRPr>
            </a:lvl4pPr>
            <a:lvl5pPr marL="1828800" indent="0" algn="l" defTabSz="914400" rtl="0" eaLnBrk="1" latinLnBrk="0" hangingPunct="1">
              <a:lnSpc>
                <a:spcPct val="150000"/>
              </a:lnSpc>
              <a:spcBef>
                <a:spcPts val="500"/>
              </a:spcBef>
              <a:buFont typeface="Arial"/>
              <a:buNone/>
              <a:defRPr sz="1600" kern="1200" baseline="0">
                <a:solidFill>
                  <a:schemeClr val="tx1">
                    <a:tint val="75000"/>
                  </a:schemeClr>
                </a:solidFill>
                <a:latin typeface="Arial" panose="020B0604020202020204"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10000"/>
              </a:lnSpc>
              <a:spcBef>
                <a:spcPts val="1000"/>
              </a:spcBef>
              <a:spcAft>
                <a:spcPts val="0"/>
              </a:spcAft>
              <a:buClrTx/>
              <a:buSzTx/>
              <a:buFont typeface="Arial"/>
              <a:buNone/>
              <a:tabLst/>
              <a:defRPr/>
            </a:pPr>
            <a:endParaRPr kumimoji="0" lang="en-US" sz="2400" b="0" i="0" u="none" strike="noStrike" kern="1200" cap="none" spc="0" normalizeH="0" baseline="0" noProof="0">
              <a:ln>
                <a:noFill/>
              </a:ln>
              <a:solidFill>
                <a:sysClr val="window" lastClr="FFFFFF"/>
              </a:solidFill>
              <a:effectLst/>
              <a:uLnTx/>
              <a:uFillTx/>
              <a:latin typeface="Arial" panose="020B0604020202020204" pitchFamily="34" charset="0"/>
              <a:ea typeface="+mn-ea"/>
              <a:cs typeface="+mn-cs"/>
            </a:endParaRPr>
          </a:p>
        </p:txBody>
      </p:sp>
      <p:pic>
        <p:nvPicPr>
          <p:cNvPr id="19" name="Immagine 13">
            <a:extLst>
              <a:ext uri="{FF2B5EF4-FFF2-40B4-BE49-F238E27FC236}">
                <a16:creationId xmlns:a16="http://schemas.microsoft.com/office/drawing/2014/main" id="{33A3B97E-5B47-485F-B7BA-386180F0E608}"/>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5405448" y="6447497"/>
            <a:ext cx="1375832" cy="153318"/>
          </a:xfrm>
          <a:prstGeom prst="rect">
            <a:avLst/>
          </a:prstGeom>
        </p:spPr>
      </p:pic>
      <p:sp>
        <p:nvSpPr>
          <p:cNvPr id="13" name="Documenttype">
            <a:extLst>
              <a:ext uri="{FF2B5EF4-FFF2-40B4-BE49-F238E27FC236}">
                <a16:creationId xmlns:a16="http://schemas.microsoft.com/office/drawing/2014/main" id="{7BBB2F0D-9CC7-402A-8463-7633538D9D63}"/>
              </a:ext>
            </a:extLst>
          </p:cNvPr>
          <p:cNvSpPr>
            <a:spLocks noGrp="1"/>
          </p:cNvSpPr>
          <p:nvPr userDrawn="1">
            <p:ph type="body" sz="quarter" idx="13" hasCustomPrompt="1"/>
            <p:custDataLst>
              <p:tags r:id="rId3"/>
            </p:custDataLst>
          </p:nvPr>
        </p:nvSpPr>
        <p:spPr>
          <a:xfrm>
            <a:off x="550800" y="5825050"/>
            <a:ext cx="11082847" cy="276999"/>
          </a:xfrm>
          <a:prstGeom prst="rect">
            <a:avLst/>
          </a:prstGeom>
        </p:spPr>
        <p:txBody>
          <a:bodyPr wrap="square">
            <a:spAutoFit/>
          </a:bodyPr>
          <a:lstStyle>
            <a:lvl1pPr algn="ctr">
              <a:buNone/>
              <a:defRPr sz="18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98A64D13-9633-400A-9DA8-0918E673D9F5}"/>
              </a:ext>
            </a:extLst>
          </p:cNvPr>
          <p:cNvSpPr>
            <a:spLocks noGrp="1"/>
          </p:cNvSpPr>
          <p:nvPr userDrawn="1">
            <p:ph type="subTitle" idx="1"/>
            <p:custDataLst>
              <p:tags r:id="rId4"/>
            </p:custDataLst>
          </p:nvPr>
        </p:nvSpPr>
        <p:spPr>
          <a:xfrm>
            <a:off x="551941" y="5321011"/>
            <a:ext cx="11082847" cy="369332"/>
          </a:xfrm>
          <a:prstGeom prst="rect">
            <a:avLst/>
          </a:prstGeom>
        </p:spPr>
        <p:txBody>
          <a:bodyPr wrap="square">
            <a:spAutoFit/>
          </a:bodyPr>
          <a:lstStyle>
            <a:lvl1pPr marL="0" indent="0" algn="ctr">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itle">
            <a:extLst>
              <a:ext uri="{FF2B5EF4-FFF2-40B4-BE49-F238E27FC236}">
                <a16:creationId xmlns:a16="http://schemas.microsoft.com/office/drawing/2014/main" id="{7D1DF2BA-2419-4047-8FBB-9AE513EF0579}"/>
              </a:ext>
            </a:extLst>
          </p:cNvPr>
          <p:cNvSpPr>
            <a:spLocks noGrp="1"/>
          </p:cNvSpPr>
          <p:nvPr userDrawn="1">
            <p:ph type="title" hasCustomPrompt="1"/>
            <p:custDataLst>
              <p:tags r:id="rId5"/>
            </p:custDataLst>
          </p:nvPr>
        </p:nvSpPr>
        <p:spPr>
          <a:xfrm>
            <a:off x="551941" y="3832088"/>
            <a:ext cx="11082847" cy="1354217"/>
          </a:xfrm>
          <a:prstGeom prst="rect">
            <a:avLst/>
          </a:prstGeom>
        </p:spPr>
        <p:txBody>
          <a:bodyPr vert="horz" wrap="square" anchor="b">
            <a:spAutoFit/>
          </a:bodyPr>
          <a:lstStyle>
            <a:lvl1pPr algn="ctr">
              <a:defRPr sz="4400" baseline="0">
                <a:ln w="6350" cap="flat">
                  <a:noFill/>
                  <a:miter lim="800000"/>
                </a:ln>
                <a:solidFill>
                  <a:schemeClr val="bg2"/>
                </a:solidFill>
              </a:defRPr>
            </a:lvl1pPr>
          </a:lstStyle>
          <a:p>
            <a:r>
              <a:rPr lang="en-US"/>
              <a:t>Click to edit </a:t>
            </a:r>
            <a:br>
              <a:rPr lang="en-US"/>
            </a:br>
            <a:r>
              <a:rPr lang="en-US"/>
              <a:t>Master title style</a:t>
            </a:r>
          </a:p>
        </p:txBody>
      </p:sp>
    </p:spTree>
    <p:extLst>
      <p:ext uri="{BB962C8B-B14F-4D97-AF65-F5344CB8AC3E}">
        <p14:creationId xmlns:p14="http://schemas.microsoft.com/office/powerpoint/2010/main" val="12686531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dex">
    <p:bg>
      <p:bgPr>
        <a:solidFill>
          <a:schemeClr val="accent2"/>
        </a:solidFill>
        <a:effectLst/>
      </p:bgPr>
    </p:bg>
    <p:spTree>
      <p:nvGrpSpPr>
        <p:cNvPr id="1" name=""/>
        <p:cNvGrpSpPr/>
        <p:nvPr/>
      </p:nvGrpSpPr>
      <p:grpSpPr>
        <a:xfrm>
          <a:off x="0" y="0"/>
          <a:ext cx="0" cy="0"/>
          <a:chOff x="0" y="0"/>
          <a:chExt cx="0" cy="0"/>
        </a:xfrm>
      </p:grpSpPr>
      <p:pic>
        <p:nvPicPr>
          <p:cNvPr id="15" name="Immagin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pic>
        <p:nvPicPr>
          <p:cNvPr id="14" name="Immagine 13" descr="pallini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sp>
        <p:nvSpPr>
          <p:cNvPr id="16" name="Segnaposto testo 7">
            <a:extLst>
              <a:ext uri="{FF2B5EF4-FFF2-40B4-BE49-F238E27FC236}">
                <a16:creationId xmlns:a16="http://schemas.microsoft.com/office/drawing/2014/main" id="{80BC80FD-F8A8-05DB-0A46-6CDEC994442C}"/>
              </a:ext>
            </a:extLst>
          </p:cNvPr>
          <p:cNvSpPr>
            <a:spLocks noGrp="1"/>
          </p:cNvSpPr>
          <p:nvPr>
            <p:ph type="body" sz="quarter" idx="21" hasCustomPrompt="1"/>
          </p:nvPr>
        </p:nvSpPr>
        <p:spPr>
          <a:xfrm>
            <a:off x="1625600" y="1816100"/>
            <a:ext cx="6696000" cy="828000"/>
          </a:xfrm>
        </p:spPr>
        <p:txBody>
          <a:bodyPr tIns="100800" bIns="0"/>
          <a:lstStyle>
            <a:lvl1pPr marL="0" indent="0">
              <a:buNone/>
              <a:defRPr sz="1800">
                <a:solidFill>
                  <a:schemeClr val="bg1"/>
                </a:solidFill>
              </a:defRPr>
            </a:lvl1pPr>
          </a:lstStyle>
          <a:p>
            <a:pPr lvl="0"/>
            <a:r>
              <a:rPr lang="en-US" noProof="0"/>
              <a:t>Chapter Title Here</a:t>
            </a:r>
          </a:p>
        </p:txBody>
      </p:sp>
      <p:sp>
        <p:nvSpPr>
          <p:cNvPr id="18" name="Segnaposto testo 18">
            <a:extLst>
              <a:ext uri="{FF2B5EF4-FFF2-40B4-BE49-F238E27FC236}">
                <a16:creationId xmlns:a16="http://schemas.microsoft.com/office/drawing/2014/main" id="{75E0E904-D7F4-7F0A-D72B-0872E9764EA9}"/>
              </a:ext>
            </a:extLst>
          </p:cNvPr>
          <p:cNvSpPr>
            <a:spLocks noGrp="1"/>
          </p:cNvSpPr>
          <p:nvPr>
            <p:ph type="body" sz="quarter" idx="22" hasCustomPrompt="1"/>
          </p:nvPr>
        </p:nvSpPr>
        <p:spPr>
          <a:xfrm>
            <a:off x="1625600" y="2886957"/>
            <a:ext cx="6696000" cy="828000"/>
          </a:xfrm>
        </p:spPr>
        <p:txBody>
          <a:bodyPr tIns="100800" bIns="0"/>
          <a:lstStyle>
            <a:lvl1pPr marL="0" indent="0">
              <a:buNone/>
              <a:defRPr sz="1800">
                <a:solidFill>
                  <a:schemeClr val="bg1"/>
                </a:solidFill>
              </a:defRPr>
            </a:lvl1pPr>
          </a:lstStyle>
          <a:p>
            <a:pPr lvl="0"/>
            <a:r>
              <a:rPr lang="en-US" noProof="0"/>
              <a:t>Chapter Title Here</a:t>
            </a:r>
          </a:p>
        </p:txBody>
      </p:sp>
      <p:sp>
        <p:nvSpPr>
          <p:cNvPr id="19" name="Segnaposto testo 21">
            <a:extLst>
              <a:ext uri="{FF2B5EF4-FFF2-40B4-BE49-F238E27FC236}">
                <a16:creationId xmlns:a16="http://schemas.microsoft.com/office/drawing/2014/main" id="{91C1CC92-9F5B-6287-6D0C-E4E7D79F2C72}"/>
              </a:ext>
            </a:extLst>
          </p:cNvPr>
          <p:cNvSpPr>
            <a:spLocks noGrp="1"/>
          </p:cNvSpPr>
          <p:nvPr>
            <p:ph type="body" sz="quarter" idx="23" hasCustomPrompt="1"/>
          </p:nvPr>
        </p:nvSpPr>
        <p:spPr>
          <a:xfrm>
            <a:off x="1625600" y="3957814"/>
            <a:ext cx="6696000" cy="828000"/>
          </a:xfrm>
        </p:spPr>
        <p:txBody>
          <a:bodyPr tIns="100800" bIns="0"/>
          <a:lstStyle>
            <a:lvl1pPr marL="0" indent="0">
              <a:buNone/>
              <a:defRPr sz="1800">
                <a:solidFill>
                  <a:schemeClr val="bg1"/>
                </a:solidFill>
              </a:defRPr>
            </a:lvl1pPr>
          </a:lstStyle>
          <a:p>
            <a:pPr lvl="0"/>
            <a:r>
              <a:rPr lang="en-US" noProof="0"/>
              <a:t>Chapter Title Here</a:t>
            </a:r>
          </a:p>
        </p:txBody>
      </p:sp>
      <p:sp>
        <p:nvSpPr>
          <p:cNvPr id="21" name="Segnaposto testo 24">
            <a:extLst>
              <a:ext uri="{FF2B5EF4-FFF2-40B4-BE49-F238E27FC236}">
                <a16:creationId xmlns:a16="http://schemas.microsoft.com/office/drawing/2014/main" id="{12D1A8D2-2B37-950C-65A7-266977F7BDA2}"/>
              </a:ext>
            </a:extLst>
          </p:cNvPr>
          <p:cNvSpPr>
            <a:spLocks noGrp="1"/>
          </p:cNvSpPr>
          <p:nvPr>
            <p:ph type="body" sz="quarter" idx="24" hasCustomPrompt="1"/>
          </p:nvPr>
        </p:nvSpPr>
        <p:spPr>
          <a:xfrm>
            <a:off x="1625600" y="5028671"/>
            <a:ext cx="6696000" cy="828000"/>
          </a:xfrm>
        </p:spPr>
        <p:txBody>
          <a:bodyPr tIns="100800" bIns="0"/>
          <a:lstStyle>
            <a:lvl1pPr marL="0" indent="0">
              <a:buNone/>
              <a:defRPr sz="1800">
                <a:solidFill>
                  <a:schemeClr val="bg1"/>
                </a:solidFill>
              </a:defRPr>
            </a:lvl1pPr>
          </a:lstStyle>
          <a:p>
            <a:pPr lvl="0"/>
            <a:r>
              <a:rPr lang="en-US" noProof="0"/>
              <a:t>Chapter Title Here</a:t>
            </a:r>
          </a:p>
        </p:txBody>
      </p:sp>
      <p:sp>
        <p:nvSpPr>
          <p:cNvPr id="22" name="Segnaposto testo 27">
            <a:extLst>
              <a:ext uri="{FF2B5EF4-FFF2-40B4-BE49-F238E27FC236}">
                <a16:creationId xmlns:a16="http://schemas.microsoft.com/office/drawing/2014/main" id="{4FEF96A0-5425-7E79-470D-E0C7D14E77B9}"/>
              </a:ext>
            </a:extLst>
          </p:cNvPr>
          <p:cNvSpPr>
            <a:spLocks noGrp="1"/>
          </p:cNvSpPr>
          <p:nvPr>
            <p:ph type="body" sz="quarter" idx="25" hasCustomPrompt="1"/>
          </p:nvPr>
        </p:nvSpPr>
        <p:spPr>
          <a:xfrm>
            <a:off x="587374" y="1816100"/>
            <a:ext cx="972000" cy="828000"/>
          </a:xfrm>
        </p:spPr>
        <p:txBody>
          <a:bodyPr tIns="0" bIns="0"/>
          <a:lstStyle>
            <a:lvl1pPr marL="0" indent="0" algn="r">
              <a:buNone/>
              <a:defRPr sz="2600">
                <a:solidFill>
                  <a:schemeClr val="accent3"/>
                </a:solidFill>
              </a:defRPr>
            </a:lvl1pPr>
          </a:lstStyle>
          <a:p>
            <a:pPr lvl="0"/>
            <a:r>
              <a:rPr lang="en-US" noProof="0"/>
              <a:t>0#</a:t>
            </a:r>
          </a:p>
        </p:txBody>
      </p:sp>
      <p:sp>
        <p:nvSpPr>
          <p:cNvPr id="24" name="Segnaposto testo 29">
            <a:extLst>
              <a:ext uri="{FF2B5EF4-FFF2-40B4-BE49-F238E27FC236}">
                <a16:creationId xmlns:a16="http://schemas.microsoft.com/office/drawing/2014/main" id="{B65D93B9-AD44-0B15-CF00-C78B01928375}"/>
              </a:ext>
            </a:extLst>
          </p:cNvPr>
          <p:cNvSpPr>
            <a:spLocks noGrp="1"/>
          </p:cNvSpPr>
          <p:nvPr>
            <p:ph type="body" sz="quarter" idx="26" hasCustomPrompt="1"/>
          </p:nvPr>
        </p:nvSpPr>
        <p:spPr>
          <a:xfrm>
            <a:off x="587373" y="2886957"/>
            <a:ext cx="972000" cy="828000"/>
          </a:xfrm>
        </p:spPr>
        <p:txBody>
          <a:bodyPr tIns="0" bIns="0"/>
          <a:lstStyle>
            <a:lvl1pPr marL="0" indent="0" algn="r">
              <a:buNone/>
              <a:defRPr sz="2600">
                <a:solidFill>
                  <a:srgbClr val="BECD32"/>
                </a:solidFill>
              </a:defRPr>
            </a:lvl1pPr>
          </a:lstStyle>
          <a:p>
            <a:pPr lvl="0"/>
            <a:r>
              <a:rPr lang="en-US" noProof="0"/>
              <a:t>0#</a:t>
            </a:r>
          </a:p>
        </p:txBody>
      </p:sp>
      <p:sp>
        <p:nvSpPr>
          <p:cNvPr id="25" name="Segnaposto testo 31">
            <a:extLst>
              <a:ext uri="{FF2B5EF4-FFF2-40B4-BE49-F238E27FC236}">
                <a16:creationId xmlns:a16="http://schemas.microsoft.com/office/drawing/2014/main" id="{E19E9567-BD89-AA54-F492-E094F25EF63D}"/>
              </a:ext>
            </a:extLst>
          </p:cNvPr>
          <p:cNvSpPr>
            <a:spLocks noGrp="1"/>
          </p:cNvSpPr>
          <p:nvPr>
            <p:ph type="body" sz="quarter" idx="27" hasCustomPrompt="1"/>
          </p:nvPr>
        </p:nvSpPr>
        <p:spPr>
          <a:xfrm>
            <a:off x="587374" y="5028671"/>
            <a:ext cx="972000" cy="828000"/>
          </a:xfrm>
        </p:spPr>
        <p:txBody>
          <a:bodyPr tIns="0" bIns="0"/>
          <a:lstStyle>
            <a:lvl1pPr marL="0" indent="0" algn="r">
              <a:buNone/>
              <a:defRPr sz="2600">
                <a:solidFill>
                  <a:srgbClr val="BECD32"/>
                </a:solidFill>
              </a:defRPr>
            </a:lvl1pPr>
          </a:lstStyle>
          <a:p>
            <a:pPr lvl="0"/>
            <a:r>
              <a:rPr lang="en-US" noProof="0"/>
              <a:t>0#</a:t>
            </a:r>
          </a:p>
        </p:txBody>
      </p:sp>
      <p:sp>
        <p:nvSpPr>
          <p:cNvPr id="27" name="Segnaposto testo 34">
            <a:extLst>
              <a:ext uri="{FF2B5EF4-FFF2-40B4-BE49-F238E27FC236}">
                <a16:creationId xmlns:a16="http://schemas.microsoft.com/office/drawing/2014/main" id="{2CAC8924-4F01-00B9-7053-B33B64B434B3}"/>
              </a:ext>
            </a:extLst>
          </p:cNvPr>
          <p:cNvSpPr>
            <a:spLocks noGrp="1"/>
          </p:cNvSpPr>
          <p:nvPr>
            <p:ph type="body" sz="quarter" idx="28" hasCustomPrompt="1"/>
          </p:nvPr>
        </p:nvSpPr>
        <p:spPr>
          <a:xfrm>
            <a:off x="587374" y="3957814"/>
            <a:ext cx="972000" cy="828000"/>
          </a:xfrm>
        </p:spPr>
        <p:txBody>
          <a:bodyPr tIns="0" bIns="0"/>
          <a:lstStyle>
            <a:lvl1pPr marL="0" indent="0" algn="r">
              <a:buNone/>
              <a:defRPr sz="2600">
                <a:solidFill>
                  <a:srgbClr val="BECD32"/>
                </a:solidFill>
              </a:defRPr>
            </a:lvl1pPr>
          </a:lstStyle>
          <a:p>
            <a:pPr lvl="0"/>
            <a:r>
              <a:rPr lang="en-US" noProof="0"/>
              <a:t>0#</a:t>
            </a:r>
          </a:p>
        </p:txBody>
      </p:sp>
      <p:sp>
        <p:nvSpPr>
          <p:cNvPr id="5" name="Title 4">
            <a:extLst>
              <a:ext uri="{FF2B5EF4-FFF2-40B4-BE49-F238E27FC236}">
                <a16:creationId xmlns:a16="http://schemas.microsoft.com/office/drawing/2014/main" id="{3C816E21-C1EC-54B7-14F7-0164870F5D6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5957273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dex print">
    <p:bg>
      <p:bgPr>
        <a:solidFill>
          <a:schemeClr val="bg1"/>
        </a:soli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8449726" y="0"/>
            <a:ext cx="3521245" cy="6858000"/>
          </a:xfrm>
          <a:prstGeom prst="rect">
            <a:avLst/>
          </a:prstGeom>
        </p:spPr>
      </p:pic>
      <p:sp>
        <p:nvSpPr>
          <p:cNvPr id="17" name="Segnaposto testo 7"/>
          <p:cNvSpPr>
            <a:spLocks noGrp="1"/>
          </p:cNvSpPr>
          <p:nvPr>
            <p:ph type="body" sz="quarter" idx="21" hasCustomPrompt="1"/>
          </p:nvPr>
        </p:nvSpPr>
        <p:spPr>
          <a:xfrm>
            <a:off x="1625600" y="1816100"/>
            <a:ext cx="6696000" cy="828000"/>
          </a:xfrm>
        </p:spPr>
        <p:txBody>
          <a:bodyPr tIns="100800" bIns="0"/>
          <a:lstStyle>
            <a:lvl1pPr marL="0" indent="0">
              <a:buNone/>
              <a:defRPr sz="1800">
                <a:solidFill>
                  <a:srgbClr val="000000"/>
                </a:solidFill>
              </a:defRPr>
            </a:lvl1pPr>
          </a:lstStyle>
          <a:p>
            <a:pPr lvl="0"/>
            <a:r>
              <a:rPr lang="en-US" noProof="0"/>
              <a:t>Chapter Title Here</a:t>
            </a:r>
          </a:p>
        </p:txBody>
      </p:sp>
      <p:sp>
        <p:nvSpPr>
          <p:cNvPr id="20" name="Segnaposto testo 18"/>
          <p:cNvSpPr>
            <a:spLocks noGrp="1"/>
          </p:cNvSpPr>
          <p:nvPr>
            <p:ph type="body" sz="quarter" idx="22" hasCustomPrompt="1"/>
          </p:nvPr>
        </p:nvSpPr>
        <p:spPr>
          <a:xfrm>
            <a:off x="1625600" y="2886957"/>
            <a:ext cx="6696000" cy="828000"/>
          </a:xfrm>
        </p:spPr>
        <p:txBody>
          <a:bodyPr tIns="100800" bIns="0"/>
          <a:lstStyle>
            <a:lvl1pPr marL="0" indent="0">
              <a:buNone/>
              <a:defRPr sz="1800">
                <a:solidFill>
                  <a:srgbClr val="000000"/>
                </a:solidFill>
              </a:defRPr>
            </a:lvl1pPr>
          </a:lstStyle>
          <a:p>
            <a:pPr lvl="0"/>
            <a:r>
              <a:rPr lang="en-US" noProof="0"/>
              <a:t>Chapter Title Here</a:t>
            </a:r>
          </a:p>
        </p:txBody>
      </p:sp>
      <p:sp>
        <p:nvSpPr>
          <p:cNvPr id="23" name="Segnaposto testo 21"/>
          <p:cNvSpPr>
            <a:spLocks noGrp="1"/>
          </p:cNvSpPr>
          <p:nvPr>
            <p:ph type="body" sz="quarter" idx="23" hasCustomPrompt="1"/>
          </p:nvPr>
        </p:nvSpPr>
        <p:spPr>
          <a:xfrm>
            <a:off x="1625600" y="3957814"/>
            <a:ext cx="6696000" cy="828000"/>
          </a:xfrm>
        </p:spPr>
        <p:txBody>
          <a:bodyPr tIns="100800" bIns="0"/>
          <a:lstStyle>
            <a:lvl1pPr marL="0" indent="0">
              <a:buNone/>
              <a:defRPr sz="1800">
                <a:solidFill>
                  <a:srgbClr val="000000"/>
                </a:solidFill>
              </a:defRPr>
            </a:lvl1pPr>
          </a:lstStyle>
          <a:p>
            <a:pPr lvl="0"/>
            <a:r>
              <a:rPr lang="en-US" noProof="0"/>
              <a:t>Chapter Title Here</a:t>
            </a:r>
          </a:p>
        </p:txBody>
      </p:sp>
      <p:sp>
        <p:nvSpPr>
          <p:cNvPr id="26" name="Segnaposto testo 24"/>
          <p:cNvSpPr>
            <a:spLocks noGrp="1"/>
          </p:cNvSpPr>
          <p:nvPr>
            <p:ph type="body" sz="quarter" idx="24" hasCustomPrompt="1"/>
          </p:nvPr>
        </p:nvSpPr>
        <p:spPr>
          <a:xfrm>
            <a:off x="1625600" y="5028671"/>
            <a:ext cx="6696000" cy="828000"/>
          </a:xfrm>
        </p:spPr>
        <p:txBody>
          <a:bodyPr tIns="100800" bIns="0"/>
          <a:lstStyle>
            <a:lvl1pPr marL="0" indent="0">
              <a:buNone/>
              <a:defRPr sz="1800">
                <a:solidFill>
                  <a:srgbClr val="000000"/>
                </a:solidFill>
              </a:defRPr>
            </a:lvl1pPr>
          </a:lstStyle>
          <a:p>
            <a:pPr lvl="0"/>
            <a:r>
              <a:rPr lang="en-US" noProof="0"/>
              <a:t>Chapter Title Here</a:t>
            </a:r>
          </a:p>
        </p:txBody>
      </p:sp>
      <p:sp>
        <p:nvSpPr>
          <p:cNvPr id="28" name="Segnaposto testo 27"/>
          <p:cNvSpPr>
            <a:spLocks noGrp="1"/>
          </p:cNvSpPr>
          <p:nvPr>
            <p:ph type="body" sz="quarter" idx="25" hasCustomPrompt="1"/>
          </p:nvPr>
        </p:nvSpPr>
        <p:spPr>
          <a:xfrm>
            <a:off x="587374" y="1816100"/>
            <a:ext cx="972000" cy="828000"/>
          </a:xfrm>
        </p:spPr>
        <p:txBody>
          <a:bodyPr tIns="0" bIns="0"/>
          <a:lstStyle>
            <a:lvl1pPr marL="0" indent="0" algn="r">
              <a:buNone/>
              <a:defRPr sz="2600">
                <a:solidFill>
                  <a:schemeClr val="accent3"/>
                </a:solidFill>
              </a:defRPr>
            </a:lvl1pPr>
          </a:lstStyle>
          <a:p>
            <a:pPr lvl="0"/>
            <a:r>
              <a:rPr lang="en-US" noProof="0"/>
              <a:t>0#</a:t>
            </a:r>
          </a:p>
        </p:txBody>
      </p:sp>
      <p:sp>
        <p:nvSpPr>
          <p:cNvPr id="30" name="Segnaposto testo 29"/>
          <p:cNvSpPr>
            <a:spLocks noGrp="1"/>
          </p:cNvSpPr>
          <p:nvPr>
            <p:ph type="body" sz="quarter" idx="26" hasCustomPrompt="1"/>
          </p:nvPr>
        </p:nvSpPr>
        <p:spPr>
          <a:xfrm>
            <a:off x="587373" y="2886957"/>
            <a:ext cx="972000" cy="828000"/>
          </a:xfrm>
        </p:spPr>
        <p:txBody>
          <a:bodyPr tIns="0" bIns="0"/>
          <a:lstStyle>
            <a:lvl1pPr marL="0" indent="0" algn="r">
              <a:buNone/>
              <a:defRPr sz="2600">
                <a:solidFill>
                  <a:srgbClr val="BECD32"/>
                </a:solidFill>
              </a:defRPr>
            </a:lvl1pPr>
          </a:lstStyle>
          <a:p>
            <a:pPr lvl="0"/>
            <a:r>
              <a:rPr lang="en-US" noProof="0"/>
              <a:t>0#</a:t>
            </a:r>
          </a:p>
        </p:txBody>
      </p:sp>
      <p:sp>
        <p:nvSpPr>
          <p:cNvPr id="33" name="Segnaposto testo 31"/>
          <p:cNvSpPr>
            <a:spLocks noGrp="1"/>
          </p:cNvSpPr>
          <p:nvPr>
            <p:ph type="body" sz="quarter" idx="27" hasCustomPrompt="1"/>
          </p:nvPr>
        </p:nvSpPr>
        <p:spPr>
          <a:xfrm>
            <a:off x="587374" y="5028671"/>
            <a:ext cx="972000" cy="828000"/>
          </a:xfrm>
        </p:spPr>
        <p:txBody>
          <a:bodyPr tIns="0" bIns="0"/>
          <a:lstStyle>
            <a:lvl1pPr marL="0" indent="0" algn="r">
              <a:buNone/>
              <a:defRPr sz="2600">
                <a:solidFill>
                  <a:srgbClr val="BECD32"/>
                </a:solidFill>
              </a:defRPr>
            </a:lvl1pPr>
          </a:lstStyle>
          <a:p>
            <a:pPr lvl="0"/>
            <a:r>
              <a:rPr lang="en-US" noProof="0"/>
              <a:t>0#</a:t>
            </a:r>
          </a:p>
        </p:txBody>
      </p:sp>
      <p:sp>
        <p:nvSpPr>
          <p:cNvPr id="35" name="Segnaposto testo 34"/>
          <p:cNvSpPr>
            <a:spLocks noGrp="1"/>
          </p:cNvSpPr>
          <p:nvPr>
            <p:ph type="body" sz="quarter" idx="28" hasCustomPrompt="1"/>
          </p:nvPr>
        </p:nvSpPr>
        <p:spPr>
          <a:xfrm>
            <a:off x="587374" y="3957814"/>
            <a:ext cx="972000" cy="828000"/>
          </a:xfrm>
        </p:spPr>
        <p:txBody>
          <a:bodyPr tIns="0" bIns="0"/>
          <a:lstStyle>
            <a:lvl1pPr marL="0" indent="0" algn="r">
              <a:buNone/>
              <a:defRPr sz="2600">
                <a:solidFill>
                  <a:srgbClr val="BECD32"/>
                </a:solidFill>
              </a:defRPr>
            </a:lvl1pPr>
          </a:lstStyle>
          <a:p>
            <a:pPr lvl="0"/>
            <a:r>
              <a:rPr lang="en-US" noProof="0"/>
              <a:t>0#</a:t>
            </a:r>
          </a:p>
        </p:txBody>
      </p:sp>
      <p:sp>
        <p:nvSpPr>
          <p:cNvPr id="6" name="Title 5">
            <a:extLst>
              <a:ext uri="{FF2B5EF4-FFF2-40B4-BE49-F238E27FC236}">
                <a16:creationId xmlns:a16="http://schemas.microsoft.com/office/drawing/2014/main" id="{4137A72B-CE83-AA0E-2FD6-0E20DF75799F}"/>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2" name="Footer Placeholder 1">
            <a:extLst>
              <a:ext uri="{FF2B5EF4-FFF2-40B4-BE49-F238E27FC236}">
                <a16:creationId xmlns:a16="http://schemas.microsoft.com/office/drawing/2014/main" id="{E3D21F1E-4F5B-4933-95E0-F13C7F864831}"/>
              </a:ext>
            </a:extLst>
          </p:cNvPr>
          <p:cNvSpPr>
            <a:spLocks noGrp="1"/>
          </p:cNvSpPr>
          <p:nvPr>
            <p:ph type="ftr" sz="quarter" idx="29"/>
          </p:nvPr>
        </p:nvSpPr>
        <p:spPr/>
        <p:txBody>
          <a:bodyPr/>
          <a:lstStyle/>
          <a:p>
            <a:endParaRPr lang="en-GB"/>
          </a:p>
        </p:txBody>
      </p:sp>
      <p:sp>
        <p:nvSpPr>
          <p:cNvPr id="15" name="Slide Number Placeholder 1">
            <a:extLst>
              <a:ext uri="{FF2B5EF4-FFF2-40B4-BE49-F238E27FC236}">
                <a16:creationId xmlns:a16="http://schemas.microsoft.com/office/drawing/2014/main" id="{D90AAFEA-B1CE-4F22-9381-5067656D2F1D}"/>
              </a:ext>
            </a:extLst>
          </p:cNvPr>
          <p:cNvSpPr>
            <a:spLocks noGrp="1"/>
          </p:cNvSpPr>
          <p:nvPr>
            <p:ph type="sldNum" sz="quarter" idx="4"/>
          </p:nvPr>
        </p:nvSpPr>
        <p:spPr>
          <a:xfrm>
            <a:off x="11619963" y="6327448"/>
            <a:ext cx="543756" cy="225743"/>
          </a:xfrm>
          <a:prstGeom prst="rect">
            <a:avLst/>
          </a:prstGeom>
        </p:spPr>
        <p:txBody>
          <a:bodyPr vert="horz" lIns="91440" tIns="45720" rIns="91440" bIns="0" rtlCol="0" anchor="b" anchorCtr="0"/>
          <a:lstStyle>
            <a:lvl1pPr algn="r">
              <a:defRPr lang="en-GB" sz="800" kern="1200" smtClean="0">
                <a:solidFill>
                  <a:schemeClr val="tx2"/>
                </a:solidFill>
                <a:latin typeface="+mn-lt"/>
                <a:ea typeface="+mn-ea"/>
                <a:cs typeface="+mn-cs"/>
              </a:defRPr>
            </a:lvl1pPr>
          </a:lstStyle>
          <a:p>
            <a:fld id="{2A412753-C9CB-431E-91F7-73E34BB151E8}" type="slidenum">
              <a:rPr lang="en-GB" smtClean="0"/>
              <a:pPr/>
              <a:t>‹Nr.›</a:t>
            </a:fld>
            <a:endParaRPr lang="en-GB"/>
          </a:p>
        </p:txBody>
      </p:sp>
    </p:spTree>
    <p:extLst>
      <p:ext uri="{BB962C8B-B14F-4D97-AF65-F5344CB8AC3E}">
        <p14:creationId xmlns:p14="http://schemas.microsoft.com/office/powerpoint/2010/main" val="415514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1">
    <p:bg>
      <p:bgPr>
        <a:solidFill>
          <a:schemeClr val="bg1"/>
        </a:solidFill>
        <a:effectLst/>
      </p:bgPr>
    </p:bg>
    <p:spTree>
      <p:nvGrpSpPr>
        <p:cNvPr id="1" name=""/>
        <p:cNvGrpSpPr/>
        <p:nvPr/>
      </p:nvGrpSpPr>
      <p:grpSpPr>
        <a:xfrm>
          <a:off x="0" y="0"/>
          <a:ext cx="0" cy="0"/>
          <a:chOff x="0" y="0"/>
          <a:chExt cx="0" cy="0"/>
        </a:xfrm>
      </p:grpSpPr>
      <p:sp>
        <p:nvSpPr>
          <p:cNvPr id="14" name="Segnaposto contenuto 6"/>
          <p:cNvSpPr>
            <a:spLocks noGrp="1"/>
          </p:cNvSpPr>
          <p:nvPr>
            <p:ph sz="quarter" idx="14" hasCustomPrompt="1"/>
          </p:nvPr>
        </p:nvSpPr>
        <p:spPr>
          <a:xfrm>
            <a:off x="587375" y="1341438"/>
            <a:ext cx="11170163" cy="4900444"/>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98FDE654-39DA-E1D2-53DD-8DAEF6AF8175}"/>
              </a:ext>
            </a:extLst>
          </p:cNvPr>
          <p:cNvSpPr>
            <a:spLocks noGrp="1"/>
          </p:cNvSpPr>
          <p:nvPr>
            <p:ph type="title"/>
          </p:nvPr>
        </p:nvSpPr>
        <p:spPr>
          <a:xfrm>
            <a:off x="587375" y="508000"/>
            <a:ext cx="11017249" cy="540314"/>
          </a:xfrm>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BA6A74A-DF99-BFEF-BE50-FC24D9CE00FB}"/>
              </a:ext>
            </a:extLst>
          </p:cNvPr>
          <p:cNvSpPr>
            <a:spLocks noGrp="1"/>
          </p:cNvSpPr>
          <p:nvPr>
            <p:ph type="ftr" sz="quarter" idx="36"/>
          </p:nvPr>
        </p:nvSpPr>
        <p:spPr>
          <a:xfrm>
            <a:off x="587374" y="6335395"/>
            <a:ext cx="9236795" cy="225743"/>
          </a:xfrm>
          <a:prstGeom prst="rect">
            <a:avLst/>
          </a:prstGeom>
        </p:spPr>
        <p:txBody>
          <a:bodyPr/>
          <a:lstStyle/>
          <a:p>
            <a:endParaRPr lang="en-GB"/>
          </a:p>
        </p:txBody>
      </p:sp>
      <p:sp>
        <p:nvSpPr>
          <p:cNvPr id="13" name="Rechteck 3">
            <a:extLst>
              <a:ext uri="{FF2B5EF4-FFF2-40B4-BE49-F238E27FC236}">
                <a16:creationId xmlns:a16="http://schemas.microsoft.com/office/drawing/2014/main" id="{A625BF35-1090-39A2-087D-CDBDE40AEF6F}"/>
              </a:ext>
            </a:extLst>
          </p:cNvPr>
          <p:cNvSpPr/>
          <p:nvPr userDrawn="1"/>
        </p:nvSpPr>
        <p:spPr>
          <a:xfrm>
            <a:off x="587375" y="1093156"/>
            <a:ext cx="850900" cy="8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Slide Number Placeholder 1">
            <a:extLst>
              <a:ext uri="{FF2B5EF4-FFF2-40B4-BE49-F238E27FC236}">
                <a16:creationId xmlns:a16="http://schemas.microsoft.com/office/drawing/2014/main" id="{6FFBFCAE-8F33-40EE-A58F-6FED98DF1C45}"/>
              </a:ext>
            </a:extLst>
          </p:cNvPr>
          <p:cNvSpPr>
            <a:spLocks noGrp="1"/>
          </p:cNvSpPr>
          <p:nvPr>
            <p:ph type="sldNum" sz="quarter" idx="4"/>
          </p:nvPr>
        </p:nvSpPr>
        <p:spPr>
          <a:xfrm>
            <a:off x="11619963" y="6327448"/>
            <a:ext cx="543756" cy="225743"/>
          </a:xfrm>
          <a:prstGeom prst="rect">
            <a:avLst/>
          </a:prstGeom>
        </p:spPr>
        <p:txBody>
          <a:bodyPr vert="horz" lIns="91440" tIns="45720" rIns="91440" bIns="0" rtlCol="0" anchor="b" anchorCtr="0"/>
          <a:lstStyle>
            <a:lvl1pPr algn="r">
              <a:defRPr lang="en-GB" sz="800" kern="1200" smtClean="0">
                <a:solidFill>
                  <a:schemeClr val="tx2"/>
                </a:solidFill>
                <a:latin typeface="+mn-lt"/>
                <a:ea typeface="+mn-ea"/>
                <a:cs typeface="+mn-cs"/>
              </a:defRPr>
            </a:lvl1pPr>
          </a:lstStyle>
          <a:p>
            <a:fld id="{2A412753-C9CB-431E-91F7-73E34BB151E8}" type="slidenum">
              <a:rPr lang="en-GB" smtClean="0"/>
              <a:pPr/>
              <a:t>‹Nr.›</a:t>
            </a:fld>
            <a:endParaRPr lang="en-GB"/>
          </a:p>
        </p:txBody>
      </p:sp>
    </p:spTree>
    <p:extLst>
      <p:ext uri="{BB962C8B-B14F-4D97-AF65-F5344CB8AC3E}">
        <p14:creationId xmlns:p14="http://schemas.microsoft.com/office/powerpoint/2010/main" val="22547402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E7CEC-B815-4908-B646-6A53BB6E687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0E24C25-9D31-406B-BDEE-DA1266EF5A86}"/>
              </a:ext>
            </a:extLst>
          </p:cNvPr>
          <p:cNvSpPr>
            <a:spLocks noGrp="1"/>
          </p:cNvSpPr>
          <p:nvPr>
            <p:ph sz="half" idx="1"/>
          </p:nvPr>
        </p:nvSpPr>
        <p:spPr>
          <a:xfrm>
            <a:off x="587374" y="1341438"/>
            <a:ext cx="5400676" cy="48958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E227E59-4DEA-4142-A759-CAC96E02F0E7}"/>
              </a:ext>
            </a:extLst>
          </p:cNvPr>
          <p:cNvSpPr>
            <a:spLocks noGrp="1"/>
          </p:cNvSpPr>
          <p:nvPr>
            <p:ph sz="half" idx="2"/>
          </p:nvPr>
        </p:nvSpPr>
        <p:spPr>
          <a:xfrm>
            <a:off x="6203952" y="1341438"/>
            <a:ext cx="5400672" cy="48958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a:extLst>
              <a:ext uri="{FF2B5EF4-FFF2-40B4-BE49-F238E27FC236}">
                <a16:creationId xmlns:a16="http://schemas.microsoft.com/office/drawing/2014/main" id="{C982DC6B-D7D7-E505-D944-F5D99C8AA35B}"/>
              </a:ext>
            </a:extLst>
          </p:cNvPr>
          <p:cNvSpPr>
            <a:spLocks noGrp="1"/>
          </p:cNvSpPr>
          <p:nvPr>
            <p:ph type="ftr" sz="quarter" idx="36"/>
          </p:nvPr>
        </p:nvSpPr>
        <p:spPr>
          <a:xfrm>
            <a:off x="587374" y="6335395"/>
            <a:ext cx="9236795" cy="225743"/>
          </a:xfrm>
          <a:prstGeom prst="rect">
            <a:avLst/>
          </a:prstGeom>
        </p:spPr>
        <p:txBody>
          <a:bodyPr/>
          <a:lstStyle/>
          <a:p>
            <a:endParaRPr lang="en-GB"/>
          </a:p>
        </p:txBody>
      </p:sp>
      <p:sp>
        <p:nvSpPr>
          <p:cNvPr id="12" name="Rechteck 3">
            <a:extLst>
              <a:ext uri="{FF2B5EF4-FFF2-40B4-BE49-F238E27FC236}">
                <a16:creationId xmlns:a16="http://schemas.microsoft.com/office/drawing/2014/main" id="{9C11FD19-C889-DE13-E21E-F357292BB0BA}"/>
              </a:ext>
            </a:extLst>
          </p:cNvPr>
          <p:cNvSpPr/>
          <p:nvPr userDrawn="1"/>
        </p:nvSpPr>
        <p:spPr>
          <a:xfrm>
            <a:off x="587375" y="1093156"/>
            <a:ext cx="850900" cy="8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Slide Number Placeholder 1">
            <a:extLst>
              <a:ext uri="{FF2B5EF4-FFF2-40B4-BE49-F238E27FC236}">
                <a16:creationId xmlns:a16="http://schemas.microsoft.com/office/drawing/2014/main" id="{D7781303-608F-45E1-A31C-078187C7201C}"/>
              </a:ext>
            </a:extLst>
          </p:cNvPr>
          <p:cNvSpPr>
            <a:spLocks noGrp="1"/>
          </p:cNvSpPr>
          <p:nvPr>
            <p:ph type="sldNum" sz="quarter" idx="4"/>
          </p:nvPr>
        </p:nvSpPr>
        <p:spPr>
          <a:xfrm>
            <a:off x="11619963" y="6327448"/>
            <a:ext cx="543756" cy="225743"/>
          </a:xfrm>
          <a:prstGeom prst="rect">
            <a:avLst/>
          </a:prstGeom>
        </p:spPr>
        <p:txBody>
          <a:bodyPr vert="horz" lIns="91440" tIns="45720" rIns="91440" bIns="0" rtlCol="0" anchor="b" anchorCtr="0"/>
          <a:lstStyle>
            <a:lvl1pPr algn="r">
              <a:defRPr lang="en-GB" sz="800" kern="1200" smtClean="0">
                <a:solidFill>
                  <a:schemeClr val="tx2"/>
                </a:solidFill>
                <a:latin typeface="+mn-lt"/>
                <a:ea typeface="+mn-ea"/>
                <a:cs typeface="+mn-cs"/>
              </a:defRPr>
            </a:lvl1pPr>
          </a:lstStyle>
          <a:p>
            <a:fld id="{2A412753-C9CB-431E-91F7-73E34BB151E8}" type="slidenum">
              <a:rPr lang="en-GB" smtClean="0"/>
              <a:pPr/>
              <a:t>‹Nr.›</a:t>
            </a:fld>
            <a:endParaRPr lang="en-GB"/>
          </a:p>
        </p:txBody>
      </p:sp>
    </p:spTree>
    <p:extLst>
      <p:ext uri="{BB962C8B-B14F-4D97-AF65-F5344CB8AC3E}">
        <p14:creationId xmlns:p14="http://schemas.microsoft.com/office/powerpoint/2010/main" val="13035279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Footer">
    <p:spTree>
      <p:nvGrpSpPr>
        <p:cNvPr id="1" name=""/>
        <p:cNvGrpSpPr/>
        <p:nvPr/>
      </p:nvGrpSpPr>
      <p:grpSpPr>
        <a:xfrm>
          <a:off x="0" y="0"/>
          <a:ext cx="0" cy="0"/>
          <a:chOff x="0" y="0"/>
          <a:chExt cx="0" cy="0"/>
        </a:xfrm>
      </p:grpSpPr>
      <p:sp>
        <p:nvSpPr>
          <p:cNvPr id="10" name="Rechteck 3">
            <a:extLst>
              <a:ext uri="{FF2B5EF4-FFF2-40B4-BE49-F238E27FC236}">
                <a16:creationId xmlns:a16="http://schemas.microsoft.com/office/drawing/2014/main" id="{5C2766F9-DC8D-1D61-1A55-E08AC2759BBC}"/>
              </a:ext>
            </a:extLst>
          </p:cNvPr>
          <p:cNvSpPr/>
          <p:nvPr userDrawn="1"/>
        </p:nvSpPr>
        <p:spPr>
          <a:xfrm>
            <a:off x="587375" y="1093156"/>
            <a:ext cx="850900" cy="8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ooter Placeholder 4">
            <a:extLst>
              <a:ext uri="{FF2B5EF4-FFF2-40B4-BE49-F238E27FC236}">
                <a16:creationId xmlns:a16="http://schemas.microsoft.com/office/drawing/2014/main" id="{91BA38EE-3E99-471C-91EE-EAE2143FD412}"/>
              </a:ext>
            </a:extLst>
          </p:cNvPr>
          <p:cNvSpPr>
            <a:spLocks noGrp="1"/>
          </p:cNvSpPr>
          <p:nvPr>
            <p:ph type="ftr" sz="quarter" idx="3"/>
          </p:nvPr>
        </p:nvSpPr>
        <p:spPr>
          <a:xfrm>
            <a:off x="587374" y="6335395"/>
            <a:ext cx="9236795" cy="225743"/>
          </a:xfrm>
          <a:prstGeom prst="rect">
            <a:avLst/>
          </a:prstGeom>
        </p:spPr>
        <p:txBody>
          <a:bodyPr vert="horz" lIns="0" tIns="0" rIns="0" bIns="0" rtlCol="0" anchor="b">
            <a:noAutofit/>
          </a:bodyPr>
          <a:lstStyle>
            <a:lvl1pPr algn="l">
              <a:defRPr sz="800">
                <a:solidFill>
                  <a:schemeClr val="tx2"/>
                </a:solidFill>
              </a:defRPr>
            </a:lvl1pPr>
          </a:lstStyle>
          <a:p>
            <a:endParaRPr lang="en-GB"/>
          </a:p>
        </p:txBody>
      </p:sp>
      <p:sp>
        <p:nvSpPr>
          <p:cNvPr id="4" name="Title 3">
            <a:extLst>
              <a:ext uri="{FF2B5EF4-FFF2-40B4-BE49-F238E27FC236}">
                <a16:creationId xmlns:a16="http://schemas.microsoft.com/office/drawing/2014/main" id="{24B24D45-3E4B-4131-8ACD-C1BC763B4FB0}"/>
              </a:ext>
            </a:extLst>
          </p:cNvPr>
          <p:cNvSpPr>
            <a:spLocks noGrp="1"/>
          </p:cNvSpPr>
          <p:nvPr>
            <p:ph type="title"/>
          </p:nvPr>
        </p:nvSpPr>
        <p:spPr/>
        <p:txBody>
          <a:bodyPr/>
          <a:lstStyle/>
          <a:p>
            <a:r>
              <a:rPr lang="en-US"/>
              <a:t>Click to edit Master title style</a:t>
            </a:r>
            <a:endParaRPr lang="en-GB"/>
          </a:p>
        </p:txBody>
      </p:sp>
      <p:sp>
        <p:nvSpPr>
          <p:cNvPr id="8" name="Slide Number Placeholder 1">
            <a:extLst>
              <a:ext uri="{FF2B5EF4-FFF2-40B4-BE49-F238E27FC236}">
                <a16:creationId xmlns:a16="http://schemas.microsoft.com/office/drawing/2014/main" id="{0CCCA073-D027-4E32-86C7-EDC1D9B00FA0}"/>
              </a:ext>
            </a:extLst>
          </p:cNvPr>
          <p:cNvSpPr>
            <a:spLocks noGrp="1"/>
          </p:cNvSpPr>
          <p:nvPr>
            <p:ph type="sldNum" sz="quarter" idx="4"/>
          </p:nvPr>
        </p:nvSpPr>
        <p:spPr>
          <a:xfrm>
            <a:off x="11619963" y="6327448"/>
            <a:ext cx="543756" cy="225743"/>
          </a:xfrm>
          <a:prstGeom prst="rect">
            <a:avLst/>
          </a:prstGeom>
        </p:spPr>
        <p:txBody>
          <a:bodyPr vert="horz" lIns="91440" tIns="45720" rIns="91440" bIns="0" rtlCol="0" anchor="b" anchorCtr="0"/>
          <a:lstStyle>
            <a:lvl1pPr algn="r">
              <a:defRPr lang="en-GB" sz="800" kern="1200" smtClean="0">
                <a:solidFill>
                  <a:schemeClr val="tx2"/>
                </a:solidFill>
                <a:latin typeface="+mn-lt"/>
                <a:ea typeface="+mn-ea"/>
                <a:cs typeface="+mn-cs"/>
              </a:defRPr>
            </a:lvl1pPr>
          </a:lstStyle>
          <a:p>
            <a:fld id="{2A412753-C9CB-431E-91F7-73E34BB151E8}" type="slidenum">
              <a:rPr lang="en-GB" smtClean="0"/>
              <a:pPr/>
              <a:t>‹Nr.›</a:t>
            </a:fld>
            <a:endParaRPr lang="en-GB"/>
          </a:p>
        </p:txBody>
      </p:sp>
    </p:spTree>
    <p:extLst>
      <p:ext uri="{BB962C8B-B14F-4D97-AF65-F5344CB8AC3E}">
        <p14:creationId xmlns:p14="http://schemas.microsoft.com/office/powerpoint/2010/main" val="20551611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E1AC076-C555-4A90-9BA3-EB82C4E13269}"/>
              </a:ext>
            </a:extLst>
          </p:cNvPr>
          <p:cNvSpPr>
            <a:spLocks noGrp="1"/>
          </p:cNvSpPr>
          <p:nvPr>
            <p:ph type="ftr" sz="quarter" idx="10"/>
          </p:nvPr>
        </p:nvSpPr>
        <p:spPr/>
        <p:txBody>
          <a:bodyPr/>
          <a:lstStyle/>
          <a:p>
            <a:endParaRPr lang="en-GB"/>
          </a:p>
        </p:txBody>
      </p:sp>
      <p:sp>
        <p:nvSpPr>
          <p:cNvPr id="5" name="Slide Number Placeholder 1">
            <a:extLst>
              <a:ext uri="{FF2B5EF4-FFF2-40B4-BE49-F238E27FC236}">
                <a16:creationId xmlns:a16="http://schemas.microsoft.com/office/drawing/2014/main" id="{55890E61-E662-4A3E-B969-8E0518AF7537}"/>
              </a:ext>
            </a:extLst>
          </p:cNvPr>
          <p:cNvSpPr>
            <a:spLocks noGrp="1"/>
          </p:cNvSpPr>
          <p:nvPr>
            <p:ph type="sldNum" sz="quarter" idx="4"/>
          </p:nvPr>
        </p:nvSpPr>
        <p:spPr>
          <a:xfrm>
            <a:off x="11619963" y="6327448"/>
            <a:ext cx="543756" cy="225743"/>
          </a:xfrm>
          <a:prstGeom prst="rect">
            <a:avLst/>
          </a:prstGeom>
        </p:spPr>
        <p:txBody>
          <a:bodyPr vert="horz" lIns="91440" tIns="45720" rIns="91440" bIns="0" rtlCol="0" anchor="b" anchorCtr="0"/>
          <a:lstStyle>
            <a:lvl1pPr algn="r">
              <a:defRPr lang="en-GB" sz="800" kern="1200" smtClean="0">
                <a:solidFill>
                  <a:schemeClr val="tx2"/>
                </a:solidFill>
                <a:latin typeface="+mn-lt"/>
                <a:ea typeface="+mn-ea"/>
                <a:cs typeface="+mn-cs"/>
              </a:defRPr>
            </a:lvl1pPr>
          </a:lstStyle>
          <a:p>
            <a:fld id="{2A412753-C9CB-431E-91F7-73E34BB151E8}" type="slidenum">
              <a:rPr lang="en-GB" smtClean="0"/>
              <a:pPr/>
              <a:t>‹Nr.›</a:t>
            </a:fld>
            <a:endParaRPr lang="en-GB"/>
          </a:p>
        </p:txBody>
      </p:sp>
    </p:spTree>
    <p:extLst>
      <p:ext uri="{BB962C8B-B14F-4D97-AF65-F5344CB8AC3E}">
        <p14:creationId xmlns:p14="http://schemas.microsoft.com/office/powerpoint/2010/main" val="20396653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FBAE40"/>
          </p15:clr>
        </p15:guide>
        <p15:guide id="10" pos="7425" userDrawn="1">
          <p15:clr>
            <a:srgbClr val="FBAE40"/>
          </p15:clr>
        </p15:guide>
        <p15:guide id="11" orient="horz" pos="302" userDrawn="1">
          <p15:clr>
            <a:srgbClr val="65CEFF"/>
          </p15:clr>
        </p15:guide>
        <p15:guide id="12" orient="horz" pos="663" userDrawn="1">
          <p15:clr>
            <a:srgbClr val="65CEFF"/>
          </p15:clr>
        </p15:guide>
        <p15:guide id="13" orient="horz" pos="891" userDrawn="1">
          <p15:clr>
            <a:srgbClr val="FBAE40"/>
          </p15:clr>
        </p15:guide>
        <p15:guide id="14" orient="horz" pos="2206" userDrawn="1">
          <p15:clr>
            <a:srgbClr val="65CEFF"/>
          </p15:clr>
        </p15:guide>
        <p15:guide id="15" orient="horz" pos="2343" userDrawn="1">
          <p15:clr>
            <a:srgbClr val="65CEFF"/>
          </p15:clr>
        </p15:guide>
        <p15:guide id="17" orient="horz" pos="3885" userDrawn="1">
          <p15:clr>
            <a:srgbClr val="FBAE40"/>
          </p15:clr>
        </p15:guide>
        <p15:guide id="18" orient="horz" pos="4157" userDrawn="1">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screen video">
    <p:spTree>
      <p:nvGrpSpPr>
        <p:cNvPr id="1" name=""/>
        <p:cNvGrpSpPr/>
        <p:nvPr/>
      </p:nvGrpSpPr>
      <p:grpSpPr>
        <a:xfrm>
          <a:off x="0" y="0"/>
          <a:ext cx="0" cy="0"/>
          <a:chOff x="0" y="0"/>
          <a:chExt cx="0" cy="0"/>
        </a:xfrm>
      </p:grpSpPr>
      <p:sp>
        <p:nvSpPr>
          <p:cNvPr id="6" name="Segnaposto risorsa multimediale 5"/>
          <p:cNvSpPr>
            <a:spLocks noGrp="1"/>
          </p:cNvSpPr>
          <p:nvPr>
            <p:ph type="media" sz="quarter" idx="12" hasCustomPrompt="1"/>
          </p:nvPr>
        </p:nvSpPr>
        <p:spPr>
          <a:xfrm>
            <a:off x="0" y="0"/>
            <a:ext cx="12192000" cy="6858000"/>
          </a:xfrm>
          <a:prstGeom prst="rect">
            <a:avLst/>
          </a:prstGeom>
          <a:solidFill>
            <a:schemeClr val="accent2"/>
          </a:solidFill>
        </p:spPr>
        <p:txBody>
          <a:bodyPr anchor="ctr"/>
          <a:lstStyle>
            <a:lvl1pPr marL="0" indent="0" algn="ctr">
              <a:buNone/>
              <a:defRPr sz="1600">
                <a:solidFill>
                  <a:schemeClr val="bg1"/>
                </a:solidFill>
                <a:latin typeface="Arial"/>
                <a:cs typeface="Arial"/>
              </a:defRPr>
            </a:lvl1pPr>
          </a:lstStyle>
          <a:p>
            <a:r>
              <a:rPr lang="en-US" sz="2600" b="0" i="0" noProof="0">
                <a:solidFill>
                  <a:srgbClr val="000000"/>
                </a:solidFill>
                <a:latin typeface="Lucida Grande"/>
                <a:ea typeface="Lucida Grande"/>
                <a:cs typeface="Lucida Grande"/>
              </a:rPr>
              <a:t>Video</a:t>
            </a:r>
            <a:endParaRPr lang="en-US" noProof="0"/>
          </a:p>
        </p:txBody>
      </p:sp>
    </p:spTree>
    <p:extLst>
      <p:ext uri="{BB962C8B-B14F-4D97-AF65-F5344CB8AC3E}">
        <p14:creationId xmlns:p14="http://schemas.microsoft.com/office/powerpoint/2010/main" val="30322821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2"/>
        </a:solidFill>
        <a:effectLst/>
      </p:bgPr>
    </p:bg>
    <p:spTree>
      <p:nvGrpSpPr>
        <p:cNvPr id="1" name=""/>
        <p:cNvGrpSpPr/>
        <p:nvPr/>
      </p:nvGrpSpPr>
      <p:grpSpPr>
        <a:xfrm>
          <a:off x="0" y="0"/>
          <a:ext cx="0" cy="0"/>
          <a:chOff x="0" y="0"/>
          <a:chExt cx="0" cy="0"/>
        </a:xfrm>
      </p:grpSpPr>
      <p:pic>
        <p:nvPicPr>
          <p:cNvPr id="10" name="Immagine 9"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11" name="Immagine 10"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12" name="Immagine 11"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9" name="Immagin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13" name="Segnaposto testo 12"/>
          <p:cNvSpPr>
            <a:spLocks noGrp="1"/>
          </p:cNvSpPr>
          <p:nvPr>
            <p:ph type="body" sz="quarter" idx="12" hasCustomPrompt="1"/>
          </p:nvPr>
        </p:nvSpPr>
        <p:spPr>
          <a:xfrm>
            <a:off x="0" y="0"/>
            <a:ext cx="12192000" cy="6858000"/>
          </a:xfrm>
          <a:prstGeom prst="rect">
            <a:avLst/>
          </a:prstGeom>
        </p:spPr>
        <p:txBody>
          <a:bodyPr lIns="1440000" rIns="1440000" anchor="ctr" anchorCtr="1"/>
          <a:lstStyle>
            <a:lvl1pPr marL="0" indent="0" algn="ctr">
              <a:lnSpc>
                <a:spcPct val="80000"/>
              </a:lnSpc>
              <a:buNone/>
              <a:defRPr sz="4000" b="1" baseline="0">
                <a:solidFill>
                  <a:schemeClr val="bg1"/>
                </a:solidFill>
              </a:defRPr>
            </a:lvl1pPr>
          </a:lstStyle>
          <a:p>
            <a:pPr lvl="0"/>
            <a:r>
              <a:rPr lang="en-US" noProof="0"/>
              <a:t>This is a dramatic quote </a:t>
            </a:r>
          </a:p>
          <a:p>
            <a:pPr lvl="0"/>
            <a:r>
              <a:rPr lang="en-US" noProof="0"/>
              <a:t>Or a callout or a call to action</a:t>
            </a:r>
          </a:p>
        </p:txBody>
      </p:sp>
      <p:sp>
        <p:nvSpPr>
          <p:cNvPr id="15" name="Segnaposto testo 14"/>
          <p:cNvSpPr>
            <a:spLocks noGrp="1"/>
          </p:cNvSpPr>
          <p:nvPr>
            <p:ph type="body" sz="quarter" idx="13" hasCustomPrompt="1"/>
          </p:nvPr>
        </p:nvSpPr>
        <p:spPr>
          <a:xfrm>
            <a:off x="1574802" y="2065858"/>
            <a:ext cx="1253067" cy="1066800"/>
          </a:xfrm>
          <a:prstGeom prst="rect">
            <a:avLst/>
          </a:prstGeom>
        </p:spPr>
        <p:txBody>
          <a:bodyPr anchor="ctr" anchorCtr="1"/>
          <a:lstStyle>
            <a:lvl1pPr marL="0" indent="0">
              <a:buNone/>
              <a:defRPr sz="12000" b="1">
                <a:solidFill>
                  <a:schemeClr val="accent3"/>
                </a:solidFill>
              </a:defRPr>
            </a:lvl1pPr>
          </a:lstStyle>
          <a:p>
            <a:pPr lvl="0"/>
            <a:r>
              <a:rPr lang="en-US" noProof="0"/>
              <a:t>“</a:t>
            </a:r>
          </a:p>
        </p:txBody>
      </p:sp>
      <p:sp>
        <p:nvSpPr>
          <p:cNvPr id="16" name="Segnaposto testo 14"/>
          <p:cNvSpPr>
            <a:spLocks noGrp="1"/>
          </p:cNvSpPr>
          <p:nvPr>
            <p:ph type="body" sz="quarter" idx="14" hasCustomPrompt="1"/>
          </p:nvPr>
        </p:nvSpPr>
        <p:spPr>
          <a:xfrm rot="10800000">
            <a:off x="9990653" y="3708397"/>
            <a:ext cx="1253067" cy="1066800"/>
          </a:xfrm>
          <a:prstGeom prst="rect">
            <a:avLst/>
          </a:prstGeom>
        </p:spPr>
        <p:txBody>
          <a:bodyPr anchor="ctr" anchorCtr="1"/>
          <a:lstStyle>
            <a:lvl1pPr marL="0" indent="0">
              <a:buNone/>
              <a:defRPr sz="12000" b="1">
                <a:solidFill>
                  <a:schemeClr val="accent3"/>
                </a:solidFill>
              </a:defRPr>
            </a:lvl1pPr>
          </a:lstStyle>
          <a:p>
            <a:pPr lvl="0"/>
            <a:r>
              <a:rPr lang="en-US" noProof="0"/>
              <a:t>“</a:t>
            </a:r>
          </a:p>
        </p:txBody>
      </p:sp>
    </p:spTree>
    <p:extLst>
      <p:ext uri="{BB962C8B-B14F-4D97-AF65-F5344CB8AC3E}">
        <p14:creationId xmlns:p14="http://schemas.microsoft.com/office/powerpoint/2010/main" val="5024017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Print">
    <p:bg>
      <p:bgPr>
        <a:solidFill>
          <a:schemeClr val="bg1"/>
        </a:solidFill>
        <a:effectLst/>
      </p:bgPr>
    </p:bg>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8449726" y="0"/>
            <a:ext cx="3521245" cy="6858000"/>
          </a:xfrm>
          <a:prstGeom prst="rect">
            <a:avLst/>
          </a:prstGeom>
        </p:spPr>
      </p:pic>
      <p:pic>
        <p:nvPicPr>
          <p:cNvPr id="18" name="Immagine 17"/>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270926" y="0"/>
            <a:ext cx="3521245" cy="6858000"/>
          </a:xfrm>
          <a:prstGeom prst="rect">
            <a:avLst/>
          </a:prstGeom>
        </p:spPr>
      </p:pic>
      <p:pic>
        <p:nvPicPr>
          <p:cNvPr id="19" name="Immagine 18"/>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4474626" y="0"/>
            <a:ext cx="3521245" cy="6858000"/>
          </a:xfrm>
          <a:prstGeom prst="rect">
            <a:avLst/>
          </a:prstGeom>
        </p:spPr>
      </p:pic>
      <p:sp>
        <p:nvSpPr>
          <p:cNvPr id="13" name="Segnaposto testo 12"/>
          <p:cNvSpPr>
            <a:spLocks noGrp="1"/>
          </p:cNvSpPr>
          <p:nvPr>
            <p:ph type="body" sz="quarter" idx="12" hasCustomPrompt="1"/>
          </p:nvPr>
        </p:nvSpPr>
        <p:spPr>
          <a:xfrm>
            <a:off x="0" y="0"/>
            <a:ext cx="12192000" cy="6858000"/>
          </a:xfrm>
          <a:prstGeom prst="rect">
            <a:avLst/>
          </a:prstGeom>
        </p:spPr>
        <p:txBody>
          <a:bodyPr lIns="1440000" rIns="1440000" anchor="ctr" anchorCtr="1"/>
          <a:lstStyle>
            <a:lvl1pPr marL="0" indent="0" algn="ctr">
              <a:lnSpc>
                <a:spcPct val="80000"/>
              </a:lnSpc>
              <a:buNone/>
              <a:defRPr sz="4000" b="1" baseline="0">
                <a:solidFill>
                  <a:schemeClr val="accent1"/>
                </a:solidFill>
              </a:defRPr>
            </a:lvl1pPr>
          </a:lstStyle>
          <a:p>
            <a:pPr lvl="0"/>
            <a:r>
              <a:rPr lang="en-US" noProof="0"/>
              <a:t>This is a dramatic quote </a:t>
            </a:r>
          </a:p>
          <a:p>
            <a:pPr lvl="0"/>
            <a:r>
              <a:rPr lang="en-US" noProof="0"/>
              <a:t>Or a callout or a call to action</a:t>
            </a:r>
          </a:p>
        </p:txBody>
      </p:sp>
      <p:sp>
        <p:nvSpPr>
          <p:cNvPr id="15" name="Segnaposto testo 14"/>
          <p:cNvSpPr>
            <a:spLocks noGrp="1"/>
          </p:cNvSpPr>
          <p:nvPr>
            <p:ph type="body" sz="quarter" idx="13" hasCustomPrompt="1"/>
          </p:nvPr>
        </p:nvSpPr>
        <p:spPr>
          <a:xfrm>
            <a:off x="1574802" y="2065858"/>
            <a:ext cx="1253067" cy="1066800"/>
          </a:xfrm>
          <a:prstGeom prst="rect">
            <a:avLst/>
          </a:prstGeom>
        </p:spPr>
        <p:txBody>
          <a:bodyPr anchor="ctr" anchorCtr="1"/>
          <a:lstStyle>
            <a:lvl1pPr marL="0" indent="0">
              <a:buNone/>
              <a:defRPr sz="12000" b="1">
                <a:solidFill>
                  <a:schemeClr val="accent3"/>
                </a:solidFill>
              </a:defRPr>
            </a:lvl1pPr>
          </a:lstStyle>
          <a:p>
            <a:pPr lvl="0"/>
            <a:r>
              <a:rPr lang="en-US" noProof="0"/>
              <a:t>“</a:t>
            </a:r>
          </a:p>
        </p:txBody>
      </p:sp>
      <p:sp>
        <p:nvSpPr>
          <p:cNvPr id="16" name="Segnaposto testo 14"/>
          <p:cNvSpPr>
            <a:spLocks noGrp="1"/>
          </p:cNvSpPr>
          <p:nvPr>
            <p:ph type="body" sz="quarter" idx="14" hasCustomPrompt="1"/>
          </p:nvPr>
        </p:nvSpPr>
        <p:spPr>
          <a:xfrm rot="10800000">
            <a:off x="9990653" y="3708397"/>
            <a:ext cx="1253067" cy="1066800"/>
          </a:xfrm>
          <a:prstGeom prst="rect">
            <a:avLst/>
          </a:prstGeom>
        </p:spPr>
        <p:txBody>
          <a:bodyPr anchor="ctr" anchorCtr="1"/>
          <a:lstStyle>
            <a:lvl1pPr marL="0" indent="0">
              <a:buNone/>
              <a:defRPr sz="12000" b="1">
                <a:solidFill>
                  <a:schemeClr val="accent3"/>
                </a:solidFill>
              </a:defRPr>
            </a:lvl1pPr>
          </a:lstStyle>
          <a:p>
            <a:pPr lvl="0"/>
            <a:r>
              <a:rPr lang="en-US" noProof="0"/>
              <a:t>“</a:t>
            </a:r>
          </a:p>
        </p:txBody>
      </p:sp>
    </p:spTree>
    <p:extLst>
      <p:ext uri="{BB962C8B-B14F-4D97-AF65-F5344CB8AC3E}">
        <p14:creationId xmlns:p14="http://schemas.microsoft.com/office/powerpoint/2010/main" val="3876340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shots, Visual Org Chart">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631AFC9D-F816-CC4F-BDE7-8F259A45164B}"/>
              </a:ext>
            </a:extLst>
          </p:cNvPr>
          <p:cNvSpPr>
            <a:spLocks noGrp="1"/>
          </p:cNvSpPr>
          <p:nvPr>
            <p:ph type="body" sz="quarter" idx="42" hasCustomPrompt="1"/>
          </p:nvPr>
        </p:nvSpPr>
        <p:spPr>
          <a:xfrm>
            <a:off x="2274923" y="4873392"/>
            <a:ext cx="1548000" cy="207226"/>
          </a:xfrm>
          <a:prstGeom prst="rect">
            <a:avLst/>
          </a:prstGeom>
        </p:spPr>
        <p:txBody>
          <a:bodyPr tIns="0" bIns="0" anchor="t">
            <a:noAutofit/>
          </a:bodyPr>
          <a:lstStyle>
            <a:lvl1pPr marL="0" indent="0" algn="ctr">
              <a:lnSpc>
                <a:spcPct val="100000"/>
              </a:lnSpc>
              <a:buFontTx/>
              <a:buNone/>
              <a:defRPr sz="800" spc="30" baseline="0">
                <a:solidFill>
                  <a:srgbClr val="A6A6A6"/>
                </a:solidFill>
                <a:latin typeface="Arial"/>
                <a:cs typeface="Arial"/>
              </a:defRPr>
            </a:lvl1pPr>
          </a:lstStyle>
          <a:p>
            <a:pPr lvl="0"/>
            <a:r>
              <a:rPr lang="en-US" noProof="0"/>
              <a:t>Job Title Goes Here</a:t>
            </a:r>
          </a:p>
        </p:txBody>
      </p:sp>
      <p:sp>
        <p:nvSpPr>
          <p:cNvPr id="6" name="Text Placeholder 2">
            <a:extLst>
              <a:ext uri="{FF2B5EF4-FFF2-40B4-BE49-F238E27FC236}">
                <a16:creationId xmlns:a16="http://schemas.microsoft.com/office/drawing/2014/main" id="{1D4F8474-2CEF-5646-BE05-88343C491B29}"/>
              </a:ext>
            </a:extLst>
          </p:cNvPr>
          <p:cNvSpPr>
            <a:spLocks noGrp="1"/>
          </p:cNvSpPr>
          <p:nvPr>
            <p:ph type="body" sz="quarter" idx="43" hasCustomPrompt="1"/>
          </p:nvPr>
        </p:nvSpPr>
        <p:spPr>
          <a:xfrm>
            <a:off x="2274923" y="4579190"/>
            <a:ext cx="1548000" cy="251346"/>
          </a:xfrm>
          <a:prstGeom prst="rect">
            <a:avLst/>
          </a:prstGeom>
          <a:noFill/>
        </p:spPr>
        <p:txBody>
          <a:bodyPr lIns="0" rIns="0" bIns="0" anchor="t">
            <a:noAutofit/>
          </a:bodyPr>
          <a:lstStyle>
            <a:lvl1pPr marL="0" indent="0" algn="ctr">
              <a:lnSpc>
                <a:spcPct val="100000"/>
              </a:lnSpc>
              <a:buFontTx/>
              <a:buNone/>
              <a:defRPr sz="1200" b="0" i="0" baseline="0">
                <a:solidFill>
                  <a:schemeClr val="accent2"/>
                </a:solidFill>
                <a:latin typeface="Arial"/>
                <a:cs typeface="Arial"/>
              </a:defRPr>
            </a:lvl1pPr>
          </a:lstStyle>
          <a:p>
            <a:pPr lvl="0"/>
            <a:r>
              <a:rPr lang="en-US" noProof="0"/>
              <a:t>First &amp; Last Name</a:t>
            </a:r>
          </a:p>
        </p:txBody>
      </p:sp>
      <p:sp>
        <p:nvSpPr>
          <p:cNvPr id="7" name="Picture Placeholder 13">
            <a:extLst>
              <a:ext uri="{FF2B5EF4-FFF2-40B4-BE49-F238E27FC236}">
                <a16:creationId xmlns:a16="http://schemas.microsoft.com/office/drawing/2014/main" id="{51021404-3668-B342-872B-4DA1A79273A5}"/>
              </a:ext>
            </a:extLst>
          </p:cNvPr>
          <p:cNvSpPr>
            <a:spLocks noGrp="1" noChangeAspect="1"/>
          </p:cNvSpPr>
          <p:nvPr>
            <p:ph type="pic" sz="quarter" idx="14" hasCustomPrompt="1"/>
          </p:nvPr>
        </p:nvSpPr>
        <p:spPr>
          <a:xfrm>
            <a:off x="2273935" y="2956876"/>
            <a:ext cx="1548988" cy="1548000"/>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noProof="0"/>
              <a:t>Drag  Your Picture Here</a:t>
            </a:r>
          </a:p>
        </p:txBody>
      </p:sp>
      <p:sp>
        <p:nvSpPr>
          <p:cNvPr id="20" name="Text Placeholder 4">
            <a:extLst>
              <a:ext uri="{FF2B5EF4-FFF2-40B4-BE49-F238E27FC236}">
                <a16:creationId xmlns:a16="http://schemas.microsoft.com/office/drawing/2014/main" id="{3209F0DE-94AB-0E43-B8C6-D214B7E0DE7D}"/>
              </a:ext>
            </a:extLst>
          </p:cNvPr>
          <p:cNvSpPr>
            <a:spLocks noGrp="1"/>
          </p:cNvSpPr>
          <p:nvPr>
            <p:ph type="body" sz="quarter" idx="44" hasCustomPrompt="1"/>
          </p:nvPr>
        </p:nvSpPr>
        <p:spPr>
          <a:xfrm>
            <a:off x="4306843" y="4873392"/>
            <a:ext cx="1548000" cy="207226"/>
          </a:xfrm>
          <a:prstGeom prst="rect">
            <a:avLst/>
          </a:prstGeom>
        </p:spPr>
        <p:txBody>
          <a:bodyPr tIns="0" bIns="0" anchor="t">
            <a:noAutofit/>
          </a:bodyPr>
          <a:lstStyle>
            <a:lvl1pPr marL="0" indent="0" algn="ctr">
              <a:lnSpc>
                <a:spcPct val="100000"/>
              </a:lnSpc>
              <a:buFontTx/>
              <a:buNone/>
              <a:defRPr sz="800" spc="30" baseline="0">
                <a:solidFill>
                  <a:srgbClr val="A6A6A6"/>
                </a:solidFill>
                <a:latin typeface="Arial"/>
                <a:cs typeface="Arial"/>
              </a:defRPr>
            </a:lvl1pPr>
          </a:lstStyle>
          <a:p>
            <a:pPr lvl="0"/>
            <a:r>
              <a:rPr lang="en-US" noProof="0"/>
              <a:t>Job Title Goes Here</a:t>
            </a:r>
          </a:p>
        </p:txBody>
      </p:sp>
      <p:sp>
        <p:nvSpPr>
          <p:cNvPr id="21" name="Text Placeholder 2">
            <a:extLst>
              <a:ext uri="{FF2B5EF4-FFF2-40B4-BE49-F238E27FC236}">
                <a16:creationId xmlns:a16="http://schemas.microsoft.com/office/drawing/2014/main" id="{D9030AE0-01E2-B14A-B385-FB123AF6A8C7}"/>
              </a:ext>
            </a:extLst>
          </p:cNvPr>
          <p:cNvSpPr>
            <a:spLocks noGrp="1"/>
          </p:cNvSpPr>
          <p:nvPr>
            <p:ph type="body" sz="quarter" idx="45" hasCustomPrompt="1"/>
          </p:nvPr>
        </p:nvSpPr>
        <p:spPr>
          <a:xfrm>
            <a:off x="4306843" y="4579190"/>
            <a:ext cx="1548000" cy="251346"/>
          </a:xfrm>
          <a:prstGeom prst="rect">
            <a:avLst/>
          </a:prstGeom>
          <a:noFill/>
        </p:spPr>
        <p:txBody>
          <a:bodyPr lIns="0" rIns="0" bIns="0" anchor="t">
            <a:noAutofit/>
          </a:bodyPr>
          <a:lstStyle>
            <a:lvl1pPr marL="0" indent="0" algn="ctr">
              <a:lnSpc>
                <a:spcPct val="100000"/>
              </a:lnSpc>
              <a:buFontTx/>
              <a:buNone/>
              <a:defRPr sz="1200" b="0" i="0" baseline="0">
                <a:solidFill>
                  <a:schemeClr val="accent2"/>
                </a:solidFill>
                <a:latin typeface="Arial"/>
                <a:cs typeface="Arial"/>
              </a:defRPr>
            </a:lvl1pPr>
          </a:lstStyle>
          <a:p>
            <a:pPr lvl="0"/>
            <a:r>
              <a:rPr lang="en-US" noProof="0"/>
              <a:t>First &amp; Last Name</a:t>
            </a:r>
          </a:p>
        </p:txBody>
      </p:sp>
      <p:sp>
        <p:nvSpPr>
          <p:cNvPr id="22" name="Picture Placeholder 13">
            <a:extLst>
              <a:ext uri="{FF2B5EF4-FFF2-40B4-BE49-F238E27FC236}">
                <a16:creationId xmlns:a16="http://schemas.microsoft.com/office/drawing/2014/main" id="{ADB62E2C-6AC3-654A-A657-D6A4901817FD}"/>
              </a:ext>
            </a:extLst>
          </p:cNvPr>
          <p:cNvSpPr>
            <a:spLocks noGrp="1" noChangeAspect="1"/>
          </p:cNvSpPr>
          <p:nvPr>
            <p:ph type="pic" sz="quarter" idx="46" hasCustomPrompt="1"/>
          </p:nvPr>
        </p:nvSpPr>
        <p:spPr>
          <a:xfrm>
            <a:off x="4305855" y="2956876"/>
            <a:ext cx="1548988" cy="1548000"/>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noProof="0"/>
              <a:t>Drag  Your Picture Here</a:t>
            </a:r>
          </a:p>
        </p:txBody>
      </p:sp>
      <p:sp>
        <p:nvSpPr>
          <p:cNvPr id="23" name="Text Placeholder 4">
            <a:extLst>
              <a:ext uri="{FF2B5EF4-FFF2-40B4-BE49-F238E27FC236}">
                <a16:creationId xmlns:a16="http://schemas.microsoft.com/office/drawing/2014/main" id="{20AF3068-6957-264E-97D6-677F971BCD87}"/>
              </a:ext>
            </a:extLst>
          </p:cNvPr>
          <p:cNvSpPr>
            <a:spLocks noGrp="1"/>
          </p:cNvSpPr>
          <p:nvPr>
            <p:ph type="body" sz="quarter" idx="47" hasCustomPrompt="1"/>
          </p:nvPr>
        </p:nvSpPr>
        <p:spPr>
          <a:xfrm>
            <a:off x="6338763" y="4873392"/>
            <a:ext cx="1548000" cy="207226"/>
          </a:xfrm>
          <a:prstGeom prst="rect">
            <a:avLst/>
          </a:prstGeom>
        </p:spPr>
        <p:txBody>
          <a:bodyPr tIns="0" bIns="0" anchor="t">
            <a:noAutofit/>
          </a:bodyPr>
          <a:lstStyle>
            <a:lvl1pPr marL="0" indent="0" algn="ctr">
              <a:lnSpc>
                <a:spcPct val="100000"/>
              </a:lnSpc>
              <a:buFontTx/>
              <a:buNone/>
              <a:defRPr sz="800" spc="30" baseline="0">
                <a:solidFill>
                  <a:srgbClr val="A6A6A6"/>
                </a:solidFill>
                <a:latin typeface="Arial"/>
                <a:cs typeface="Arial"/>
              </a:defRPr>
            </a:lvl1pPr>
          </a:lstStyle>
          <a:p>
            <a:pPr lvl="0"/>
            <a:r>
              <a:rPr lang="en-US" noProof="0"/>
              <a:t>Job Title Goes Here</a:t>
            </a:r>
          </a:p>
        </p:txBody>
      </p:sp>
      <p:sp>
        <p:nvSpPr>
          <p:cNvPr id="24" name="Text Placeholder 2">
            <a:extLst>
              <a:ext uri="{FF2B5EF4-FFF2-40B4-BE49-F238E27FC236}">
                <a16:creationId xmlns:a16="http://schemas.microsoft.com/office/drawing/2014/main" id="{E083DD15-E4E4-0344-9273-B24292ADA6F9}"/>
              </a:ext>
            </a:extLst>
          </p:cNvPr>
          <p:cNvSpPr>
            <a:spLocks noGrp="1"/>
          </p:cNvSpPr>
          <p:nvPr>
            <p:ph type="body" sz="quarter" idx="48" hasCustomPrompt="1"/>
          </p:nvPr>
        </p:nvSpPr>
        <p:spPr>
          <a:xfrm>
            <a:off x="6338763" y="4579190"/>
            <a:ext cx="1548000" cy="251346"/>
          </a:xfrm>
          <a:prstGeom prst="rect">
            <a:avLst/>
          </a:prstGeom>
          <a:noFill/>
        </p:spPr>
        <p:txBody>
          <a:bodyPr lIns="0" rIns="0" bIns="0" anchor="t">
            <a:noAutofit/>
          </a:bodyPr>
          <a:lstStyle>
            <a:lvl1pPr marL="0" indent="0" algn="ctr">
              <a:lnSpc>
                <a:spcPct val="100000"/>
              </a:lnSpc>
              <a:buFontTx/>
              <a:buNone/>
              <a:defRPr sz="1200" b="0" i="0" baseline="0">
                <a:solidFill>
                  <a:schemeClr val="accent2"/>
                </a:solidFill>
                <a:latin typeface="Arial"/>
                <a:cs typeface="Arial"/>
              </a:defRPr>
            </a:lvl1pPr>
          </a:lstStyle>
          <a:p>
            <a:pPr lvl="0"/>
            <a:r>
              <a:rPr lang="en-US" noProof="0"/>
              <a:t>First &amp; Last Name</a:t>
            </a:r>
          </a:p>
        </p:txBody>
      </p:sp>
      <p:sp>
        <p:nvSpPr>
          <p:cNvPr id="25" name="Picture Placeholder 13">
            <a:extLst>
              <a:ext uri="{FF2B5EF4-FFF2-40B4-BE49-F238E27FC236}">
                <a16:creationId xmlns:a16="http://schemas.microsoft.com/office/drawing/2014/main" id="{04D7FBDD-5B20-994C-A2E4-1C2B71DB65CD}"/>
              </a:ext>
            </a:extLst>
          </p:cNvPr>
          <p:cNvSpPr>
            <a:spLocks noGrp="1" noChangeAspect="1"/>
          </p:cNvSpPr>
          <p:nvPr>
            <p:ph type="pic" sz="quarter" idx="49" hasCustomPrompt="1"/>
          </p:nvPr>
        </p:nvSpPr>
        <p:spPr>
          <a:xfrm>
            <a:off x="6337775" y="2956876"/>
            <a:ext cx="1548988" cy="1548000"/>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noProof="0"/>
              <a:t>Drag  Your Picture Here</a:t>
            </a:r>
          </a:p>
        </p:txBody>
      </p:sp>
      <p:sp>
        <p:nvSpPr>
          <p:cNvPr id="26" name="Text Placeholder 4">
            <a:extLst>
              <a:ext uri="{FF2B5EF4-FFF2-40B4-BE49-F238E27FC236}">
                <a16:creationId xmlns:a16="http://schemas.microsoft.com/office/drawing/2014/main" id="{83B15853-2E52-E542-82FA-0D2948C293CC}"/>
              </a:ext>
            </a:extLst>
          </p:cNvPr>
          <p:cNvSpPr>
            <a:spLocks noGrp="1"/>
          </p:cNvSpPr>
          <p:nvPr>
            <p:ph type="body" sz="quarter" idx="50" hasCustomPrompt="1"/>
          </p:nvPr>
        </p:nvSpPr>
        <p:spPr>
          <a:xfrm>
            <a:off x="8370684" y="4873392"/>
            <a:ext cx="1548000" cy="207226"/>
          </a:xfrm>
          <a:prstGeom prst="rect">
            <a:avLst/>
          </a:prstGeom>
        </p:spPr>
        <p:txBody>
          <a:bodyPr tIns="0" bIns="0" anchor="t">
            <a:noAutofit/>
          </a:bodyPr>
          <a:lstStyle>
            <a:lvl1pPr marL="0" indent="0" algn="ctr">
              <a:lnSpc>
                <a:spcPct val="100000"/>
              </a:lnSpc>
              <a:buFontTx/>
              <a:buNone/>
              <a:defRPr sz="800" spc="30" baseline="0">
                <a:solidFill>
                  <a:srgbClr val="A6A6A6"/>
                </a:solidFill>
                <a:latin typeface="Arial"/>
                <a:cs typeface="Arial"/>
              </a:defRPr>
            </a:lvl1pPr>
          </a:lstStyle>
          <a:p>
            <a:pPr lvl="0"/>
            <a:r>
              <a:rPr lang="en-US" noProof="0"/>
              <a:t>Job Title Goes Here</a:t>
            </a:r>
          </a:p>
        </p:txBody>
      </p:sp>
      <p:sp>
        <p:nvSpPr>
          <p:cNvPr id="27" name="Text Placeholder 2">
            <a:extLst>
              <a:ext uri="{FF2B5EF4-FFF2-40B4-BE49-F238E27FC236}">
                <a16:creationId xmlns:a16="http://schemas.microsoft.com/office/drawing/2014/main" id="{BD26C6D8-180A-8C4B-B3E9-005B2E9799C9}"/>
              </a:ext>
            </a:extLst>
          </p:cNvPr>
          <p:cNvSpPr>
            <a:spLocks noGrp="1"/>
          </p:cNvSpPr>
          <p:nvPr>
            <p:ph type="body" sz="quarter" idx="51" hasCustomPrompt="1"/>
          </p:nvPr>
        </p:nvSpPr>
        <p:spPr>
          <a:xfrm>
            <a:off x="8370684" y="4579190"/>
            <a:ext cx="1548000" cy="251346"/>
          </a:xfrm>
          <a:prstGeom prst="rect">
            <a:avLst/>
          </a:prstGeom>
          <a:noFill/>
          <a:ln>
            <a:noFill/>
          </a:ln>
        </p:spPr>
        <p:txBody>
          <a:bodyPr lIns="0" rIns="0" bIns="0" anchor="t">
            <a:noAutofit/>
          </a:bodyPr>
          <a:lstStyle>
            <a:lvl1pPr marL="0" indent="0" algn="ctr">
              <a:lnSpc>
                <a:spcPct val="100000"/>
              </a:lnSpc>
              <a:buFontTx/>
              <a:buNone/>
              <a:defRPr sz="1200" b="0" i="0" baseline="0">
                <a:solidFill>
                  <a:schemeClr val="accent2"/>
                </a:solidFill>
                <a:latin typeface="Arial"/>
                <a:cs typeface="Arial"/>
              </a:defRPr>
            </a:lvl1pPr>
          </a:lstStyle>
          <a:p>
            <a:pPr lvl="0"/>
            <a:r>
              <a:rPr lang="en-US" noProof="0"/>
              <a:t>First &amp; Last Name</a:t>
            </a:r>
          </a:p>
        </p:txBody>
      </p:sp>
      <p:sp>
        <p:nvSpPr>
          <p:cNvPr id="28" name="Picture Placeholder 13">
            <a:extLst>
              <a:ext uri="{FF2B5EF4-FFF2-40B4-BE49-F238E27FC236}">
                <a16:creationId xmlns:a16="http://schemas.microsoft.com/office/drawing/2014/main" id="{4573C26F-DFA9-3144-835F-5CFC8E0DFB37}"/>
              </a:ext>
            </a:extLst>
          </p:cNvPr>
          <p:cNvSpPr>
            <a:spLocks noGrp="1" noChangeAspect="1"/>
          </p:cNvSpPr>
          <p:nvPr>
            <p:ph type="pic" sz="quarter" idx="52" hasCustomPrompt="1"/>
          </p:nvPr>
        </p:nvSpPr>
        <p:spPr>
          <a:xfrm>
            <a:off x="8369696" y="2956876"/>
            <a:ext cx="1548988" cy="1548000"/>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noProof="0"/>
              <a:t>Drag  Your Picture Here</a:t>
            </a:r>
          </a:p>
        </p:txBody>
      </p:sp>
      <p:sp>
        <p:nvSpPr>
          <p:cNvPr id="3" name="Footer Placeholder 2">
            <a:extLst>
              <a:ext uri="{FF2B5EF4-FFF2-40B4-BE49-F238E27FC236}">
                <a16:creationId xmlns:a16="http://schemas.microsoft.com/office/drawing/2014/main" id="{131EF6C5-A216-578F-F3C0-445B056A36A4}"/>
              </a:ext>
            </a:extLst>
          </p:cNvPr>
          <p:cNvSpPr>
            <a:spLocks noGrp="1"/>
          </p:cNvSpPr>
          <p:nvPr>
            <p:ph type="ftr" sz="quarter" idx="53"/>
          </p:nvPr>
        </p:nvSpPr>
        <p:spPr>
          <a:xfrm>
            <a:off x="587374" y="6335395"/>
            <a:ext cx="9236795" cy="225743"/>
          </a:xfrm>
          <a:prstGeom prst="rect">
            <a:avLst/>
          </a:prstGeom>
        </p:spPr>
        <p:txBody>
          <a:bodyPr/>
          <a:lstStyle/>
          <a:p>
            <a:endParaRPr lang="en-GB"/>
          </a:p>
        </p:txBody>
      </p:sp>
      <p:sp>
        <p:nvSpPr>
          <p:cNvPr id="5" name="Title 4">
            <a:extLst>
              <a:ext uri="{FF2B5EF4-FFF2-40B4-BE49-F238E27FC236}">
                <a16:creationId xmlns:a16="http://schemas.microsoft.com/office/drawing/2014/main" id="{42553437-D467-5266-D458-66041E5E791B}"/>
              </a:ext>
            </a:extLst>
          </p:cNvPr>
          <p:cNvSpPr>
            <a:spLocks noGrp="1"/>
          </p:cNvSpPr>
          <p:nvPr>
            <p:ph type="title"/>
          </p:nvPr>
        </p:nvSpPr>
        <p:spPr/>
        <p:txBody>
          <a:bodyPr/>
          <a:lstStyle/>
          <a:p>
            <a:r>
              <a:rPr lang="en-US"/>
              <a:t>Click to edit Master title style</a:t>
            </a:r>
            <a:endParaRPr lang="en-GB"/>
          </a:p>
        </p:txBody>
      </p:sp>
      <p:sp>
        <p:nvSpPr>
          <p:cNvPr id="33" name="Rechteck 3">
            <a:extLst>
              <a:ext uri="{FF2B5EF4-FFF2-40B4-BE49-F238E27FC236}">
                <a16:creationId xmlns:a16="http://schemas.microsoft.com/office/drawing/2014/main" id="{AB8B682F-B511-879B-BC88-FB0698F36008}"/>
              </a:ext>
            </a:extLst>
          </p:cNvPr>
          <p:cNvSpPr/>
          <p:nvPr userDrawn="1"/>
        </p:nvSpPr>
        <p:spPr>
          <a:xfrm>
            <a:off x="587375" y="1093156"/>
            <a:ext cx="850900" cy="86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Slide Number Placeholder 1">
            <a:extLst>
              <a:ext uri="{FF2B5EF4-FFF2-40B4-BE49-F238E27FC236}">
                <a16:creationId xmlns:a16="http://schemas.microsoft.com/office/drawing/2014/main" id="{67F4E161-E08E-4316-8E10-64D8BCB6D7D6}"/>
              </a:ext>
            </a:extLst>
          </p:cNvPr>
          <p:cNvSpPr>
            <a:spLocks noGrp="1"/>
          </p:cNvSpPr>
          <p:nvPr>
            <p:ph type="sldNum" sz="quarter" idx="4"/>
          </p:nvPr>
        </p:nvSpPr>
        <p:spPr>
          <a:xfrm>
            <a:off x="11619963" y="6327448"/>
            <a:ext cx="543756" cy="225743"/>
          </a:xfrm>
          <a:prstGeom prst="rect">
            <a:avLst/>
          </a:prstGeom>
        </p:spPr>
        <p:txBody>
          <a:bodyPr vert="horz" lIns="91440" tIns="45720" rIns="91440" bIns="0" rtlCol="0" anchor="b" anchorCtr="0"/>
          <a:lstStyle>
            <a:lvl1pPr algn="r">
              <a:defRPr lang="en-GB" sz="800" kern="1200" smtClean="0">
                <a:solidFill>
                  <a:schemeClr val="tx2"/>
                </a:solidFill>
                <a:latin typeface="+mn-lt"/>
                <a:ea typeface="+mn-ea"/>
                <a:cs typeface="+mn-cs"/>
              </a:defRPr>
            </a:lvl1pPr>
          </a:lstStyle>
          <a:p>
            <a:fld id="{2A412753-C9CB-431E-91F7-73E34BB151E8}" type="slidenum">
              <a:rPr lang="en-GB" smtClean="0"/>
              <a:pPr/>
              <a:t>‹Nr.›</a:t>
            </a:fld>
            <a:endParaRPr lang="en-GB"/>
          </a:p>
        </p:txBody>
      </p:sp>
    </p:spTree>
    <p:extLst>
      <p:ext uri="{BB962C8B-B14F-4D97-AF65-F5344CB8AC3E}">
        <p14:creationId xmlns:p14="http://schemas.microsoft.com/office/powerpoint/2010/main" val="11206061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pic>
        <p:nvPicPr>
          <p:cNvPr id="7" name="Immagin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20597" y="3208867"/>
            <a:ext cx="3950807" cy="440265"/>
          </a:xfrm>
          <a:prstGeom prst="rect">
            <a:avLst/>
          </a:prstGeom>
        </p:spPr>
      </p:pic>
    </p:spTree>
    <p:extLst>
      <p:ext uri="{BB962C8B-B14F-4D97-AF65-F5344CB8AC3E}">
        <p14:creationId xmlns:p14="http://schemas.microsoft.com/office/powerpoint/2010/main" val="506633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Logo with background">
    <p:bg>
      <p:bgPr>
        <a:solidFill>
          <a:schemeClr val="accent2"/>
        </a:solidFill>
        <a:effectLst/>
      </p:bgPr>
    </p:bg>
    <p:spTree>
      <p:nvGrpSpPr>
        <p:cNvPr id="1" name=""/>
        <p:cNvGrpSpPr/>
        <p:nvPr/>
      </p:nvGrpSpPr>
      <p:grpSpPr>
        <a:xfrm>
          <a:off x="0" y="0"/>
          <a:ext cx="0" cy="0"/>
          <a:chOff x="0" y="0"/>
          <a:chExt cx="0" cy="0"/>
        </a:xfrm>
      </p:grpSpPr>
      <p:pic>
        <p:nvPicPr>
          <p:cNvPr id="2" name="Immagine 1"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6" name="Immagine 5"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8" name="Immagine 7"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601" y="3208867"/>
            <a:ext cx="3950799" cy="440264"/>
          </a:xfrm>
          <a:prstGeom prst="rect">
            <a:avLst/>
          </a:prstGeom>
        </p:spPr>
      </p:pic>
    </p:spTree>
    <p:extLst>
      <p:ext uri="{BB962C8B-B14F-4D97-AF65-F5344CB8AC3E}">
        <p14:creationId xmlns:p14="http://schemas.microsoft.com/office/powerpoint/2010/main" val="9028288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ogo with background">
    <p:bg>
      <p:bgPr>
        <a:solidFill>
          <a:schemeClr val="accent2"/>
        </a:solidFill>
        <a:effectLst/>
      </p:bgPr>
    </p:bg>
    <p:spTree>
      <p:nvGrpSpPr>
        <p:cNvPr id="1" name=""/>
        <p:cNvGrpSpPr/>
        <p:nvPr/>
      </p:nvGrpSpPr>
      <p:grpSpPr>
        <a:xfrm>
          <a:off x="0" y="0"/>
          <a:ext cx="0" cy="0"/>
          <a:chOff x="0" y="0"/>
          <a:chExt cx="0" cy="0"/>
        </a:xfrm>
      </p:grpSpPr>
      <p:pic>
        <p:nvPicPr>
          <p:cNvPr id="2" name="Immagine 1"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6" name="Immagine 5"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8" name="Immagine 7"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9" name="Immagine 4" descr="logo.eps">
            <a:extLst>
              <a:ext uri="{FF2B5EF4-FFF2-40B4-BE49-F238E27FC236}">
                <a16:creationId xmlns:a16="http://schemas.microsoft.com/office/drawing/2014/main" id="{EB3A4135-849C-4E34-88CD-FDE9900D63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36200" y="6399872"/>
            <a:ext cx="1375832" cy="153319"/>
          </a:xfrm>
          <a:prstGeom prst="rect">
            <a:avLst/>
          </a:prstGeom>
        </p:spPr>
      </p:pic>
    </p:spTree>
    <p:extLst>
      <p:ext uri="{BB962C8B-B14F-4D97-AF65-F5344CB8AC3E}">
        <p14:creationId xmlns:p14="http://schemas.microsoft.com/office/powerpoint/2010/main" val="18030124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Logo white with background">
    <p:bg>
      <p:bgPr>
        <a:solidFill>
          <a:schemeClr val="accent2"/>
        </a:solidFill>
        <a:effectLst/>
      </p:bgPr>
    </p:bg>
    <p:spTree>
      <p:nvGrpSpPr>
        <p:cNvPr id="1" name=""/>
        <p:cNvGrpSpPr/>
        <p:nvPr/>
      </p:nvGrpSpPr>
      <p:grpSpPr>
        <a:xfrm>
          <a:off x="0" y="0"/>
          <a:ext cx="0" cy="0"/>
          <a:chOff x="0" y="0"/>
          <a:chExt cx="0" cy="0"/>
        </a:xfrm>
      </p:grpSpPr>
      <p:pic>
        <p:nvPicPr>
          <p:cNvPr id="2" name="Immagine 1"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6" name="Immagine 5"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8" name="Immagine 7"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601" y="3208867"/>
            <a:ext cx="3950799" cy="440265"/>
          </a:xfrm>
          <a:prstGeom prst="rect">
            <a:avLst/>
          </a:prstGeom>
        </p:spPr>
      </p:pic>
    </p:spTree>
    <p:extLst>
      <p:ext uri="{BB962C8B-B14F-4D97-AF65-F5344CB8AC3E}">
        <p14:creationId xmlns:p14="http://schemas.microsoft.com/office/powerpoint/2010/main" val="36673532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Logo white with background 2">
    <p:bg>
      <p:bgPr>
        <a:solidFill>
          <a:schemeClr val="accent1"/>
        </a:solidFill>
        <a:effectLst/>
      </p:bgPr>
    </p:bg>
    <p:spTree>
      <p:nvGrpSpPr>
        <p:cNvPr id="1" name=""/>
        <p:cNvGrpSpPr/>
        <p:nvPr/>
      </p:nvGrpSpPr>
      <p:grpSpPr>
        <a:xfrm>
          <a:off x="0" y="0"/>
          <a:ext cx="0" cy="0"/>
          <a:chOff x="0" y="0"/>
          <a:chExt cx="0" cy="0"/>
        </a:xfrm>
      </p:grpSpPr>
      <p:pic>
        <p:nvPicPr>
          <p:cNvPr id="11" name="Immagine 10"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12" name="Immagine 11"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13" name="Immagine 12"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descr="logo4.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597" y="3208867"/>
            <a:ext cx="3950807" cy="440266"/>
          </a:xfrm>
          <a:prstGeom prst="rect">
            <a:avLst/>
          </a:prstGeom>
        </p:spPr>
      </p:pic>
    </p:spTree>
    <p:extLst>
      <p:ext uri="{BB962C8B-B14F-4D97-AF65-F5344CB8AC3E}">
        <p14:creationId xmlns:p14="http://schemas.microsoft.com/office/powerpoint/2010/main" val="41659859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38620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Title">
            <a:extLst>
              <a:ext uri="{FF2B5EF4-FFF2-40B4-BE49-F238E27FC236}">
                <a16:creationId xmlns:a16="http://schemas.microsoft.com/office/drawing/2014/main" id="{7D1DF2BA-2419-4047-8FBB-9AE513EF0579}"/>
              </a:ext>
            </a:extLst>
          </p:cNvPr>
          <p:cNvSpPr>
            <a:spLocks noGrp="1"/>
          </p:cNvSpPr>
          <p:nvPr userDrawn="1">
            <p:ph type="title" hasCustomPrompt="1"/>
            <p:custDataLst>
              <p:tags r:id="rId3"/>
            </p:custDataLst>
          </p:nvPr>
        </p:nvSpPr>
        <p:spPr>
          <a:xfrm>
            <a:off x="559411" y="502407"/>
            <a:ext cx="4731259" cy="492443"/>
          </a:xfrm>
          <a:prstGeom prst="rect">
            <a:avLst/>
          </a:prstGeom>
        </p:spPr>
        <p:txBody>
          <a:bodyPr vert="horz" wrap="square" lIns="0" tIns="0" rIns="0" bIns="0" anchor="ctr">
            <a:spAutoFit/>
          </a:bodyPr>
          <a:lstStyle>
            <a:lvl1pPr algn="l">
              <a:defRPr sz="3200" baseline="0">
                <a:ln w="6350" cap="flat">
                  <a:noFill/>
                  <a:miter lim="800000"/>
                </a:ln>
                <a:solidFill>
                  <a:srgbClr val="004758"/>
                </a:solidFill>
              </a:defRPr>
            </a:lvl1pPr>
          </a:lstStyle>
          <a:p>
            <a:r>
              <a:rPr lang="en-US"/>
              <a:t>Title here</a:t>
            </a:r>
          </a:p>
        </p:txBody>
      </p:sp>
      <p:sp>
        <p:nvSpPr>
          <p:cNvPr id="8" name="Rounded Rectangle 7">
            <a:extLst>
              <a:ext uri="{FF2B5EF4-FFF2-40B4-BE49-F238E27FC236}">
                <a16:creationId xmlns:a16="http://schemas.microsoft.com/office/drawing/2014/main" id="{B348BF20-2484-2047-8F3D-DD468339C8E4}"/>
              </a:ext>
            </a:extLst>
          </p:cNvPr>
          <p:cNvSpPr/>
          <p:nvPr userDrawn="1"/>
        </p:nvSpPr>
        <p:spPr>
          <a:xfrm>
            <a:off x="559411" y="1014233"/>
            <a:ext cx="716288" cy="90434"/>
          </a:xfrm>
          <a:prstGeom prst="roundRect">
            <a:avLst>
              <a:gd name="adj" fmla="val 5000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E" sz="1600" err="1">
              <a:solidFill>
                <a:schemeClr val="bg1"/>
              </a:solidFill>
            </a:endParaRPr>
          </a:p>
        </p:txBody>
      </p:sp>
    </p:spTree>
    <p:extLst>
      <p:ext uri="{BB962C8B-B14F-4D97-AF65-F5344CB8AC3E}">
        <p14:creationId xmlns:p14="http://schemas.microsoft.com/office/powerpoint/2010/main" val="16786326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en-US"/>
              <a:t>Click to edit Master title style</a:t>
            </a:r>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406784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6FC25E5-8EC1-47F9-A856-5EFEA62BDE1A}"/>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2" name="Group 11">
            <a:extLst>
              <a:ext uri="{FF2B5EF4-FFF2-40B4-BE49-F238E27FC236}">
                <a16:creationId xmlns:a16="http://schemas.microsoft.com/office/drawing/2014/main" id="{0BE5718D-9E1E-46F6-B41C-83235F0DBB8D}"/>
              </a:ext>
            </a:extLst>
          </p:cNvPr>
          <p:cNvGrpSpPr/>
          <p:nvPr userDrawn="1"/>
        </p:nvGrpSpPr>
        <p:grpSpPr bwMode="ltGray">
          <a:xfrm>
            <a:off x="-10032" y="0"/>
            <a:ext cx="12202031" cy="6858000"/>
            <a:chOff x="-10032" y="0"/>
            <a:chExt cx="12202031" cy="6858000"/>
          </a:xfrm>
        </p:grpSpPr>
        <p:pic>
          <p:nvPicPr>
            <p:cNvPr id="13" name="Picture 12">
              <a:extLst>
                <a:ext uri="{FF2B5EF4-FFF2-40B4-BE49-F238E27FC236}">
                  <a16:creationId xmlns:a16="http://schemas.microsoft.com/office/drawing/2014/main" id="{C8F12793-DF62-4D30-AA4A-F1D29DEAD4E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bwMode="ltGray">
            <a:xfrm>
              <a:off x="0" y="3176"/>
              <a:ext cx="12191999" cy="6854824"/>
            </a:xfrm>
            <a:prstGeom prst="rect">
              <a:avLst/>
            </a:prstGeom>
          </p:spPr>
        </p:pic>
        <p:pic>
          <p:nvPicPr>
            <p:cNvPr id="18" name="Immagine 13">
              <a:extLst>
                <a:ext uri="{FF2B5EF4-FFF2-40B4-BE49-F238E27FC236}">
                  <a16:creationId xmlns:a16="http://schemas.microsoft.com/office/drawing/2014/main" id="{46937E8D-8556-4857-B397-B38ACA653B9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bwMode="ltGray">
            <a:xfrm>
              <a:off x="5405448" y="6600815"/>
              <a:ext cx="1375832" cy="153318"/>
            </a:xfrm>
            <a:prstGeom prst="rect">
              <a:avLst/>
            </a:prstGeom>
          </p:spPr>
        </p:pic>
        <p:sp>
          <p:nvSpPr>
            <p:cNvPr id="19" name="Trapezoid 18">
              <a:extLst>
                <a:ext uri="{FF2B5EF4-FFF2-40B4-BE49-F238E27FC236}">
                  <a16:creationId xmlns:a16="http://schemas.microsoft.com/office/drawing/2014/main" id="{42446296-BAC4-4272-BF84-277CBA5792CE}"/>
                </a:ext>
              </a:extLst>
            </p:cNvPr>
            <p:cNvSpPr/>
            <p:nvPr/>
          </p:nvSpPr>
          <p:spPr bwMode="ltGray">
            <a:xfrm>
              <a:off x="81565" y="192276"/>
              <a:ext cx="4155155" cy="6662548"/>
            </a:xfrm>
            <a:prstGeom prst="trapezoid">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Parallelogram 21">
              <a:extLst>
                <a:ext uri="{FF2B5EF4-FFF2-40B4-BE49-F238E27FC236}">
                  <a16:creationId xmlns:a16="http://schemas.microsoft.com/office/drawing/2014/main" id="{47444424-A413-4D37-A872-D4AAB6BB0058}"/>
                </a:ext>
              </a:extLst>
            </p:cNvPr>
            <p:cNvSpPr/>
            <p:nvPr/>
          </p:nvSpPr>
          <p:spPr bwMode="ltGray">
            <a:xfrm>
              <a:off x="-10032" y="0"/>
              <a:ext cx="4155155" cy="6854824"/>
            </a:xfrm>
            <a:prstGeom prst="parallelogram">
              <a:avLst>
                <a:gd name="adj" fmla="val 22249"/>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3" name="Documenttype">
            <a:extLst>
              <a:ext uri="{FF2B5EF4-FFF2-40B4-BE49-F238E27FC236}">
                <a16:creationId xmlns:a16="http://schemas.microsoft.com/office/drawing/2014/main" id="{52522ABC-9AC4-41CC-8702-5D10B853E7B2}"/>
              </a:ext>
            </a:extLst>
          </p:cNvPr>
          <p:cNvSpPr>
            <a:spLocks noGrp="1"/>
          </p:cNvSpPr>
          <p:nvPr>
            <p:ph type="body" sz="quarter" idx="13" hasCustomPrompt="1"/>
            <p:custDataLst>
              <p:tags r:id="rId3"/>
            </p:custDataLst>
          </p:nvPr>
        </p:nvSpPr>
        <p:spPr>
          <a:xfrm>
            <a:off x="701964" y="5997606"/>
            <a:ext cx="2355272" cy="215444"/>
          </a:xfrm>
          <a:prstGeom prst="rect">
            <a:avLst/>
          </a:prstGeom>
        </p:spPr>
        <p:txBody>
          <a:bodyPr wrap="square">
            <a:noAutofit/>
          </a:bodyPr>
          <a:lstStyle>
            <a:lvl1pPr algn="l"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24" name="Subtitle">
            <a:extLst>
              <a:ext uri="{FF2B5EF4-FFF2-40B4-BE49-F238E27FC236}">
                <a16:creationId xmlns:a16="http://schemas.microsoft.com/office/drawing/2014/main" id="{1DF3A515-E523-41C5-A0B9-CFFF884D2051}"/>
              </a:ext>
            </a:extLst>
          </p:cNvPr>
          <p:cNvSpPr>
            <a:spLocks noGrp="1"/>
          </p:cNvSpPr>
          <p:nvPr>
            <p:ph type="subTitle" idx="1"/>
            <p:custDataLst>
              <p:tags r:id="rId4"/>
            </p:custDataLst>
          </p:nvPr>
        </p:nvSpPr>
        <p:spPr>
          <a:xfrm>
            <a:off x="701964" y="5017279"/>
            <a:ext cx="2355272" cy="553998"/>
          </a:xfrm>
          <a:prstGeom prst="rect">
            <a:avLst/>
          </a:prstGeom>
        </p:spPr>
        <p:txBody>
          <a:bodyPr wrap="square">
            <a:noAutofit/>
          </a:bodyPr>
          <a:lstStyle>
            <a:lvl1pPr marL="0" indent="0" algn="l" rtl="0">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5" name="Title">
            <a:extLst>
              <a:ext uri="{FF2B5EF4-FFF2-40B4-BE49-F238E27FC236}">
                <a16:creationId xmlns:a16="http://schemas.microsoft.com/office/drawing/2014/main" id="{24055A78-2633-4D79-B911-CA5A9E3BD7C0}"/>
              </a:ext>
            </a:extLst>
          </p:cNvPr>
          <p:cNvSpPr>
            <a:spLocks noGrp="1"/>
          </p:cNvSpPr>
          <p:nvPr>
            <p:ph type="title" hasCustomPrompt="1"/>
            <p:custDataLst>
              <p:tags r:id="rId5"/>
            </p:custDataLst>
          </p:nvPr>
        </p:nvSpPr>
        <p:spPr>
          <a:xfrm>
            <a:off x="701964" y="3456760"/>
            <a:ext cx="2576946" cy="1477328"/>
          </a:xfrm>
          <a:prstGeom prst="rect">
            <a:avLst/>
          </a:prstGeom>
        </p:spPr>
        <p:txBody>
          <a:bodyPr vert="horz" wrap="square" anchor="b">
            <a:noAutofit/>
          </a:bodyPr>
          <a:lstStyle>
            <a:lvl1pPr algn="l" rtl="0">
              <a:defRPr sz="3200" baseline="0">
                <a:ln w="6350" cap="flat">
                  <a:noFill/>
                  <a:miter lim="800000"/>
                </a:ln>
                <a:solidFill>
                  <a:schemeClr val="tx1"/>
                </a:solidFill>
              </a:defRPr>
            </a:lvl1pPr>
          </a:lstStyle>
          <a:p>
            <a:r>
              <a:rPr lang="en-US" dirty="0"/>
              <a:t>Click to edit </a:t>
            </a:r>
            <a:br>
              <a:rPr lang="en-US" dirty="0"/>
            </a:br>
            <a:r>
              <a:rPr lang="en-US" dirty="0"/>
              <a:t>Master title style</a:t>
            </a:r>
          </a:p>
        </p:txBody>
      </p:sp>
    </p:spTree>
    <p:extLst>
      <p:ext uri="{BB962C8B-B14F-4D97-AF65-F5344CB8AC3E}">
        <p14:creationId xmlns:p14="http://schemas.microsoft.com/office/powerpoint/2010/main" val="27030654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307128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5693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1122533"/>
            <a:ext cx="110825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800" b="0" dirty="0"/>
            </a:lvl1pPr>
          </a:lstStyle>
          <a:p>
            <a:pPr lvl="0"/>
            <a:r>
              <a:rPr lang="en-US" dirty="0"/>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482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E6BD8E0D-6B22-4FFA-9B8A-AF3B88D3F19D}"/>
              </a:ext>
            </a:extLst>
          </p:cNvPr>
          <p:cNvSpPr>
            <a:spLocks noChangeArrowheads="1"/>
          </p:cNvSpPr>
          <p:nvPr userDrawn="1">
            <p:custDataLst>
              <p:tags r:id="rId7"/>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825288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448459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861774"/>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4"/>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7" name="Slide Number">
            <a:extLst>
              <a:ext uri="{FF2B5EF4-FFF2-40B4-BE49-F238E27FC236}">
                <a16:creationId xmlns:a16="http://schemas.microsoft.com/office/drawing/2014/main" id="{3191DF32-AD8A-44AC-9004-6FA848FBB9E5}"/>
              </a:ext>
            </a:extLst>
          </p:cNvPr>
          <p:cNvSpPr>
            <a:spLocks noChangeArrowheads="1"/>
          </p:cNvSpPr>
          <p:nvPr userDrawn="1">
            <p:custDataLst>
              <p:tags r:id="rId6"/>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6687157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510957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4"/>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78802C7D-BC0F-41B1-AB83-A8A11CBA6844}"/>
              </a:ext>
            </a:extLst>
          </p:cNvPr>
          <p:cNvSpPr>
            <a:spLocks noChangeArrowheads="1"/>
          </p:cNvSpPr>
          <p:nvPr userDrawn="1">
            <p:custDataLst>
              <p:tags r:id="rId6"/>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2418202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960557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4"/>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5E90407F-55D7-42CA-B797-7766CD51F970}"/>
              </a:ext>
            </a:extLst>
          </p:cNvPr>
          <p:cNvSpPr>
            <a:spLocks noChangeArrowheads="1"/>
          </p:cNvSpPr>
          <p:nvPr userDrawn="1">
            <p:custDataLst>
              <p:tags r:id="rId6"/>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81907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2469621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5"/>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855EB6F9-7875-4EDE-8F64-C9F61AD424E5}"/>
              </a:ext>
            </a:extLst>
          </p:cNvPr>
          <p:cNvSpPr>
            <a:spLocks noChangeArrowheads="1"/>
          </p:cNvSpPr>
          <p:nvPr userDrawn="1">
            <p:custDataLst>
              <p:tags r:id="rId7"/>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262618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643778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rtl="0">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1F54F545-324B-4C1A-A439-F093690970AB}"/>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A9CABE1B-DCB6-406F-AE2E-2E0D7EDDB183}"/>
              </a:ext>
            </a:extLst>
          </p:cNvPr>
          <p:cNvPicPr>
            <a:picLocks noChangeAspect="1"/>
          </p:cNvPicPr>
          <p:nvPr userDrawn="1"/>
        </p:nvPicPr>
        <p:blipFill>
          <a:blip r:embed="rId12">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4" name="Rechteck 3">
            <a:extLst>
              <a:ext uri="{FF2B5EF4-FFF2-40B4-BE49-F238E27FC236}">
                <a16:creationId xmlns:a16="http://schemas.microsoft.com/office/drawing/2014/main" id="{BB723138-13E1-4F1D-A858-4C6B662A62CA}"/>
              </a:ext>
            </a:extLst>
          </p:cNvPr>
          <p:cNvSpPr/>
          <p:nvPr userDrawn="1"/>
        </p:nvSpPr>
        <p:spPr bwMode="ltGray">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5" name="Footer Placeholder 4">
            <a:extLst>
              <a:ext uri="{FF2B5EF4-FFF2-40B4-BE49-F238E27FC236}">
                <a16:creationId xmlns:a16="http://schemas.microsoft.com/office/drawing/2014/main" id="{E21D277A-6F8C-4AAB-8FB4-CB249167D538}"/>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dirty="0">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6947635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01064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rtl="0">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028D67C9-BA77-47E5-93F2-D863ACAEB03F}"/>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5F0260AF-36B0-4CC8-8755-E45CF8989AD4}"/>
              </a:ext>
            </a:extLst>
          </p:cNvPr>
          <p:cNvPicPr>
            <a:picLocks noChangeAspect="1"/>
          </p:cNvPicPr>
          <p:nvPr userDrawn="1"/>
        </p:nvPicPr>
        <p:blipFill>
          <a:blip r:embed="rId12">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92C7D169-65C1-482A-8877-EF7E4301E7FA}"/>
              </a:ext>
            </a:extLst>
          </p:cNvPr>
          <p:cNvSpPr/>
          <p:nvPr userDrawn="1"/>
        </p:nvSpPr>
        <p:spPr bwMode="ltGray">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4" name="Footer Placeholder 4">
            <a:extLst>
              <a:ext uri="{FF2B5EF4-FFF2-40B4-BE49-F238E27FC236}">
                <a16:creationId xmlns:a16="http://schemas.microsoft.com/office/drawing/2014/main" id="{3A88B2F5-865B-4E09-83BA-24F9EE1E6B77}"/>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dirty="0">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13639557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640245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556932"/>
            <a:ext cx="5065776" cy="384721"/>
          </a:xfrm>
        </p:spPr>
        <p:txBody>
          <a:bodyPr vert="horz">
            <a:spAutoFit/>
          </a:bodyPr>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1122533"/>
            <a:ext cx="5065776" cy="276999"/>
          </a:xfrm>
          <a:prstGeom prst="rect">
            <a:avLst/>
          </a:prstGeom>
        </p:spPr>
        <p:txBody>
          <a:bodyPr wrap="square">
            <a:spAutoFit/>
          </a:bodyPr>
          <a:lstStyle>
            <a:lvl1pPr marL="0" indent="0" algn="l" rtl="0">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AC0A13A2-6662-416E-B51C-9A64E8699E0B}"/>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EE3B2468-8164-47CE-834B-A12F7959ED58}"/>
              </a:ext>
            </a:extLst>
          </p:cNvPr>
          <p:cNvPicPr>
            <a:picLocks noChangeAspect="1"/>
          </p:cNvPicPr>
          <p:nvPr userDrawn="1"/>
        </p:nvPicPr>
        <p:blipFill>
          <a:blip r:embed="rId12">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4E873BCC-1C47-4EBB-9069-87E58CC13FBF}"/>
              </a:ext>
            </a:extLst>
          </p:cNvPr>
          <p:cNvSpPr/>
          <p:nvPr userDrawn="1"/>
        </p:nvSpPr>
        <p:spPr bwMode="ltGray">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4" name="Footer Placeholder 4">
            <a:extLst>
              <a:ext uri="{FF2B5EF4-FFF2-40B4-BE49-F238E27FC236}">
                <a16:creationId xmlns:a16="http://schemas.microsoft.com/office/drawing/2014/main" id="{B476783B-4394-4383-8D0A-8F663B01ABA4}"/>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dirty="0">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12487375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29837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56932"/>
            <a:ext cx="6967728" cy="384721"/>
          </a:xfrm>
        </p:spPr>
        <p:txBody>
          <a:bodyPr vert="horz">
            <a:spAutoFit/>
          </a:bodyPr>
          <a:lstStyle>
            <a:lvl1pPr rtl="0">
              <a:defRPr>
                <a:solidFill>
                  <a:schemeClr val="bg2"/>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1122533"/>
            <a:ext cx="6967728" cy="276999"/>
          </a:xfrm>
          <a:prstGeom prst="rect">
            <a:avLst/>
          </a:prstGeom>
        </p:spPr>
        <p:txBody>
          <a:bodyPr wrap="square">
            <a:spAutoFit/>
          </a:bodyPr>
          <a:lstStyle>
            <a:lvl1pPr marL="0" indent="0" algn="l" rtl="0">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482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910F8AF2-C2BF-49DC-AF19-1370382A87D2}"/>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833FB9B0-0303-4D6E-822D-2728CF4A9818}"/>
              </a:ext>
            </a:extLst>
          </p:cNvPr>
          <p:cNvPicPr>
            <a:picLocks noChangeAspect="1"/>
          </p:cNvPicPr>
          <p:nvPr userDrawn="1"/>
        </p:nvPicPr>
        <p:blipFill>
          <a:blip r:embed="rId12">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4E37FB02-3CD9-4C50-B1B1-6EB4FE5BCBFF}"/>
              </a:ext>
            </a:extLst>
          </p:cNvPr>
          <p:cNvSpPr/>
          <p:nvPr userDrawn="1"/>
        </p:nvSpPr>
        <p:spPr>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4" name="Footer Placeholder 4">
            <a:extLst>
              <a:ext uri="{FF2B5EF4-FFF2-40B4-BE49-F238E27FC236}">
                <a16:creationId xmlns:a16="http://schemas.microsoft.com/office/drawing/2014/main" id="{4B3CBAA1-035C-42E6-A46D-F81B146E2992}"/>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dirty="0">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1141317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a:t>Agenda</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969264" y="2397324"/>
            <a:ext cx="9216000" cy="3409752"/>
          </a:xfrm>
          <a:prstGeom prst="rect">
            <a:avLst/>
          </a:prstGeom>
        </p:spPr>
        <p:txBody>
          <a:bodyPr tIns="182880">
            <a:noAutofit/>
          </a:bodyPr>
          <a:lstStyle>
            <a:lvl1pPr marL="0" indent="0" algn="l">
              <a:spcAft>
                <a:spcPts val="300"/>
              </a:spcAft>
              <a:buNone/>
              <a:defRPr sz="1800" b="1">
                <a:solidFill>
                  <a:schemeClr val="tx1"/>
                </a:solidFill>
              </a:defRPr>
            </a:lvl1pPr>
            <a:lvl2pPr marL="0" indent="0" algn="l">
              <a:spcBef>
                <a:spcPts val="0"/>
              </a:spcBef>
              <a:spcAft>
                <a:spcPts val="300"/>
              </a:spcAft>
              <a:buFont typeface="Arial" panose="020B0604020202020204" pitchFamily="34" charset="0"/>
              <a:buNone/>
              <a:defRPr sz="1800" b="1"/>
            </a:lvl2pPr>
            <a:lvl3pPr marL="0" indent="0" algn="l">
              <a:spcAft>
                <a:spcPts val="300"/>
              </a:spcAft>
              <a:buFont typeface="Arial" panose="020B0604020202020204" pitchFamily="34" charset="0"/>
              <a:buNone/>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a:t>Click to edit the contact</a:t>
            </a:r>
          </a:p>
          <a:p>
            <a:pPr lvl="1"/>
            <a:r>
              <a:rPr lang="en-US"/>
              <a:t>Topic</a:t>
            </a:r>
          </a:p>
          <a:p>
            <a:pPr lvl="1"/>
            <a:r>
              <a:rPr lang="en-US"/>
              <a:t>Topic</a:t>
            </a:r>
          </a:p>
          <a:p>
            <a:pPr lvl="1"/>
            <a:r>
              <a:rPr lang="en-US"/>
              <a:t>Topic</a:t>
            </a:r>
          </a:p>
          <a:p>
            <a:pPr lvl="1"/>
            <a:r>
              <a:rPr lang="en-US"/>
              <a:t>No bullets</a:t>
            </a:r>
          </a:p>
          <a:p>
            <a:pPr lvl="2"/>
            <a:endParaRPr lang="en-US"/>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273022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783482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556932"/>
            <a:ext cx="7918704" cy="384721"/>
          </a:xfrm>
        </p:spPr>
        <p:txBody>
          <a:bodyPr vert="horz">
            <a:spAutoFit/>
          </a:bodyPr>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1122533"/>
            <a:ext cx="7918704" cy="276999"/>
          </a:xfrm>
          <a:prstGeom prst="rect">
            <a:avLst/>
          </a:prstGeom>
        </p:spPr>
        <p:txBody>
          <a:bodyPr wrap="square">
            <a:spAutoFit/>
          </a:bodyPr>
          <a:lstStyle>
            <a:lvl1pPr marL="0" indent="0" algn="l" rtl="0">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3F36DF70-2F32-484C-A9FC-BF36F5D4D57F}"/>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F5CC81C1-5E8E-4E72-851B-55CB176BD9CA}"/>
              </a:ext>
            </a:extLst>
          </p:cNvPr>
          <p:cNvPicPr>
            <a:picLocks noChangeAspect="1"/>
          </p:cNvPicPr>
          <p:nvPr userDrawn="1"/>
        </p:nvPicPr>
        <p:blipFill>
          <a:blip r:embed="rId12">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5CCF06D7-679C-437B-B0B1-3863C73218E3}"/>
              </a:ext>
            </a:extLst>
          </p:cNvPr>
          <p:cNvSpPr/>
          <p:nvPr userDrawn="1"/>
        </p:nvSpPr>
        <p:spPr bwMode="ltGray">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561457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57488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556932"/>
            <a:ext cx="11082528" cy="384721"/>
          </a:xfrm>
        </p:spPr>
        <p:txBody>
          <a:bodyPr vert="horz">
            <a:noAutofit/>
          </a:bodyPr>
          <a:lstStyle>
            <a:lvl1pPr rtl="0">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7" name="Slide Number">
            <a:extLst>
              <a:ext uri="{FF2B5EF4-FFF2-40B4-BE49-F238E27FC236}">
                <a16:creationId xmlns:a16="http://schemas.microsoft.com/office/drawing/2014/main" id="{84A6E6B2-B858-4DE0-AB14-C582798AA128}"/>
              </a:ext>
            </a:extLst>
          </p:cNvPr>
          <p:cNvSpPr>
            <a:spLocks noChangeArrowheads="1"/>
          </p:cNvSpPr>
          <p:nvPr userDrawn="1">
            <p:custDataLst>
              <p:tags r:id="rId6"/>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
        <p:nvSpPr>
          <p:cNvPr id="9" name="Footer Placeholder 4">
            <a:extLst>
              <a:ext uri="{FF2B5EF4-FFF2-40B4-BE49-F238E27FC236}">
                <a16:creationId xmlns:a16="http://schemas.microsoft.com/office/drawing/2014/main" id="{7D1D7D56-01DF-461A-94DC-A51CA812C090}"/>
              </a:ext>
            </a:extLst>
          </p:cNvPr>
          <p:cNvSpPr txBox="1">
            <a:spLocks/>
          </p:cNvSpPr>
          <p:nvPr userDrawn="1"/>
        </p:nvSpPr>
        <p:spPr bwMode="gray">
          <a:xfrm flipH="1">
            <a:off x="885069" y="6657610"/>
            <a:ext cx="858933"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baseline="0" dirty="0">
                <a:solidFill>
                  <a:schemeClr val="tx1"/>
                </a:solidFill>
                <a:latin typeface="+mn-lt"/>
              </a:rPr>
              <a:t>Confidential</a:t>
            </a:r>
          </a:p>
        </p:txBody>
      </p:sp>
      <p:pic>
        <p:nvPicPr>
          <p:cNvPr id="11" name="Immagine 4" descr="logo.eps">
            <a:extLst>
              <a:ext uri="{FF2B5EF4-FFF2-40B4-BE49-F238E27FC236}">
                <a16:creationId xmlns:a16="http://schemas.microsoft.com/office/drawing/2014/main" id="{D62AC547-B919-4B6C-8E1A-509064889A61}"/>
              </a:ext>
            </a:extLst>
          </p:cNvPr>
          <p:cNvPicPr>
            <a:picLocks noChangeAspect="1"/>
          </p:cNvPicPr>
          <p:nvPr userDrawn="1"/>
        </p:nvPicPr>
        <p:blipFill>
          <a:blip r:embed="rId10">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2" name="Rechteck 3">
            <a:extLst>
              <a:ext uri="{FF2B5EF4-FFF2-40B4-BE49-F238E27FC236}">
                <a16:creationId xmlns:a16="http://schemas.microsoft.com/office/drawing/2014/main" id="{236159B0-7507-4310-876F-2FC3E056CAF6}"/>
              </a:ext>
            </a:extLst>
          </p:cNvPr>
          <p:cNvSpPr/>
          <p:nvPr userDrawn="1"/>
        </p:nvSpPr>
        <p:spPr bwMode="ltGray">
          <a:xfrm>
            <a:off x="554736" y="981293"/>
            <a:ext cx="850900" cy="10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42650424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990255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2"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4" name="Immagine 4" descr="logo.eps">
            <a:extLst>
              <a:ext uri="{FF2B5EF4-FFF2-40B4-BE49-F238E27FC236}">
                <a16:creationId xmlns:a16="http://schemas.microsoft.com/office/drawing/2014/main" id="{93E2FE5F-E8CC-4262-95DF-E89515E1650F}"/>
              </a:ext>
            </a:extLst>
          </p:cNvPr>
          <p:cNvPicPr>
            <a:picLocks noChangeAspect="1"/>
          </p:cNvPicPr>
          <p:nvPr userDrawn="1"/>
        </p:nvPicPr>
        <p:blipFill>
          <a:blip r:embed="rId6">
            <a:lum bright="100000"/>
            <a:extLst>
              <a:ext uri="{28A0092B-C50C-407E-A947-70E740481C1C}">
                <a14:useLocalDpi xmlns:a14="http://schemas.microsoft.com/office/drawing/2010/main" val="0"/>
              </a:ext>
            </a:extLst>
          </a:blip>
          <a:stretch>
            <a:fillRect/>
          </a:stretch>
        </p:blipFill>
        <p:spPr>
          <a:xfrm>
            <a:off x="3468914" y="3136248"/>
            <a:ext cx="5254172" cy="585506"/>
          </a:xfrm>
          <a:prstGeom prst="rect">
            <a:avLst/>
          </a:prstGeom>
        </p:spPr>
      </p:pic>
    </p:spTree>
    <p:extLst>
      <p:ext uri="{BB962C8B-B14F-4D97-AF65-F5344CB8AC3E}">
        <p14:creationId xmlns:p14="http://schemas.microsoft.com/office/powerpoint/2010/main" val="18693378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1_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83782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556932"/>
            <a:ext cx="7918704" cy="384721"/>
          </a:xfrm>
        </p:spPr>
        <p:txBody>
          <a:bodyPr vert="horz">
            <a:spAutoFit/>
          </a:bodyPr>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1122533"/>
            <a:ext cx="7918704" cy="276999"/>
          </a:xfrm>
          <a:prstGeom prst="rect">
            <a:avLst/>
          </a:prstGeom>
        </p:spPr>
        <p:txBody>
          <a:bodyPr wrap="square">
            <a:spAutoFit/>
          </a:bodyPr>
          <a:lstStyle>
            <a:lvl1pPr marL="0" indent="0" algn="l" rtl="0">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9" name="Slide Number">
            <a:extLst>
              <a:ext uri="{FF2B5EF4-FFF2-40B4-BE49-F238E27FC236}">
                <a16:creationId xmlns:a16="http://schemas.microsoft.com/office/drawing/2014/main" id="{3F36DF70-2F32-484C-A9FC-BF36F5D4D57F}"/>
              </a:ext>
            </a:extLst>
          </p:cNvPr>
          <p:cNvSpPr>
            <a:spLocks noChangeArrowheads="1"/>
          </p:cNvSpPr>
          <p:nvPr userDrawn="1">
            <p:custDataLst>
              <p:tags r:id="rId7"/>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F5CC81C1-5E8E-4E72-851B-55CB176BD9CA}"/>
              </a:ext>
            </a:extLst>
          </p:cNvPr>
          <p:cNvPicPr>
            <a:picLocks noChangeAspect="1"/>
          </p:cNvPicPr>
          <p:nvPr userDrawn="1"/>
        </p:nvPicPr>
        <p:blipFill>
          <a:blip r:embed="rId11">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5CCF06D7-679C-437B-B0B1-3863C73218E3}"/>
              </a:ext>
            </a:extLst>
          </p:cNvPr>
          <p:cNvSpPr/>
          <p:nvPr userDrawn="1"/>
        </p:nvSpPr>
        <p:spPr bwMode="ltGray">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4" name="Footer Placeholder 4">
            <a:extLst>
              <a:ext uri="{FF2B5EF4-FFF2-40B4-BE49-F238E27FC236}">
                <a16:creationId xmlns:a16="http://schemas.microsoft.com/office/drawing/2014/main" id="{E5A00D79-712D-4988-92BC-6B3B093CEC24}"/>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dirty="0">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22913425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ntent 2">
    <p:bg>
      <p:bgPr>
        <a:solidFill>
          <a:schemeClr val="bg1"/>
        </a:solidFill>
        <a:effectLst/>
      </p:bgPr>
    </p:bg>
    <p:spTree>
      <p:nvGrpSpPr>
        <p:cNvPr id="1" name=""/>
        <p:cNvGrpSpPr/>
        <p:nvPr/>
      </p:nvGrpSpPr>
      <p:grpSpPr>
        <a:xfrm>
          <a:off x="0" y="0"/>
          <a:ext cx="0" cy="0"/>
          <a:chOff x="0" y="0"/>
          <a:chExt cx="0" cy="0"/>
        </a:xfrm>
      </p:grpSpPr>
      <p:sp>
        <p:nvSpPr>
          <p:cNvPr id="15"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Segnaposto testo 5"/>
          <p:cNvSpPr>
            <a:spLocks noGrp="1"/>
          </p:cNvSpPr>
          <p:nvPr>
            <p:ph type="body" sz="quarter" idx="13"/>
          </p:nvPr>
        </p:nvSpPr>
        <p:spPr>
          <a:xfrm>
            <a:off x="518658" y="1333219"/>
            <a:ext cx="11170163" cy="4908663"/>
          </a:xfrm>
          <a:prstGeom prst="rect">
            <a:avLst/>
          </a:prstGeom>
        </p:spPr>
        <p:txBody>
          <a:bodyPr lIns="108000"/>
          <a:lstStyle>
            <a:lvl1pPr marL="0" indent="0">
              <a:lnSpc>
                <a:spcPct val="130000"/>
              </a:lnSpc>
              <a:buNone/>
              <a:defRPr>
                <a:solidFill>
                  <a:srgbClr val="656565"/>
                </a:solidFill>
              </a:defRPr>
            </a:lvl1pPr>
          </a:lstStyle>
          <a:p>
            <a:pPr lvl="0"/>
            <a:r>
              <a:rPr lang="it-IT" dirty="0"/>
              <a:t>Fare clic per modificare gli stili del testo dello schema</a:t>
            </a:r>
          </a:p>
        </p:txBody>
      </p:sp>
      <p:sp>
        <p:nvSpPr>
          <p:cNvPr id="22"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baseline="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dirty="0" err="1"/>
              <a:t>Chapter</a:t>
            </a:r>
            <a:r>
              <a:rPr lang="it-IT" dirty="0"/>
              <a:t> | </a:t>
            </a:r>
            <a:r>
              <a:rPr lang="it-IT" dirty="0" err="1"/>
              <a:t>Key</a:t>
            </a:r>
            <a:r>
              <a:rPr lang="it-IT" dirty="0"/>
              <a:t> </a:t>
            </a:r>
            <a:r>
              <a:rPr lang="it-IT" dirty="0" err="1"/>
              <a:t>question</a:t>
            </a:r>
            <a:r>
              <a:rPr lang="it-IT" dirty="0"/>
              <a:t> for the slide </a:t>
            </a:r>
          </a:p>
        </p:txBody>
      </p:sp>
      <p:sp>
        <p:nvSpPr>
          <p:cNvPr id="31" name="Segnaposto numero diapositiva 30"/>
          <p:cNvSpPr>
            <a:spLocks noGrp="1"/>
          </p:cNvSpPr>
          <p:nvPr>
            <p:ph type="sldNum" sz="quarter" idx="39"/>
          </p:nvPr>
        </p:nvSpPr>
        <p:spPr/>
        <p:txBody>
          <a:bodyPr/>
          <a:lstStyle/>
          <a:p>
            <a:fld id="{5A6EA94F-8269-ED44-93E9-B57F83AF6107}" type="slidenum">
              <a:rPr lang="it-IT" smtClean="0"/>
              <a:pPr/>
              <a:t>‹Nr.›</a:t>
            </a:fld>
            <a:endParaRPr lang="it-IT" dirty="0"/>
          </a:p>
        </p:txBody>
      </p:sp>
      <p:sp>
        <p:nvSpPr>
          <p:cNvPr id="11" name="Segnaposto testo 7"/>
          <p:cNvSpPr>
            <a:spLocks noGrp="1"/>
          </p:cNvSpPr>
          <p:nvPr>
            <p:ph type="body" sz="quarter" idx="4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dirty="0"/>
              <a:t>Fare clic per modificare gli stili del testo</a:t>
            </a:r>
          </a:p>
        </p:txBody>
      </p:sp>
      <p:sp>
        <p:nvSpPr>
          <p:cNvPr id="8" name="Title Placeholder 8">
            <a:extLst>
              <a:ext uri="{FF2B5EF4-FFF2-40B4-BE49-F238E27FC236}">
                <a16:creationId xmlns:a16="http://schemas.microsoft.com/office/drawing/2014/main" id="{6FDDCB8C-0933-024E-8042-52BF7560B505}"/>
              </a:ext>
            </a:extLst>
          </p:cNvPr>
          <p:cNvSpPr>
            <a:spLocks noGrp="1"/>
          </p:cNvSpPr>
          <p:nvPr>
            <p:ph type="title"/>
          </p:nvPr>
        </p:nvSpPr>
        <p:spPr>
          <a:xfrm>
            <a:off x="518317" y="507999"/>
            <a:ext cx="11194257" cy="544514"/>
          </a:xfrm>
          <a:prstGeom prst="rect">
            <a:avLst/>
          </a:prstGeom>
        </p:spPr>
        <p:txBody>
          <a:bodyPr vert="horz" lIns="0" tIns="45720" rIns="0" bIns="45720" rtlCol="0" anchor="ctr" anchorCtr="0">
            <a:noAutofit/>
          </a:bodyPr>
          <a:lstStyle/>
          <a:p>
            <a:r>
              <a:rPr lang="en-US" dirty="0"/>
              <a:t>Click to Edit Master Title Style</a:t>
            </a:r>
            <a:endParaRPr lang="it-IT" dirty="0"/>
          </a:p>
        </p:txBody>
      </p:sp>
    </p:spTree>
    <p:extLst>
      <p:ext uri="{BB962C8B-B14F-4D97-AF65-F5344CB8AC3E}">
        <p14:creationId xmlns:p14="http://schemas.microsoft.com/office/powerpoint/2010/main" val="4565155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406784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6FC25E5-8EC1-47F9-A856-5EFEA62BDE1A}"/>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grpSp>
        <p:nvGrpSpPr>
          <p:cNvPr id="12" name="Group 11">
            <a:extLst>
              <a:ext uri="{FF2B5EF4-FFF2-40B4-BE49-F238E27FC236}">
                <a16:creationId xmlns:a16="http://schemas.microsoft.com/office/drawing/2014/main" id="{0BE5718D-9E1E-46F6-B41C-83235F0DBB8D}"/>
              </a:ext>
            </a:extLst>
          </p:cNvPr>
          <p:cNvGrpSpPr/>
          <p:nvPr userDrawn="1"/>
        </p:nvGrpSpPr>
        <p:grpSpPr bwMode="ltGray">
          <a:xfrm>
            <a:off x="-10032" y="0"/>
            <a:ext cx="12202031" cy="6858000"/>
            <a:chOff x="-10032" y="0"/>
            <a:chExt cx="12202031" cy="6858000"/>
          </a:xfrm>
        </p:grpSpPr>
        <p:pic>
          <p:nvPicPr>
            <p:cNvPr id="13" name="Picture 12">
              <a:extLst>
                <a:ext uri="{FF2B5EF4-FFF2-40B4-BE49-F238E27FC236}">
                  <a16:creationId xmlns:a16="http://schemas.microsoft.com/office/drawing/2014/main" id="{C8F12793-DF62-4D30-AA4A-F1D29DEAD4E0}"/>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bwMode="ltGray">
            <a:xfrm>
              <a:off x="0" y="3176"/>
              <a:ext cx="12191999" cy="6854824"/>
            </a:xfrm>
            <a:prstGeom prst="rect">
              <a:avLst/>
            </a:prstGeom>
          </p:spPr>
        </p:pic>
        <p:pic>
          <p:nvPicPr>
            <p:cNvPr id="18" name="Immagine 13">
              <a:extLst>
                <a:ext uri="{FF2B5EF4-FFF2-40B4-BE49-F238E27FC236}">
                  <a16:creationId xmlns:a16="http://schemas.microsoft.com/office/drawing/2014/main" id="{46937E8D-8556-4857-B397-B38ACA653B9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bwMode="ltGray">
            <a:xfrm>
              <a:off x="5405448" y="6600815"/>
              <a:ext cx="1375832" cy="153318"/>
            </a:xfrm>
            <a:prstGeom prst="rect">
              <a:avLst/>
            </a:prstGeom>
          </p:spPr>
        </p:pic>
        <p:sp>
          <p:nvSpPr>
            <p:cNvPr id="19" name="Trapezoid 18">
              <a:extLst>
                <a:ext uri="{FF2B5EF4-FFF2-40B4-BE49-F238E27FC236}">
                  <a16:creationId xmlns:a16="http://schemas.microsoft.com/office/drawing/2014/main" id="{42446296-BAC4-4272-BF84-277CBA5792CE}"/>
                </a:ext>
              </a:extLst>
            </p:cNvPr>
            <p:cNvSpPr/>
            <p:nvPr/>
          </p:nvSpPr>
          <p:spPr bwMode="ltGray">
            <a:xfrm>
              <a:off x="81565" y="192276"/>
              <a:ext cx="4155155" cy="6662548"/>
            </a:xfrm>
            <a:prstGeom prst="trapezoid">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Parallelogram 21">
              <a:extLst>
                <a:ext uri="{FF2B5EF4-FFF2-40B4-BE49-F238E27FC236}">
                  <a16:creationId xmlns:a16="http://schemas.microsoft.com/office/drawing/2014/main" id="{47444424-A413-4D37-A872-D4AAB6BB0058}"/>
                </a:ext>
              </a:extLst>
            </p:cNvPr>
            <p:cNvSpPr/>
            <p:nvPr/>
          </p:nvSpPr>
          <p:spPr bwMode="ltGray">
            <a:xfrm>
              <a:off x="-10032" y="0"/>
              <a:ext cx="4155155" cy="6854824"/>
            </a:xfrm>
            <a:prstGeom prst="parallelogram">
              <a:avLst>
                <a:gd name="adj" fmla="val 22249"/>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3" name="Documenttype">
            <a:extLst>
              <a:ext uri="{FF2B5EF4-FFF2-40B4-BE49-F238E27FC236}">
                <a16:creationId xmlns:a16="http://schemas.microsoft.com/office/drawing/2014/main" id="{52522ABC-9AC4-41CC-8702-5D10B853E7B2}"/>
              </a:ext>
            </a:extLst>
          </p:cNvPr>
          <p:cNvSpPr>
            <a:spLocks noGrp="1"/>
          </p:cNvSpPr>
          <p:nvPr>
            <p:ph type="body" sz="quarter" idx="13" hasCustomPrompt="1"/>
            <p:custDataLst>
              <p:tags r:id="rId3"/>
            </p:custDataLst>
          </p:nvPr>
        </p:nvSpPr>
        <p:spPr>
          <a:xfrm>
            <a:off x="701964" y="5997606"/>
            <a:ext cx="2355272" cy="215444"/>
          </a:xfrm>
          <a:prstGeom prst="rect">
            <a:avLst/>
          </a:prstGeom>
        </p:spPr>
        <p:txBody>
          <a:bodyPr wrap="square">
            <a:noAutofit/>
          </a:bodyPr>
          <a:lstStyle>
            <a:lvl1pPr algn="l"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24" name="Subtitle">
            <a:extLst>
              <a:ext uri="{FF2B5EF4-FFF2-40B4-BE49-F238E27FC236}">
                <a16:creationId xmlns:a16="http://schemas.microsoft.com/office/drawing/2014/main" id="{1DF3A515-E523-41C5-A0B9-CFFF884D2051}"/>
              </a:ext>
            </a:extLst>
          </p:cNvPr>
          <p:cNvSpPr>
            <a:spLocks noGrp="1"/>
          </p:cNvSpPr>
          <p:nvPr>
            <p:ph type="subTitle" idx="1"/>
            <p:custDataLst>
              <p:tags r:id="rId4"/>
            </p:custDataLst>
          </p:nvPr>
        </p:nvSpPr>
        <p:spPr>
          <a:xfrm>
            <a:off x="701964" y="5017279"/>
            <a:ext cx="2355272" cy="553998"/>
          </a:xfrm>
          <a:prstGeom prst="rect">
            <a:avLst/>
          </a:prstGeom>
        </p:spPr>
        <p:txBody>
          <a:bodyPr wrap="square">
            <a:noAutofit/>
          </a:bodyPr>
          <a:lstStyle>
            <a:lvl1pPr marL="0" indent="0" algn="l" rtl="0">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5" name="Title">
            <a:extLst>
              <a:ext uri="{FF2B5EF4-FFF2-40B4-BE49-F238E27FC236}">
                <a16:creationId xmlns:a16="http://schemas.microsoft.com/office/drawing/2014/main" id="{24055A78-2633-4D79-B911-CA5A9E3BD7C0}"/>
              </a:ext>
            </a:extLst>
          </p:cNvPr>
          <p:cNvSpPr>
            <a:spLocks noGrp="1"/>
          </p:cNvSpPr>
          <p:nvPr>
            <p:ph type="title" hasCustomPrompt="1"/>
            <p:custDataLst>
              <p:tags r:id="rId5"/>
            </p:custDataLst>
          </p:nvPr>
        </p:nvSpPr>
        <p:spPr>
          <a:xfrm>
            <a:off x="701964" y="3456760"/>
            <a:ext cx="2576946" cy="1477328"/>
          </a:xfrm>
          <a:prstGeom prst="rect">
            <a:avLst/>
          </a:prstGeom>
        </p:spPr>
        <p:txBody>
          <a:bodyPr vert="horz" wrap="square" anchor="b">
            <a:noAutofit/>
          </a:bodyPr>
          <a:lstStyle>
            <a:lvl1pPr algn="l" rtl="0">
              <a:defRPr sz="3200" baseline="0">
                <a:ln w="6350" cap="flat">
                  <a:noFill/>
                  <a:miter lim="800000"/>
                </a:ln>
                <a:solidFill>
                  <a:schemeClr val="tx1"/>
                </a:solidFill>
              </a:defRPr>
            </a:lvl1pPr>
          </a:lstStyle>
          <a:p>
            <a:r>
              <a:rPr lang="en-US" dirty="0"/>
              <a:t>Click to edit </a:t>
            </a:r>
            <a:br>
              <a:rPr lang="en-US" dirty="0"/>
            </a:br>
            <a:r>
              <a:rPr lang="en-US" dirty="0"/>
              <a:t>Master title style</a:t>
            </a:r>
          </a:p>
        </p:txBody>
      </p:sp>
    </p:spTree>
    <p:extLst>
      <p:ext uri="{BB962C8B-B14F-4D97-AF65-F5344CB8AC3E}">
        <p14:creationId xmlns:p14="http://schemas.microsoft.com/office/powerpoint/2010/main" val="15184812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307128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5693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1122533"/>
            <a:ext cx="1108252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800" b="0" dirty="0"/>
            </a:lvl1pPr>
          </a:lstStyle>
          <a:p>
            <a:pPr lvl="0"/>
            <a:r>
              <a:rPr lang="en-US" dirty="0"/>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48261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E6BD8E0D-6B22-4FFA-9B8A-AF3B88D3F19D}"/>
              </a:ext>
            </a:extLst>
          </p:cNvPr>
          <p:cNvSpPr>
            <a:spLocks noChangeArrowheads="1"/>
          </p:cNvSpPr>
          <p:nvPr userDrawn="1">
            <p:custDataLst>
              <p:tags r:id="rId7"/>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468127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448459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861774"/>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4"/>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7" name="Slide Number">
            <a:extLst>
              <a:ext uri="{FF2B5EF4-FFF2-40B4-BE49-F238E27FC236}">
                <a16:creationId xmlns:a16="http://schemas.microsoft.com/office/drawing/2014/main" id="{3191DF32-AD8A-44AC-9004-6FA848FBB9E5}"/>
              </a:ext>
            </a:extLst>
          </p:cNvPr>
          <p:cNvSpPr>
            <a:spLocks noChangeArrowheads="1"/>
          </p:cNvSpPr>
          <p:nvPr userDrawn="1">
            <p:custDataLst>
              <p:tags r:id="rId6"/>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8783653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510957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4"/>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78802C7D-BC0F-41B1-AB83-A8A11CBA6844}"/>
              </a:ext>
            </a:extLst>
          </p:cNvPr>
          <p:cNvSpPr>
            <a:spLocks noChangeArrowheads="1"/>
          </p:cNvSpPr>
          <p:nvPr userDrawn="1">
            <p:custDataLst>
              <p:tags r:id="rId6"/>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870767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960557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4"/>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5E90407F-55D7-42CA-B797-7766CD51F970}"/>
              </a:ext>
            </a:extLst>
          </p:cNvPr>
          <p:cNvSpPr>
            <a:spLocks noChangeArrowheads="1"/>
          </p:cNvSpPr>
          <p:nvPr userDrawn="1">
            <p:custDataLst>
              <p:tags r:id="rId6"/>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624829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act Dark">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60704"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0" indent="0" algn="l">
              <a:spcAft>
                <a:spcPts val="0"/>
              </a:spcAft>
              <a:buFontTx/>
              <a:buNone/>
              <a:defRPr sz="1400" b="0"/>
            </a:lvl3pPr>
            <a:lvl4pPr marL="180000" indent="0" algn="l">
              <a:spcAft>
                <a:spcPts val="0"/>
              </a:spcAft>
              <a:buFontTx/>
              <a:buNone/>
              <a:defRPr sz="1400"/>
            </a:lvl4pPr>
            <a:lvl5pPr marL="180000" indent="0" algn="l">
              <a:spcAft>
                <a:spcPts val="0"/>
              </a:spcAft>
              <a:buFontTx/>
              <a:buNone/>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a:t>Click to edit the contact</a:t>
            </a:r>
          </a:p>
          <a:p>
            <a:pPr lvl="1"/>
            <a:r>
              <a:rPr lang="en-US"/>
              <a:t>Name etc.</a:t>
            </a:r>
          </a:p>
          <a:p>
            <a:pPr lvl="0"/>
            <a:r>
              <a:rPr lang="en-US"/>
              <a:t>Department etc.</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en-US"/>
              <a:t>Restricted | © Siemens 20XX | Author | Department | YYYY-MM-DD</a:t>
            </a:r>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2469621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5"/>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855EB6F9-7875-4EDE-8F64-C9F61AD424E5}"/>
              </a:ext>
            </a:extLst>
          </p:cNvPr>
          <p:cNvSpPr>
            <a:spLocks noChangeArrowheads="1"/>
          </p:cNvSpPr>
          <p:nvPr userDrawn="1">
            <p:custDataLst>
              <p:tags r:id="rId7"/>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0180504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643778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rtl="0">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1F54F545-324B-4C1A-A439-F093690970AB}"/>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A9CABE1B-DCB6-406F-AE2E-2E0D7EDDB183}"/>
              </a:ext>
            </a:extLst>
          </p:cNvPr>
          <p:cNvPicPr>
            <a:picLocks noChangeAspect="1"/>
          </p:cNvPicPr>
          <p:nvPr userDrawn="1"/>
        </p:nvPicPr>
        <p:blipFill>
          <a:blip r:embed="rId12">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4" name="Rechteck 3">
            <a:extLst>
              <a:ext uri="{FF2B5EF4-FFF2-40B4-BE49-F238E27FC236}">
                <a16:creationId xmlns:a16="http://schemas.microsoft.com/office/drawing/2014/main" id="{BB723138-13E1-4F1D-A858-4C6B662A62CA}"/>
              </a:ext>
            </a:extLst>
          </p:cNvPr>
          <p:cNvSpPr/>
          <p:nvPr userDrawn="1"/>
        </p:nvSpPr>
        <p:spPr bwMode="ltGray">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5" name="Footer Placeholder 4">
            <a:extLst>
              <a:ext uri="{FF2B5EF4-FFF2-40B4-BE49-F238E27FC236}">
                <a16:creationId xmlns:a16="http://schemas.microsoft.com/office/drawing/2014/main" id="{E21D277A-6F8C-4AAB-8FB4-CB249167D538}"/>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dirty="0">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34683077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01064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rtl="0">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028D67C9-BA77-47E5-93F2-D863ACAEB03F}"/>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5F0260AF-36B0-4CC8-8755-E45CF8989AD4}"/>
              </a:ext>
            </a:extLst>
          </p:cNvPr>
          <p:cNvPicPr>
            <a:picLocks noChangeAspect="1"/>
          </p:cNvPicPr>
          <p:nvPr userDrawn="1"/>
        </p:nvPicPr>
        <p:blipFill>
          <a:blip r:embed="rId12">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92C7D169-65C1-482A-8877-EF7E4301E7FA}"/>
              </a:ext>
            </a:extLst>
          </p:cNvPr>
          <p:cNvSpPr/>
          <p:nvPr userDrawn="1"/>
        </p:nvSpPr>
        <p:spPr bwMode="ltGray">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4" name="Footer Placeholder 4">
            <a:extLst>
              <a:ext uri="{FF2B5EF4-FFF2-40B4-BE49-F238E27FC236}">
                <a16:creationId xmlns:a16="http://schemas.microsoft.com/office/drawing/2014/main" id="{3A88B2F5-865B-4E09-83BA-24F9EE1E6B77}"/>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dirty="0">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19850392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640245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556932"/>
            <a:ext cx="5065776" cy="384721"/>
          </a:xfrm>
        </p:spPr>
        <p:txBody>
          <a:bodyPr vert="horz">
            <a:spAutoFit/>
          </a:bodyPr>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1122533"/>
            <a:ext cx="5065776" cy="276999"/>
          </a:xfrm>
          <a:prstGeom prst="rect">
            <a:avLst/>
          </a:prstGeom>
        </p:spPr>
        <p:txBody>
          <a:bodyPr wrap="square">
            <a:spAutoFit/>
          </a:bodyPr>
          <a:lstStyle>
            <a:lvl1pPr marL="0" indent="0" algn="l" rtl="0">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AC0A13A2-6662-416E-B51C-9A64E8699E0B}"/>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EE3B2468-8164-47CE-834B-A12F7959ED58}"/>
              </a:ext>
            </a:extLst>
          </p:cNvPr>
          <p:cNvPicPr>
            <a:picLocks noChangeAspect="1"/>
          </p:cNvPicPr>
          <p:nvPr userDrawn="1"/>
        </p:nvPicPr>
        <p:blipFill>
          <a:blip r:embed="rId12">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4E873BCC-1C47-4EBB-9069-87E58CC13FBF}"/>
              </a:ext>
            </a:extLst>
          </p:cNvPr>
          <p:cNvSpPr/>
          <p:nvPr userDrawn="1"/>
        </p:nvSpPr>
        <p:spPr bwMode="ltGray">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4" name="Footer Placeholder 4">
            <a:extLst>
              <a:ext uri="{FF2B5EF4-FFF2-40B4-BE49-F238E27FC236}">
                <a16:creationId xmlns:a16="http://schemas.microsoft.com/office/drawing/2014/main" id="{B476783B-4394-4383-8D0A-8F663B01ABA4}"/>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dirty="0">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13277019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29837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56932"/>
            <a:ext cx="6967728" cy="384721"/>
          </a:xfrm>
        </p:spPr>
        <p:txBody>
          <a:bodyPr vert="horz">
            <a:spAutoFit/>
          </a:bodyPr>
          <a:lstStyle>
            <a:lvl1pPr rtl="0">
              <a:defRPr>
                <a:solidFill>
                  <a:schemeClr val="bg2"/>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1122533"/>
            <a:ext cx="6967728" cy="276999"/>
          </a:xfrm>
          <a:prstGeom prst="rect">
            <a:avLst/>
          </a:prstGeom>
        </p:spPr>
        <p:txBody>
          <a:bodyPr wrap="square">
            <a:spAutoFit/>
          </a:bodyPr>
          <a:lstStyle>
            <a:lvl1pPr marL="0" indent="0" algn="l" rtl="0">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482619"/>
            <a:ext cx="6967729"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910F8AF2-C2BF-49DC-AF19-1370382A87D2}"/>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833FB9B0-0303-4D6E-822D-2728CF4A9818}"/>
              </a:ext>
            </a:extLst>
          </p:cNvPr>
          <p:cNvPicPr>
            <a:picLocks noChangeAspect="1"/>
          </p:cNvPicPr>
          <p:nvPr userDrawn="1"/>
        </p:nvPicPr>
        <p:blipFill>
          <a:blip r:embed="rId12">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4E37FB02-3CD9-4C50-B1B1-6EB4FE5BCBFF}"/>
              </a:ext>
            </a:extLst>
          </p:cNvPr>
          <p:cNvSpPr/>
          <p:nvPr userDrawn="1"/>
        </p:nvSpPr>
        <p:spPr>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4" name="Footer Placeholder 4">
            <a:extLst>
              <a:ext uri="{FF2B5EF4-FFF2-40B4-BE49-F238E27FC236}">
                <a16:creationId xmlns:a16="http://schemas.microsoft.com/office/drawing/2014/main" id="{4B3CBAA1-035C-42E6-A46D-F81B146E2992}"/>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dirty="0">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4383835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783482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556932"/>
            <a:ext cx="7918704" cy="384721"/>
          </a:xfrm>
        </p:spPr>
        <p:txBody>
          <a:bodyPr vert="horz">
            <a:spAutoFit/>
          </a:bodyPr>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1122533"/>
            <a:ext cx="7918704" cy="276999"/>
          </a:xfrm>
          <a:prstGeom prst="rect">
            <a:avLst/>
          </a:prstGeom>
        </p:spPr>
        <p:txBody>
          <a:bodyPr wrap="square">
            <a:spAutoFit/>
          </a:bodyPr>
          <a:lstStyle>
            <a:lvl1pPr marL="0" indent="0" algn="l" rtl="0">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9" name="Slide Number">
            <a:extLst>
              <a:ext uri="{FF2B5EF4-FFF2-40B4-BE49-F238E27FC236}">
                <a16:creationId xmlns:a16="http://schemas.microsoft.com/office/drawing/2014/main" id="{3F36DF70-2F32-484C-A9FC-BF36F5D4D57F}"/>
              </a:ext>
            </a:extLst>
          </p:cNvPr>
          <p:cNvSpPr>
            <a:spLocks noChangeArrowheads="1"/>
          </p:cNvSpPr>
          <p:nvPr userDrawn="1">
            <p:custDataLst>
              <p:tags r:id="rId8"/>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F5CC81C1-5E8E-4E72-851B-55CB176BD9CA}"/>
              </a:ext>
            </a:extLst>
          </p:cNvPr>
          <p:cNvPicPr>
            <a:picLocks noChangeAspect="1"/>
          </p:cNvPicPr>
          <p:nvPr userDrawn="1"/>
        </p:nvPicPr>
        <p:blipFill>
          <a:blip r:embed="rId12">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5CCF06D7-679C-437B-B0B1-3863C73218E3}"/>
              </a:ext>
            </a:extLst>
          </p:cNvPr>
          <p:cNvSpPr/>
          <p:nvPr userDrawn="1"/>
        </p:nvSpPr>
        <p:spPr bwMode="ltGray">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4" name="Footer Placeholder 4">
            <a:extLst>
              <a:ext uri="{FF2B5EF4-FFF2-40B4-BE49-F238E27FC236}">
                <a16:creationId xmlns:a16="http://schemas.microsoft.com/office/drawing/2014/main" id="{E5A00D79-712D-4988-92BC-6B3B093CEC24}"/>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dirty="0">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28005523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57488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556932"/>
            <a:ext cx="11082528" cy="384721"/>
          </a:xfrm>
        </p:spPr>
        <p:txBody>
          <a:bodyPr vert="horz">
            <a:noAutofit/>
          </a:bodyPr>
          <a:lstStyle>
            <a:lvl1pPr rtl="0">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7" name="Slide Number">
            <a:extLst>
              <a:ext uri="{FF2B5EF4-FFF2-40B4-BE49-F238E27FC236}">
                <a16:creationId xmlns:a16="http://schemas.microsoft.com/office/drawing/2014/main" id="{84A6E6B2-B858-4DE0-AB14-C582798AA128}"/>
              </a:ext>
            </a:extLst>
          </p:cNvPr>
          <p:cNvSpPr>
            <a:spLocks noChangeArrowheads="1"/>
          </p:cNvSpPr>
          <p:nvPr userDrawn="1">
            <p:custDataLst>
              <p:tags r:id="rId6"/>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tx1"/>
              </a:solidFill>
              <a:latin typeface="+mn-lt"/>
              <a:ea typeface="+mn-ea"/>
              <a:cs typeface="Arial" panose="020B0604020202020204" pitchFamily="34" charset="0"/>
            </a:endParaRPr>
          </a:p>
        </p:txBody>
      </p:sp>
      <p:sp>
        <p:nvSpPr>
          <p:cNvPr id="9" name="Footer Placeholder 4">
            <a:extLst>
              <a:ext uri="{FF2B5EF4-FFF2-40B4-BE49-F238E27FC236}">
                <a16:creationId xmlns:a16="http://schemas.microsoft.com/office/drawing/2014/main" id="{7D1D7D56-01DF-461A-94DC-A51CA812C090}"/>
              </a:ext>
            </a:extLst>
          </p:cNvPr>
          <p:cNvSpPr txBox="1">
            <a:spLocks/>
          </p:cNvSpPr>
          <p:nvPr userDrawn="1"/>
        </p:nvSpPr>
        <p:spPr bwMode="gray">
          <a:xfrm flipH="1">
            <a:off x="885069" y="6657610"/>
            <a:ext cx="858933"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baseline="0" dirty="0">
                <a:solidFill>
                  <a:schemeClr val="tx1"/>
                </a:solidFill>
                <a:latin typeface="+mn-lt"/>
              </a:rPr>
              <a:t>Confidential</a:t>
            </a:r>
          </a:p>
        </p:txBody>
      </p:sp>
      <p:pic>
        <p:nvPicPr>
          <p:cNvPr id="11" name="Immagine 4" descr="logo.eps">
            <a:extLst>
              <a:ext uri="{FF2B5EF4-FFF2-40B4-BE49-F238E27FC236}">
                <a16:creationId xmlns:a16="http://schemas.microsoft.com/office/drawing/2014/main" id="{D62AC547-B919-4B6C-8E1A-509064889A61}"/>
              </a:ext>
            </a:extLst>
          </p:cNvPr>
          <p:cNvPicPr>
            <a:picLocks noChangeAspect="1"/>
          </p:cNvPicPr>
          <p:nvPr userDrawn="1"/>
        </p:nvPicPr>
        <p:blipFill>
          <a:blip r:embed="rId10">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2" name="Rechteck 3">
            <a:extLst>
              <a:ext uri="{FF2B5EF4-FFF2-40B4-BE49-F238E27FC236}">
                <a16:creationId xmlns:a16="http://schemas.microsoft.com/office/drawing/2014/main" id="{236159B0-7507-4310-876F-2FC3E056CAF6}"/>
              </a:ext>
            </a:extLst>
          </p:cNvPr>
          <p:cNvSpPr/>
          <p:nvPr userDrawn="1"/>
        </p:nvSpPr>
        <p:spPr bwMode="ltGray">
          <a:xfrm>
            <a:off x="554736" y="981293"/>
            <a:ext cx="850900" cy="10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12582291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990255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2"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4" name="Immagine 4" descr="logo.eps">
            <a:extLst>
              <a:ext uri="{FF2B5EF4-FFF2-40B4-BE49-F238E27FC236}">
                <a16:creationId xmlns:a16="http://schemas.microsoft.com/office/drawing/2014/main" id="{93E2FE5F-E8CC-4262-95DF-E89515E1650F}"/>
              </a:ext>
            </a:extLst>
          </p:cNvPr>
          <p:cNvPicPr>
            <a:picLocks noChangeAspect="1"/>
          </p:cNvPicPr>
          <p:nvPr userDrawn="1"/>
        </p:nvPicPr>
        <p:blipFill>
          <a:blip r:embed="rId6">
            <a:lum bright="100000"/>
            <a:extLst>
              <a:ext uri="{28A0092B-C50C-407E-A947-70E740481C1C}">
                <a14:useLocalDpi xmlns:a14="http://schemas.microsoft.com/office/drawing/2010/main" val="0"/>
              </a:ext>
            </a:extLst>
          </a:blip>
          <a:stretch>
            <a:fillRect/>
          </a:stretch>
        </p:blipFill>
        <p:spPr>
          <a:xfrm>
            <a:off x="3468914" y="3136248"/>
            <a:ext cx="5254172" cy="585506"/>
          </a:xfrm>
          <a:prstGeom prst="rect">
            <a:avLst/>
          </a:prstGeom>
        </p:spPr>
      </p:pic>
    </p:spTree>
    <p:extLst>
      <p:ext uri="{BB962C8B-B14F-4D97-AF65-F5344CB8AC3E}">
        <p14:creationId xmlns:p14="http://schemas.microsoft.com/office/powerpoint/2010/main" val="4690351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1_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83782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556932"/>
            <a:ext cx="7918704" cy="384721"/>
          </a:xfrm>
        </p:spPr>
        <p:txBody>
          <a:bodyPr vert="horz">
            <a:spAutoFit/>
          </a:bodyPr>
          <a:lstStyle>
            <a:lvl1pPr rtl="0">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1122533"/>
            <a:ext cx="7918704" cy="276999"/>
          </a:xfrm>
          <a:prstGeom prst="rect">
            <a:avLst/>
          </a:prstGeom>
        </p:spPr>
        <p:txBody>
          <a:bodyPr wrap="square">
            <a:spAutoFit/>
          </a:bodyPr>
          <a:lstStyle>
            <a:lvl1pPr marL="0" indent="0" algn="l" rtl="0">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482619"/>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9" name="Slide Number">
            <a:extLst>
              <a:ext uri="{FF2B5EF4-FFF2-40B4-BE49-F238E27FC236}">
                <a16:creationId xmlns:a16="http://schemas.microsoft.com/office/drawing/2014/main" id="{3F36DF70-2F32-484C-A9FC-BF36F5D4D57F}"/>
              </a:ext>
            </a:extLst>
          </p:cNvPr>
          <p:cNvSpPr>
            <a:spLocks noChangeArrowheads="1"/>
          </p:cNvSpPr>
          <p:nvPr userDrawn="1">
            <p:custDataLst>
              <p:tags r:id="rId7"/>
            </p:custDataLst>
          </p:nvPr>
        </p:nvSpPr>
        <p:spPr bwMode="ltGray">
          <a:xfrm>
            <a:off x="554736" y="6657610"/>
            <a:ext cx="495247" cy="123111"/>
          </a:xfrm>
          <a:prstGeom prst="rect">
            <a:avLst/>
          </a:prstGeom>
          <a:noFill/>
          <a:ln w="9525" algn="ctr">
            <a:noFill/>
            <a:miter lim="800000"/>
            <a:headEnd/>
            <a:tailEnd/>
          </a:ln>
          <a:effectLst/>
        </p:spPr>
        <p:txBody>
          <a:bodyPr wrap="square" lIns="0" tIns="0" rIns="0" bIns="0" anchor="b">
            <a:spAutoFit/>
          </a:bodyPr>
          <a:lstStyle/>
          <a:p>
            <a:pPr algn="l" defTabSz="458047" rtl="0" fontAlgn="auto">
              <a:spcBef>
                <a:spcPts val="0"/>
              </a:spcBef>
              <a:spcAft>
                <a:spcPts val="0"/>
              </a:spcAft>
              <a:defRPr/>
            </a:pPr>
            <a:fld id="{4ABDCABE-3F10-B64C-92F1-862014417034}" type="slidenum">
              <a:rPr lang="en-US" sz="800" b="0" smtClean="0">
                <a:solidFill>
                  <a:schemeClr val="bg2"/>
                </a:solidFill>
                <a:latin typeface="+mn-lt"/>
                <a:ea typeface="+mn-ea"/>
                <a:cs typeface="Arial" panose="020B0604020202020204" pitchFamily="34" charset="0"/>
              </a:rPr>
              <a:pPr algn="l" defTabSz="458047" rtl="0" fontAlgn="auto">
                <a:spcBef>
                  <a:spcPts val="0"/>
                </a:spcBef>
                <a:spcAft>
                  <a:spcPts val="0"/>
                </a:spcAft>
                <a:defRPr/>
              </a:pPr>
              <a:t>‹Nr.›</a:t>
            </a:fld>
            <a:endParaRPr lang="en-US" sz="800" b="0" dirty="0">
              <a:solidFill>
                <a:schemeClr val="bg2"/>
              </a:solidFill>
              <a:latin typeface="+mn-lt"/>
              <a:ea typeface="+mn-ea"/>
              <a:cs typeface="Arial" panose="020B0604020202020204" pitchFamily="34" charset="0"/>
            </a:endParaRPr>
          </a:p>
        </p:txBody>
      </p:sp>
      <p:pic>
        <p:nvPicPr>
          <p:cNvPr id="12" name="Immagine 4" descr="logo.eps">
            <a:extLst>
              <a:ext uri="{FF2B5EF4-FFF2-40B4-BE49-F238E27FC236}">
                <a16:creationId xmlns:a16="http://schemas.microsoft.com/office/drawing/2014/main" id="{F5CC81C1-5E8E-4E72-851B-55CB176BD9CA}"/>
              </a:ext>
            </a:extLst>
          </p:cNvPr>
          <p:cNvPicPr>
            <a:picLocks noChangeAspect="1"/>
          </p:cNvPicPr>
          <p:nvPr userDrawn="1"/>
        </p:nvPicPr>
        <p:blipFill>
          <a:blip r:embed="rId11">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3" name="Rechteck 3">
            <a:extLst>
              <a:ext uri="{FF2B5EF4-FFF2-40B4-BE49-F238E27FC236}">
                <a16:creationId xmlns:a16="http://schemas.microsoft.com/office/drawing/2014/main" id="{5CCF06D7-679C-437B-B0B1-3863C73218E3}"/>
              </a:ext>
            </a:extLst>
          </p:cNvPr>
          <p:cNvSpPr/>
          <p:nvPr userDrawn="1"/>
        </p:nvSpPr>
        <p:spPr bwMode="ltGray">
          <a:xfrm>
            <a:off x="554736" y="981293"/>
            <a:ext cx="850900" cy="101600"/>
          </a:xfrm>
          <a:prstGeom prst="rect">
            <a:avLst/>
          </a:prstGeom>
          <a:solidFill>
            <a:srgbClr val="3C9673"/>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4" name="Footer Placeholder 4">
            <a:extLst>
              <a:ext uri="{FF2B5EF4-FFF2-40B4-BE49-F238E27FC236}">
                <a16:creationId xmlns:a16="http://schemas.microsoft.com/office/drawing/2014/main" id="{E5A00D79-712D-4988-92BC-6B3B093CEC24}"/>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dirty="0">
                <a:solidFill>
                  <a:srgbClr val="000000"/>
                </a:solidFill>
                <a:latin typeface="Arial" panose="020B0604020202020204"/>
              </a:rPr>
              <a:t>Confidential for internal use only</a:t>
            </a:r>
          </a:p>
        </p:txBody>
      </p:sp>
    </p:spTree>
    <p:extLst>
      <p:ext uri="{BB962C8B-B14F-4D97-AF65-F5344CB8AC3E}">
        <p14:creationId xmlns:p14="http://schemas.microsoft.com/office/powerpoint/2010/main" val="383475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act Light">
    <p:bg>
      <p:bgPr>
        <a:solidFill>
          <a:schemeClr val="tx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bg1"/>
                </a:solidFill>
              </a:defRPr>
            </a:lvl1pPr>
          </a:lstStyle>
          <a:p>
            <a:r>
              <a:rPr lang="en-US"/>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60704" y="2397324"/>
            <a:ext cx="9216000" cy="3409751"/>
          </a:xfrm>
          <a:prstGeom prst="rect">
            <a:avLst/>
          </a:prstGeom>
        </p:spPr>
        <p:txBody>
          <a:bodyPr tIns="108000">
            <a:noAutofit/>
          </a:bodyPr>
          <a:lstStyle>
            <a:lvl1pPr marL="0" indent="0" algn="l">
              <a:spcAft>
                <a:spcPts val="0"/>
              </a:spcAft>
              <a:buNone/>
              <a:defRPr sz="1400">
                <a:solidFill>
                  <a:schemeClr val="bg1"/>
                </a:solidFill>
              </a:defRPr>
            </a:lvl1pPr>
            <a:lvl2pPr marL="0" indent="0" algn="l">
              <a:spcBef>
                <a:spcPts val="600"/>
              </a:spcBef>
              <a:spcAft>
                <a:spcPts val="0"/>
              </a:spcAft>
              <a:buFont typeface="Arial" panose="020B0604020202020204" pitchFamily="34" charset="0"/>
              <a:buNone/>
              <a:defRPr sz="1400" b="1">
                <a:solidFill>
                  <a:schemeClr val="bg1"/>
                </a:solidFill>
              </a:defRPr>
            </a:lvl2pPr>
            <a:lvl3pPr marL="0" indent="0" algn="l">
              <a:spcAft>
                <a:spcPts val="0"/>
              </a:spcAft>
              <a:buFontTx/>
              <a:buNone/>
              <a:defRPr sz="1400" b="0"/>
            </a:lvl3pPr>
            <a:lvl4pPr marL="180000" indent="0" algn="l">
              <a:spcAft>
                <a:spcPts val="0"/>
              </a:spcAft>
              <a:buFontTx/>
              <a:buNone/>
              <a:defRPr sz="1400"/>
            </a:lvl4pPr>
            <a:lvl5pPr marL="180000" indent="0" algn="l">
              <a:spcAft>
                <a:spcPts val="0"/>
              </a:spcAft>
              <a:buFontTx/>
              <a:buNone/>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a:t>Click to edit the contact</a:t>
            </a:r>
          </a:p>
          <a:p>
            <a:pPr lvl="1"/>
            <a:r>
              <a:rPr lang="en-US"/>
              <a:t>Name etc.</a:t>
            </a:r>
          </a:p>
          <a:p>
            <a:pPr lvl="0"/>
            <a:r>
              <a:rPr lang="en-US"/>
              <a:t>Department etc.</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lvl1pPr>
              <a:defRPr>
                <a:solidFill>
                  <a:schemeClr val="bg1"/>
                </a:solidFill>
              </a:defRPr>
            </a:lvl1pPr>
          </a:lstStyle>
          <a:p>
            <a:r>
              <a:rPr lang="en-US"/>
              <a:t>Restricted | © Siemens 20XX | Author | Department | YYYY-MM-DD</a:t>
            </a:r>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lvl1pPr>
              <a:defRPr>
                <a:solidFill>
                  <a:schemeClr val="bg1"/>
                </a:solidFill>
              </a:defRPr>
            </a:lvl1p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5122472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Unrestricted | © Siemens 2024 | Siemens Digital Industries | Process Automation</a:t>
            </a:r>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
        <p:nvSpPr>
          <p:cNvPr id="8" name="Copy">
            <a:extLst>
              <a:ext uri="{FF2B5EF4-FFF2-40B4-BE49-F238E27FC236}">
                <a16:creationId xmlns:a16="http://schemas.microsoft.com/office/drawing/2014/main" id="{4835EAF6-4576-47B4-AAE9-DFD721A22574}"/>
              </a:ext>
            </a:extLst>
          </p:cNvPr>
          <p:cNvSpPr>
            <a:spLocks noGrp="1"/>
          </p:cNvSpPr>
          <p:nvPr>
            <p:ph type="body" sz="quarter" idx="12" hasCustomPrompt="1"/>
          </p:nvPr>
        </p:nvSpPr>
        <p:spPr>
          <a:xfrm>
            <a:off x="410399" y="1533600"/>
            <a:ext cx="9863997" cy="4104000"/>
          </a:xfrm>
        </p:spPr>
        <p:txBody>
          <a:bodyPr>
            <a:noAutofit/>
          </a:bodyPr>
          <a:lstStyle>
            <a:lvl1pPr marL="0">
              <a:lnSpc>
                <a:spcPct val="110000"/>
              </a:lnSpc>
              <a:spcAft>
                <a:spcPts val="0"/>
              </a:spcAft>
              <a:defRPr sz="20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your text here</a:t>
            </a:r>
          </a:p>
        </p:txBody>
      </p:sp>
    </p:spTree>
    <p:extLst>
      <p:ext uri="{BB962C8B-B14F-4D97-AF65-F5344CB8AC3E}">
        <p14:creationId xmlns:p14="http://schemas.microsoft.com/office/powerpoint/2010/main" val="91010655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6.xml"/><Relationship Id="rId7" Type="http://schemas.openxmlformats.org/officeDocument/2006/relationships/tags" Target="../tags/tag4.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tags" Target="../tags/tag5.xml"/><Relationship Id="rId26" Type="http://schemas.openxmlformats.org/officeDocument/2006/relationships/tags" Target="../tags/tag13.xml"/><Relationship Id="rId39" Type="http://schemas.openxmlformats.org/officeDocument/2006/relationships/image" Target="../media/image9.emf"/><Relationship Id="rId21" Type="http://schemas.openxmlformats.org/officeDocument/2006/relationships/tags" Target="../tags/tag8.xml"/><Relationship Id="rId34" Type="http://schemas.openxmlformats.org/officeDocument/2006/relationships/tags" Target="../tags/tag21.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3.xml"/><Relationship Id="rId25" Type="http://schemas.openxmlformats.org/officeDocument/2006/relationships/tags" Target="../tags/tag12.xml"/><Relationship Id="rId33" Type="http://schemas.openxmlformats.org/officeDocument/2006/relationships/tags" Target="../tags/tag20.xml"/><Relationship Id="rId38" Type="http://schemas.openxmlformats.org/officeDocument/2006/relationships/oleObject" Target="../embeddings/oleObject3.bin"/><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tags" Target="../tags/tag24.xml"/><Relationship Id="rId40" Type="http://schemas.openxmlformats.org/officeDocument/2006/relationships/image" Target="../media/image10.emf"/><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tags" Target="../tags/tag23.xml"/><Relationship Id="rId10" Type="http://schemas.openxmlformats.org/officeDocument/2006/relationships/slideLayout" Target="../slideLayouts/slideLayout27.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tags" Target="../tags/tag22.xml"/><Relationship Id="rId8" Type="http://schemas.openxmlformats.org/officeDocument/2006/relationships/slideLayout" Target="../slideLayouts/slideLayout25.xml"/><Relationship Id="rId3"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ags" Target="../tags/tag122.xml"/><Relationship Id="rId3" Type="http://schemas.openxmlformats.org/officeDocument/2006/relationships/slideLayout" Target="../slideLayouts/slideLayout36.xml"/><Relationship Id="rId21" Type="http://schemas.openxmlformats.org/officeDocument/2006/relationships/image" Target="../media/image10.emf"/><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theme" Target="../theme/theme4.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image" Target="../media/image11.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19" Type="http://schemas.openxmlformats.org/officeDocument/2006/relationships/oleObject" Target="../embeddings/oleObject19.bin"/><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tags" Target="../tags/tag127.xml"/><Relationship Id="rId26" Type="http://schemas.openxmlformats.org/officeDocument/2006/relationships/tags" Target="../tags/tag135.xml"/><Relationship Id="rId39" Type="http://schemas.openxmlformats.org/officeDocument/2006/relationships/image" Target="../media/image11.emf"/><Relationship Id="rId21" Type="http://schemas.openxmlformats.org/officeDocument/2006/relationships/tags" Target="../tags/tag130.xml"/><Relationship Id="rId34" Type="http://schemas.openxmlformats.org/officeDocument/2006/relationships/tags" Target="../tags/tag143.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126.xml"/><Relationship Id="rId25" Type="http://schemas.openxmlformats.org/officeDocument/2006/relationships/tags" Target="../tags/tag134.xml"/><Relationship Id="rId33" Type="http://schemas.openxmlformats.org/officeDocument/2006/relationships/tags" Target="../tags/tag142.xml"/><Relationship Id="rId38" Type="http://schemas.openxmlformats.org/officeDocument/2006/relationships/oleObject" Target="../embeddings/oleObject21.bin"/><Relationship Id="rId2" Type="http://schemas.openxmlformats.org/officeDocument/2006/relationships/slideLayout" Target="../slideLayouts/slideLayout51.xml"/><Relationship Id="rId16" Type="http://schemas.openxmlformats.org/officeDocument/2006/relationships/theme" Target="../theme/theme5.xml"/><Relationship Id="rId20" Type="http://schemas.openxmlformats.org/officeDocument/2006/relationships/tags" Target="../tags/tag129.xml"/><Relationship Id="rId29" Type="http://schemas.openxmlformats.org/officeDocument/2006/relationships/tags" Target="../tags/tag13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ags" Target="../tags/tag133.xml"/><Relationship Id="rId32" Type="http://schemas.openxmlformats.org/officeDocument/2006/relationships/tags" Target="../tags/tag141.xml"/><Relationship Id="rId37" Type="http://schemas.openxmlformats.org/officeDocument/2006/relationships/tags" Target="../tags/tag146.xml"/><Relationship Id="rId40" Type="http://schemas.openxmlformats.org/officeDocument/2006/relationships/image" Target="../media/image10.emf"/><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tags" Target="../tags/tag132.xml"/><Relationship Id="rId28" Type="http://schemas.openxmlformats.org/officeDocument/2006/relationships/tags" Target="../tags/tag137.xml"/><Relationship Id="rId36" Type="http://schemas.openxmlformats.org/officeDocument/2006/relationships/tags" Target="../tags/tag145.xml"/><Relationship Id="rId10" Type="http://schemas.openxmlformats.org/officeDocument/2006/relationships/slideLayout" Target="../slideLayouts/slideLayout59.xml"/><Relationship Id="rId19" Type="http://schemas.openxmlformats.org/officeDocument/2006/relationships/tags" Target="../tags/tag128.xml"/><Relationship Id="rId31" Type="http://schemas.openxmlformats.org/officeDocument/2006/relationships/tags" Target="../tags/tag14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tags" Target="../tags/tag131.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tags" Target="../tags/tag144.xml"/><Relationship Id="rId8" Type="http://schemas.openxmlformats.org/officeDocument/2006/relationships/slideLayout" Target="../slideLayouts/slideLayout57.xml"/><Relationship Id="rId3" Type="http://schemas.openxmlformats.org/officeDocument/2006/relationships/slideLayout" Target="../slideLayouts/slideLayout5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tags" Target="../tags/tag241.xml"/><Relationship Id="rId26" Type="http://schemas.openxmlformats.org/officeDocument/2006/relationships/tags" Target="../tags/tag249.xml"/><Relationship Id="rId39" Type="http://schemas.openxmlformats.org/officeDocument/2006/relationships/image" Target="../media/image10.emf"/><Relationship Id="rId21" Type="http://schemas.openxmlformats.org/officeDocument/2006/relationships/tags" Target="../tags/tag244.xml"/><Relationship Id="rId34" Type="http://schemas.openxmlformats.org/officeDocument/2006/relationships/tags" Target="../tags/tag25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tags" Target="../tags/tag240.xml"/><Relationship Id="rId25" Type="http://schemas.openxmlformats.org/officeDocument/2006/relationships/tags" Target="../tags/tag248.xml"/><Relationship Id="rId33" Type="http://schemas.openxmlformats.org/officeDocument/2006/relationships/tags" Target="../tags/tag256.xml"/><Relationship Id="rId38" Type="http://schemas.openxmlformats.org/officeDocument/2006/relationships/image" Target="../media/image11.emf"/><Relationship Id="rId2" Type="http://schemas.openxmlformats.org/officeDocument/2006/relationships/slideLayout" Target="../slideLayouts/slideLayout66.xml"/><Relationship Id="rId16" Type="http://schemas.openxmlformats.org/officeDocument/2006/relationships/tags" Target="../tags/tag239.xml"/><Relationship Id="rId20" Type="http://schemas.openxmlformats.org/officeDocument/2006/relationships/tags" Target="../tags/tag243.xml"/><Relationship Id="rId29" Type="http://schemas.openxmlformats.org/officeDocument/2006/relationships/tags" Target="../tags/tag252.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tags" Target="../tags/tag247.xml"/><Relationship Id="rId32" Type="http://schemas.openxmlformats.org/officeDocument/2006/relationships/tags" Target="../tags/tag255.xml"/><Relationship Id="rId37" Type="http://schemas.openxmlformats.org/officeDocument/2006/relationships/oleObject" Target="../embeddings/oleObject36.bin"/><Relationship Id="rId5" Type="http://schemas.openxmlformats.org/officeDocument/2006/relationships/slideLayout" Target="../slideLayouts/slideLayout69.xml"/><Relationship Id="rId15" Type="http://schemas.openxmlformats.org/officeDocument/2006/relationships/theme" Target="../theme/theme6.xml"/><Relationship Id="rId23" Type="http://schemas.openxmlformats.org/officeDocument/2006/relationships/tags" Target="../tags/tag246.xml"/><Relationship Id="rId28" Type="http://schemas.openxmlformats.org/officeDocument/2006/relationships/tags" Target="../tags/tag251.xml"/><Relationship Id="rId36" Type="http://schemas.openxmlformats.org/officeDocument/2006/relationships/tags" Target="../tags/tag259.xml"/><Relationship Id="rId10" Type="http://schemas.openxmlformats.org/officeDocument/2006/relationships/slideLayout" Target="../slideLayouts/slideLayout74.xml"/><Relationship Id="rId19" Type="http://schemas.openxmlformats.org/officeDocument/2006/relationships/tags" Target="../tags/tag242.xml"/><Relationship Id="rId31" Type="http://schemas.openxmlformats.org/officeDocument/2006/relationships/tags" Target="../tags/tag25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tags" Target="../tags/tag245.xml"/><Relationship Id="rId27" Type="http://schemas.openxmlformats.org/officeDocument/2006/relationships/tags" Target="../tags/tag250.xml"/><Relationship Id="rId30" Type="http://schemas.openxmlformats.org/officeDocument/2006/relationships/tags" Target="../tags/tag253.xml"/><Relationship Id="rId35" Type="http://schemas.openxmlformats.org/officeDocument/2006/relationships/tags" Target="../tags/tag258.xml"/><Relationship Id="rId8" Type="http://schemas.openxmlformats.org/officeDocument/2006/relationships/slideLayout" Target="../slideLayouts/slideLayout72.xml"/><Relationship Id="rId3"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39906AA7-4BF7-43DB-81DC-7A74F0EA22FF}"/>
              </a:ext>
            </a:extLst>
          </p:cNvPr>
          <p:cNvGraphicFramePr>
            <a:graphicFrameLocks noChangeAspect="1"/>
          </p:cNvGraphicFramePr>
          <p:nvPr userDrawn="1">
            <p:custDataLst>
              <p:tags r:id="rId15"/>
            </p:custDataLst>
            <p:extLst>
              <p:ext uri="{D42A27DB-BD31-4B8C-83A1-F6EECF244321}">
                <p14:modId xmlns:p14="http://schemas.microsoft.com/office/powerpoint/2010/main" val="3129532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28" name="Object 27" hidden="1">
                        <a:extLst>
                          <a:ext uri="{FF2B5EF4-FFF2-40B4-BE49-F238E27FC236}">
                            <a16:creationId xmlns:a16="http://schemas.microsoft.com/office/drawing/2014/main" id="{39906AA7-4BF7-43DB-81DC-7A74F0EA22F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t" anchorCtr="0">
            <a:noAutofit/>
          </a:bodyPr>
          <a:lstStyle/>
          <a:p>
            <a:r>
              <a:rPr lang="en-US"/>
              <a:t>Click to edit Master title style</a:t>
            </a:r>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n-US"/>
              <a:t>Restricted | © Siemens 20XX | Author | Department | YYYY-MM-DD</a:t>
            </a:r>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Nr.›</a:t>
            </a:fld>
            <a:endParaRPr lang="en-US"/>
          </a:p>
        </p:txBody>
      </p:sp>
      <p:grpSp>
        <p:nvGrpSpPr>
          <p:cNvPr id="7" name="Gruppieren 3">
            <a:extLst>
              <a:ext uri="{FF2B5EF4-FFF2-40B4-BE49-F238E27FC236}">
                <a16:creationId xmlns:a16="http://schemas.microsoft.com/office/drawing/2014/main" id="{5BF08B51-0E8B-4B4E-BBCE-8DE0CCABE43A}"/>
              </a:ext>
            </a:extLst>
          </p:cNvPr>
          <p:cNvGrpSpPr/>
          <p:nvPr userDrawn="1"/>
        </p:nvGrpSpPr>
        <p:grpSpPr>
          <a:xfrm>
            <a:off x="-218016" y="-216000"/>
            <a:ext cx="12630816" cy="7290000"/>
            <a:chOff x="-218016" y="-216000"/>
            <a:chExt cx="12630816" cy="7290000"/>
          </a:xfrm>
        </p:grpSpPr>
        <p:cxnSp>
          <p:nvCxnSpPr>
            <p:cNvPr id="8" name="Gerade Verbindung 2">
              <a:extLst>
                <a:ext uri="{FF2B5EF4-FFF2-40B4-BE49-F238E27FC236}">
                  <a16:creationId xmlns:a16="http://schemas.microsoft.com/office/drawing/2014/main" id="{A2EB8FC8-42F9-F447-BEBA-10BCA81050BC}"/>
                </a:ext>
              </a:extLst>
            </p:cNvPr>
            <p:cNvCxnSpPr/>
            <p:nvPr userDrawn="1"/>
          </p:nvCxnSpPr>
          <p:spPr bwMode="auto">
            <a:xfrm>
              <a:off x="41148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35">
              <a:extLst>
                <a:ext uri="{FF2B5EF4-FFF2-40B4-BE49-F238E27FC236}">
                  <a16:creationId xmlns:a16="http://schemas.microsoft.com/office/drawing/2014/main" id="{45AA2C5C-2509-2049-BE83-69F3BA3AA3B7}"/>
                </a:ext>
              </a:extLst>
            </p:cNvPr>
            <p:cNvCxnSpPr/>
            <p:nvPr userDrawn="1"/>
          </p:nvCxnSpPr>
          <p:spPr bwMode="auto">
            <a:xfrm>
              <a:off x="58705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36">
              <a:extLst>
                <a:ext uri="{FF2B5EF4-FFF2-40B4-BE49-F238E27FC236}">
                  <a16:creationId xmlns:a16="http://schemas.microsoft.com/office/drawing/2014/main" id="{1256D47A-D7D8-9945-8A2F-92CE206ACEFE}"/>
                </a:ext>
              </a:extLst>
            </p:cNvPr>
            <p:cNvCxnSpPr/>
            <p:nvPr userDrawn="1"/>
          </p:nvCxnSpPr>
          <p:spPr bwMode="auto">
            <a:xfrm>
              <a:off x="6313932"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37">
              <a:extLst>
                <a:ext uri="{FF2B5EF4-FFF2-40B4-BE49-F238E27FC236}">
                  <a16:creationId xmlns:a16="http://schemas.microsoft.com/office/drawing/2014/main" id="{2FF7A22A-32DC-D848-8B04-4FA556D1671E}"/>
                </a:ext>
              </a:extLst>
            </p:cNvPr>
            <p:cNvCxnSpPr/>
            <p:nvPr userDrawn="1"/>
          </p:nvCxnSpPr>
          <p:spPr bwMode="auto">
            <a:xfrm>
              <a:off x="102799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38">
              <a:extLst>
                <a:ext uri="{FF2B5EF4-FFF2-40B4-BE49-F238E27FC236}">
                  <a16:creationId xmlns:a16="http://schemas.microsoft.com/office/drawing/2014/main" id="{9AE06430-B2B7-F64E-9106-CAE8F9F5DA92}"/>
                </a:ext>
              </a:extLst>
            </p:cNvPr>
            <p:cNvCxnSpPr/>
            <p:nvPr userDrawn="1"/>
          </p:nvCxnSpPr>
          <p:spPr bwMode="auto">
            <a:xfrm>
              <a:off x="1178433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39">
              <a:extLst>
                <a:ext uri="{FF2B5EF4-FFF2-40B4-BE49-F238E27FC236}">
                  <a16:creationId xmlns:a16="http://schemas.microsoft.com/office/drawing/2014/main" id="{4406A71A-09DB-F348-B192-240A550B5BB9}"/>
                </a:ext>
              </a:extLst>
            </p:cNvPr>
            <p:cNvCxnSpPr/>
            <p:nvPr userDrawn="1"/>
          </p:nvCxnSpPr>
          <p:spPr bwMode="auto">
            <a:xfrm rot="5400000">
              <a:off x="12322800" y="39319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41">
              <a:extLst>
                <a:ext uri="{FF2B5EF4-FFF2-40B4-BE49-F238E27FC236}">
                  <a16:creationId xmlns:a16="http://schemas.microsoft.com/office/drawing/2014/main" id="{01D603CD-4712-C647-A6C7-5A541DD2F463}"/>
                </a:ext>
              </a:extLst>
            </p:cNvPr>
            <p:cNvCxnSpPr/>
            <p:nvPr userDrawn="1"/>
          </p:nvCxnSpPr>
          <p:spPr bwMode="auto">
            <a:xfrm rot="5400000">
              <a:off x="123228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42">
              <a:extLst>
                <a:ext uri="{FF2B5EF4-FFF2-40B4-BE49-F238E27FC236}">
                  <a16:creationId xmlns:a16="http://schemas.microsoft.com/office/drawing/2014/main" id="{7AF1283C-8238-6A49-8AE1-B564452483B4}"/>
                </a:ext>
              </a:extLst>
            </p:cNvPr>
            <p:cNvCxnSpPr/>
            <p:nvPr userDrawn="1"/>
          </p:nvCxnSpPr>
          <p:spPr bwMode="auto">
            <a:xfrm rot="5400000">
              <a:off x="12322800" y="3630168"/>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43">
              <a:extLst>
                <a:ext uri="{FF2B5EF4-FFF2-40B4-BE49-F238E27FC236}">
                  <a16:creationId xmlns:a16="http://schemas.microsoft.com/office/drawing/2014/main" id="{469B8231-83A9-7249-92B8-F177E4563036}"/>
                </a:ext>
              </a:extLst>
            </p:cNvPr>
            <p:cNvCxnSpPr/>
            <p:nvPr userDrawn="1"/>
          </p:nvCxnSpPr>
          <p:spPr bwMode="auto">
            <a:xfrm rot="5400000">
              <a:off x="12322800" y="34107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44">
              <a:extLst>
                <a:ext uri="{FF2B5EF4-FFF2-40B4-BE49-F238E27FC236}">
                  <a16:creationId xmlns:a16="http://schemas.microsoft.com/office/drawing/2014/main" id="{FA06087A-88DA-A847-81A7-925C2023B504}"/>
                </a:ext>
              </a:extLst>
            </p:cNvPr>
            <p:cNvCxnSpPr/>
            <p:nvPr userDrawn="1"/>
          </p:nvCxnSpPr>
          <p:spPr bwMode="auto">
            <a:xfrm rot="5400000">
              <a:off x="123228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51">
              <a:extLst>
                <a:ext uri="{FF2B5EF4-FFF2-40B4-BE49-F238E27FC236}">
                  <a16:creationId xmlns:a16="http://schemas.microsoft.com/office/drawing/2014/main" id="{0D4A5FC1-98FE-2748-B3D5-7669FAFFB899}"/>
                </a:ext>
              </a:extLst>
            </p:cNvPr>
            <p:cNvCxnSpPr/>
            <p:nvPr userDrawn="1"/>
          </p:nvCxnSpPr>
          <p:spPr bwMode="auto">
            <a:xfrm>
              <a:off x="41148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52">
              <a:extLst>
                <a:ext uri="{FF2B5EF4-FFF2-40B4-BE49-F238E27FC236}">
                  <a16:creationId xmlns:a16="http://schemas.microsoft.com/office/drawing/2014/main" id="{F2A03674-BAF6-B448-8554-BA4F077F747D}"/>
                </a:ext>
              </a:extLst>
            </p:cNvPr>
            <p:cNvCxnSpPr/>
            <p:nvPr userDrawn="1"/>
          </p:nvCxnSpPr>
          <p:spPr bwMode="auto">
            <a:xfrm>
              <a:off x="5870448"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53">
              <a:extLst>
                <a:ext uri="{FF2B5EF4-FFF2-40B4-BE49-F238E27FC236}">
                  <a16:creationId xmlns:a16="http://schemas.microsoft.com/office/drawing/2014/main" id="{B261D71F-876D-E940-A2C0-2994EF1C3127}"/>
                </a:ext>
              </a:extLst>
            </p:cNvPr>
            <p:cNvCxnSpPr/>
            <p:nvPr userDrawn="1"/>
          </p:nvCxnSpPr>
          <p:spPr bwMode="auto">
            <a:xfrm>
              <a:off x="6318504"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54">
              <a:extLst>
                <a:ext uri="{FF2B5EF4-FFF2-40B4-BE49-F238E27FC236}">
                  <a16:creationId xmlns:a16="http://schemas.microsoft.com/office/drawing/2014/main" id="{FD1E58E8-FC2D-2447-8682-171460183C8A}"/>
                </a:ext>
              </a:extLst>
            </p:cNvPr>
            <p:cNvCxnSpPr/>
            <p:nvPr userDrawn="1"/>
          </p:nvCxnSpPr>
          <p:spPr bwMode="auto">
            <a:xfrm>
              <a:off x="1027565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55">
              <a:extLst>
                <a:ext uri="{FF2B5EF4-FFF2-40B4-BE49-F238E27FC236}">
                  <a16:creationId xmlns:a16="http://schemas.microsoft.com/office/drawing/2014/main" id="{DDB6AE98-9FD8-614D-9DC6-2AAC5C98F4C7}"/>
                </a:ext>
              </a:extLst>
            </p:cNvPr>
            <p:cNvCxnSpPr/>
            <p:nvPr userDrawn="1"/>
          </p:nvCxnSpPr>
          <p:spPr bwMode="auto">
            <a:xfrm>
              <a:off x="11786616"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56">
              <a:extLst>
                <a:ext uri="{FF2B5EF4-FFF2-40B4-BE49-F238E27FC236}">
                  <a16:creationId xmlns:a16="http://schemas.microsoft.com/office/drawing/2014/main" id="{C820C891-6607-9E45-B452-606144E40446}"/>
                </a:ext>
              </a:extLst>
            </p:cNvPr>
            <p:cNvCxnSpPr/>
            <p:nvPr userDrawn="1"/>
          </p:nvCxnSpPr>
          <p:spPr bwMode="auto">
            <a:xfrm rot="5400000">
              <a:off x="-128016" y="38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58">
              <a:extLst>
                <a:ext uri="{FF2B5EF4-FFF2-40B4-BE49-F238E27FC236}">
                  <a16:creationId xmlns:a16="http://schemas.microsoft.com/office/drawing/2014/main" id="{2FB8CF50-2EAD-2648-9969-91111DEE7774}"/>
                </a:ext>
              </a:extLst>
            </p:cNvPr>
            <p:cNvCxnSpPr/>
            <p:nvPr userDrawn="1"/>
          </p:nvCxnSpPr>
          <p:spPr bwMode="auto">
            <a:xfrm rot="5400000">
              <a:off x="-126000" y="13230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59">
              <a:extLst>
                <a:ext uri="{FF2B5EF4-FFF2-40B4-BE49-F238E27FC236}">
                  <a16:creationId xmlns:a16="http://schemas.microsoft.com/office/drawing/2014/main" id="{1097FC6D-4512-3743-AEC2-96BAB10DA524}"/>
                </a:ext>
              </a:extLst>
            </p:cNvPr>
            <p:cNvCxnSpPr/>
            <p:nvPr userDrawn="1"/>
          </p:nvCxnSpPr>
          <p:spPr bwMode="auto">
            <a:xfrm rot="5400000">
              <a:off x="-1260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60">
              <a:extLst>
                <a:ext uri="{FF2B5EF4-FFF2-40B4-BE49-F238E27FC236}">
                  <a16:creationId xmlns:a16="http://schemas.microsoft.com/office/drawing/2014/main" id="{E21200BA-BA71-DE4C-A01D-BA53BF4EE5F3}"/>
                </a:ext>
              </a:extLst>
            </p:cNvPr>
            <p:cNvCxnSpPr/>
            <p:nvPr userDrawn="1"/>
          </p:nvCxnSpPr>
          <p:spPr bwMode="auto">
            <a:xfrm rot="5400000">
              <a:off x="-128016" y="34107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61">
              <a:extLst>
                <a:ext uri="{FF2B5EF4-FFF2-40B4-BE49-F238E27FC236}">
                  <a16:creationId xmlns:a16="http://schemas.microsoft.com/office/drawing/2014/main" id="{CD21236A-ACC4-6C41-8B1B-938B6930E97B}"/>
                </a:ext>
              </a:extLst>
            </p:cNvPr>
            <p:cNvCxnSpPr/>
            <p:nvPr userDrawn="1"/>
          </p:nvCxnSpPr>
          <p:spPr bwMode="auto">
            <a:xfrm rot="5400000">
              <a:off x="-1260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49" name="Gruppieren 3">
            <a:extLst>
              <a:ext uri="{FF2B5EF4-FFF2-40B4-BE49-F238E27FC236}">
                <a16:creationId xmlns:a16="http://schemas.microsoft.com/office/drawing/2014/main" id="{01CBE83D-A4F6-2941-9438-E3C1217F942C}"/>
              </a:ext>
            </a:extLst>
          </p:cNvPr>
          <p:cNvGrpSpPr/>
          <p:nvPr userDrawn="1"/>
        </p:nvGrpSpPr>
        <p:grpSpPr>
          <a:xfrm>
            <a:off x="-219408" y="-216000"/>
            <a:ext cx="12630816" cy="7290000"/>
            <a:chOff x="-218016" y="-216000"/>
            <a:chExt cx="12630816" cy="7290000"/>
          </a:xfrm>
        </p:grpSpPr>
        <p:cxnSp>
          <p:nvCxnSpPr>
            <p:cNvPr id="50" name="Gerade Verbindung 2">
              <a:extLst>
                <a:ext uri="{FF2B5EF4-FFF2-40B4-BE49-F238E27FC236}">
                  <a16:creationId xmlns:a16="http://schemas.microsoft.com/office/drawing/2014/main" id="{9F30D590-6F85-4C45-AFB5-FE3571771DEA}"/>
                </a:ext>
              </a:extLst>
            </p:cNvPr>
            <p:cNvCxnSpPr/>
            <p:nvPr userDrawn="1"/>
          </p:nvCxnSpPr>
          <p:spPr bwMode="auto">
            <a:xfrm>
              <a:off x="411480" y="-2160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35">
              <a:extLst>
                <a:ext uri="{FF2B5EF4-FFF2-40B4-BE49-F238E27FC236}">
                  <a16:creationId xmlns:a16="http://schemas.microsoft.com/office/drawing/2014/main" id="{F3E0453E-C124-A240-9AD7-909657633D9D}"/>
                </a:ext>
              </a:extLst>
            </p:cNvPr>
            <p:cNvCxnSpPr/>
            <p:nvPr userDrawn="1"/>
          </p:nvCxnSpPr>
          <p:spPr bwMode="auto">
            <a:xfrm>
              <a:off x="5870575" y="-2160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36">
              <a:extLst>
                <a:ext uri="{FF2B5EF4-FFF2-40B4-BE49-F238E27FC236}">
                  <a16:creationId xmlns:a16="http://schemas.microsoft.com/office/drawing/2014/main" id="{2AD9BA24-7CF8-1A41-A2C2-71903F9CF0FC}"/>
                </a:ext>
              </a:extLst>
            </p:cNvPr>
            <p:cNvCxnSpPr/>
            <p:nvPr userDrawn="1"/>
          </p:nvCxnSpPr>
          <p:spPr bwMode="auto">
            <a:xfrm>
              <a:off x="6313932" y="-2160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37">
              <a:extLst>
                <a:ext uri="{FF2B5EF4-FFF2-40B4-BE49-F238E27FC236}">
                  <a16:creationId xmlns:a16="http://schemas.microsoft.com/office/drawing/2014/main" id="{DE4D2533-8436-AE45-9F67-00ED0A0F6E45}"/>
                </a:ext>
              </a:extLst>
            </p:cNvPr>
            <p:cNvCxnSpPr/>
            <p:nvPr userDrawn="1"/>
          </p:nvCxnSpPr>
          <p:spPr bwMode="auto">
            <a:xfrm>
              <a:off x="10279963" y="-2160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38">
              <a:extLst>
                <a:ext uri="{FF2B5EF4-FFF2-40B4-BE49-F238E27FC236}">
                  <a16:creationId xmlns:a16="http://schemas.microsoft.com/office/drawing/2014/main" id="{7294E8D8-5553-7743-BF1D-B2371DD8B3A5}"/>
                </a:ext>
              </a:extLst>
            </p:cNvPr>
            <p:cNvCxnSpPr/>
            <p:nvPr userDrawn="1"/>
          </p:nvCxnSpPr>
          <p:spPr bwMode="auto">
            <a:xfrm>
              <a:off x="11784330" y="-2160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39">
              <a:extLst>
                <a:ext uri="{FF2B5EF4-FFF2-40B4-BE49-F238E27FC236}">
                  <a16:creationId xmlns:a16="http://schemas.microsoft.com/office/drawing/2014/main" id="{A6A60583-AF5C-1F42-89E2-4D2D1886FBFE}"/>
                </a:ext>
              </a:extLst>
            </p:cNvPr>
            <p:cNvCxnSpPr/>
            <p:nvPr userDrawn="1"/>
          </p:nvCxnSpPr>
          <p:spPr bwMode="auto">
            <a:xfrm rot="5400000">
              <a:off x="12322800" y="393192"/>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41">
              <a:extLst>
                <a:ext uri="{FF2B5EF4-FFF2-40B4-BE49-F238E27FC236}">
                  <a16:creationId xmlns:a16="http://schemas.microsoft.com/office/drawing/2014/main" id="{5E9B4126-09B1-4A43-B5CF-03623E61731A}"/>
                </a:ext>
              </a:extLst>
            </p:cNvPr>
            <p:cNvCxnSpPr/>
            <p:nvPr userDrawn="1"/>
          </p:nvCxnSpPr>
          <p:spPr bwMode="auto">
            <a:xfrm rot="5400000">
              <a:off x="12322800" y="13248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42">
              <a:extLst>
                <a:ext uri="{FF2B5EF4-FFF2-40B4-BE49-F238E27FC236}">
                  <a16:creationId xmlns:a16="http://schemas.microsoft.com/office/drawing/2014/main" id="{DF9DF719-060E-D24D-95A4-E365CE60FFC6}"/>
                </a:ext>
              </a:extLst>
            </p:cNvPr>
            <p:cNvCxnSpPr/>
            <p:nvPr userDrawn="1"/>
          </p:nvCxnSpPr>
          <p:spPr bwMode="auto">
            <a:xfrm rot="5400000">
              <a:off x="12322800" y="3630168"/>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43">
              <a:extLst>
                <a:ext uri="{FF2B5EF4-FFF2-40B4-BE49-F238E27FC236}">
                  <a16:creationId xmlns:a16="http://schemas.microsoft.com/office/drawing/2014/main" id="{BD74049E-B303-4E43-ABF0-31D6DDFDFE49}"/>
                </a:ext>
              </a:extLst>
            </p:cNvPr>
            <p:cNvCxnSpPr/>
            <p:nvPr userDrawn="1"/>
          </p:nvCxnSpPr>
          <p:spPr bwMode="auto">
            <a:xfrm rot="5400000">
              <a:off x="12322800" y="3410712"/>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44">
              <a:extLst>
                <a:ext uri="{FF2B5EF4-FFF2-40B4-BE49-F238E27FC236}">
                  <a16:creationId xmlns:a16="http://schemas.microsoft.com/office/drawing/2014/main" id="{2734493C-C6F4-1F4C-BBEB-22B1FA9F318A}"/>
                </a:ext>
              </a:extLst>
            </p:cNvPr>
            <p:cNvCxnSpPr/>
            <p:nvPr userDrawn="1"/>
          </p:nvCxnSpPr>
          <p:spPr bwMode="auto">
            <a:xfrm rot="5400000">
              <a:off x="12322800" y="60768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1">
              <a:extLst>
                <a:ext uri="{FF2B5EF4-FFF2-40B4-BE49-F238E27FC236}">
                  <a16:creationId xmlns:a16="http://schemas.microsoft.com/office/drawing/2014/main" id="{00840618-8CEF-5048-BF8B-4A0162F36DDC}"/>
                </a:ext>
              </a:extLst>
            </p:cNvPr>
            <p:cNvCxnSpPr/>
            <p:nvPr userDrawn="1"/>
          </p:nvCxnSpPr>
          <p:spPr bwMode="auto">
            <a:xfrm>
              <a:off x="411480" y="68940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52">
              <a:extLst>
                <a:ext uri="{FF2B5EF4-FFF2-40B4-BE49-F238E27FC236}">
                  <a16:creationId xmlns:a16="http://schemas.microsoft.com/office/drawing/2014/main" id="{A32EDF95-3EB2-E04D-ABD9-2615A2926451}"/>
                </a:ext>
              </a:extLst>
            </p:cNvPr>
            <p:cNvCxnSpPr/>
            <p:nvPr userDrawn="1"/>
          </p:nvCxnSpPr>
          <p:spPr bwMode="auto">
            <a:xfrm>
              <a:off x="5870448" y="68940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53">
              <a:extLst>
                <a:ext uri="{FF2B5EF4-FFF2-40B4-BE49-F238E27FC236}">
                  <a16:creationId xmlns:a16="http://schemas.microsoft.com/office/drawing/2014/main" id="{254AC172-B264-1443-9A2D-1816C3F5617E}"/>
                </a:ext>
              </a:extLst>
            </p:cNvPr>
            <p:cNvCxnSpPr/>
            <p:nvPr userDrawn="1"/>
          </p:nvCxnSpPr>
          <p:spPr bwMode="auto">
            <a:xfrm>
              <a:off x="6318504" y="68940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54">
              <a:extLst>
                <a:ext uri="{FF2B5EF4-FFF2-40B4-BE49-F238E27FC236}">
                  <a16:creationId xmlns:a16="http://schemas.microsoft.com/office/drawing/2014/main" id="{215B6AD9-EB05-BB4F-91A6-AED674CB0320}"/>
                </a:ext>
              </a:extLst>
            </p:cNvPr>
            <p:cNvCxnSpPr/>
            <p:nvPr userDrawn="1"/>
          </p:nvCxnSpPr>
          <p:spPr bwMode="auto">
            <a:xfrm>
              <a:off x="10275659" y="68940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55">
              <a:extLst>
                <a:ext uri="{FF2B5EF4-FFF2-40B4-BE49-F238E27FC236}">
                  <a16:creationId xmlns:a16="http://schemas.microsoft.com/office/drawing/2014/main" id="{63F5126D-4157-964B-A340-F5B51E6EEDB1}"/>
                </a:ext>
              </a:extLst>
            </p:cNvPr>
            <p:cNvCxnSpPr/>
            <p:nvPr userDrawn="1"/>
          </p:nvCxnSpPr>
          <p:spPr bwMode="auto">
            <a:xfrm>
              <a:off x="11786616" y="68940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56">
              <a:extLst>
                <a:ext uri="{FF2B5EF4-FFF2-40B4-BE49-F238E27FC236}">
                  <a16:creationId xmlns:a16="http://schemas.microsoft.com/office/drawing/2014/main" id="{90B9DD0F-F71E-7A47-9F5A-56C34A219995}"/>
                </a:ext>
              </a:extLst>
            </p:cNvPr>
            <p:cNvCxnSpPr/>
            <p:nvPr userDrawn="1"/>
          </p:nvCxnSpPr>
          <p:spPr bwMode="auto">
            <a:xfrm rot="5400000">
              <a:off x="-128016" y="3888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58">
              <a:extLst>
                <a:ext uri="{FF2B5EF4-FFF2-40B4-BE49-F238E27FC236}">
                  <a16:creationId xmlns:a16="http://schemas.microsoft.com/office/drawing/2014/main" id="{EC96ABE1-57CF-6449-9CAF-76CBB966F92C}"/>
                </a:ext>
              </a:extLst>
            </p:cNvPr>
            <p:cNvCxnSpPr/>
            <p:nvPr userDrawn="1"/>
          </p:nvCxnSpPr>
          <p:spPr bwMode="auto">
            <a:xfrm rot="5400000">
              <a:off x="-126000" y="132305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59">
              <a:extLst>
                <a:ext uri="{FF2B5EF4-FFF2-40B4-BE49-F238E27FC236}">
                  <a16:creationId xmlns:a16="http://schemas.microsoft.com/office/drawing/2014/main" id="{41A0C347-A496-F74C-8361-88A0DE9F8472}"/>
                </a:ext>
              </a:extLst>
            </p:cNvPr>
            <p:cNvCxnSpPr/>
            <p:nvPr userDrawn="1"/>
          </p:nvCxnSpPr>
          <p:spPr bwMode="auto">
            <a:xfrm rot="5400000">
              <a:off x="-126000" y="36288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0">
              <a:extLst>
                <a:ext uri="{FF2B5EF4-FFF2-40B4-BE49-F238E27FC236}">
                  <a16:creationId xmlns:a16="http://schemas.microsoft.com/office/drawing/2014/main" id="{AC10639B-8CBC-CB4A-833E-3FFE95989676}"/>
                </a:ext>
              </a:extLst>
            </p:cNvPr>
            <p:cNvCxnSpPr/>
            <p:nvPr userDrawn="1"/>
          </p:nvCxnSpPr>
          <p:spPr bwMode="auto">
            <a:xfrm rot="5400000">
              <a:off x="-128016" y="3410712"/>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1">
              <a:extLst>
                <a:ext uri="{FF2B5EF4-FFF2-40B4-BE49-F238E27FC236}">
                  <a16:creationId xmlns:a16="http://schemas.microsoft.com/office/drawing/2014/main" id="{2C770E11-62E3-8941-AF81-9CD5EDF7259A}"/>
                </a:ext>
              </a:extLst>
            </p:cNvPr>
            <p:cNvCxnSpPr/>
            <p:nvPr userDrawn="1"/>
          </p:nvCxnSpPr>
          <p:spPr bwMode="auto">
            <a:xfrm rot="5400000">
              <a:off x="-126000" y="6076800"/>
              <a:ext cx="0" cy="180000"/>
            </a:xfrm>
            <a:prstGeom prst="line">
              <a:avLst/>
            </a:prstGeom>
            <a:solidFill>
              <a:schemeClr val="tx2"/>
            </a:solidFill>
            <a:ln w="3175" cap="flat" cmpd="sng" algn="ctr">
              <a:solidFill>
                <a:srgbClr val="33335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09" r:id="rId1"/>
    <p:sldLayoutId id="2147483655" r:id="rId2"/>
    <p:sldLayoutId id="2147483691" r:id="rId3"/>
    <p:sldLayoutId id="2147483692" r:id="rId4"/>
    <p:sldLayoutId id="2147483682" r:id="rId5"/>
    <p:sldLayoutId id="2147483886" r:id="rId6"/>
    <p:sldLayoutId id="2147483678" r:id="rId7"/>
    <p:sldLayoutId id="2147483748" r:id="rId8"/>
    <p:sldLayoutId id="2147485436" r:id="rId9"/>
    <p:sldLayoutId id="2147484897" r:id="rId10"/>
    <p:sldLayoutId id="2147484898" r:id="rId11"/>
    <p:sldLayoutId id="2147484899" r:id="rId12"/>
    <p:sldLayoutId id="2147485437" r:id="rId13"/>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81542FE-3960-0CD2-B1A3-082FFAF97F03}"/>
              </a:ext>
            </a:extLst>
          </p:cNvPr>
          <p:cNvGraphicFramePr>
            <a:graphicFrameLocks noChangeAspect="1"/>
          </p:cNvGraphicFramePr>
          <p:nvPr userDrawn="1">
            <p:custDataLst>
              <p:tags r:id="rId6"/>
            </p:custDataLst>
            <p:extLst>
              <p:ext uri="{D42A27DB-BD31-4B8C-83A1-F6EECF244321}">
                <p14:modId xmlns:p14="http://schemas.microsoft.com/office/powerpoint/2010/main" val="32499115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8" name="think-cell data - do not delete" hidden="1">
                        <a:extLst>
                          <a:ext uri="{FF2B5EF4-FFF2-40B4-BE49-F238E27FC236}">
                            <a16:creationId xmlns:a16="http://schemas.microsoft.com/office/drawing/2014/main" id="{281542FE-3960-0CD2-B1A3-082FFAF97F03}"/>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2" name="Title Placeholder" descr="Slide headline">
            <a:extLst>
              <a:ext uri="{FF2B5EF4-FFF2-40B4-BE49-F238E27FC236}">
                <a16:creationId xmlns:a16="http://schemas.microsoft.com/office/drawing/2014/main" id="{2500D031-E8B7-42AD-B616-57A243A31EFA}"/>
              </a:ext>
            </a:extLst>
          </p:cNvPr>
          <p:cNvSpPr>
            <a:spLocks noGrp="1"/>
          </p:cNvSpPr>
          <p:nvPr>
            <p:ph type="title"/>
          </p:nvPr>
        </p:nvSpPr>
        <p:spPr bwMode="black">
          <a:xfrm>
            <a:off x="410400" y="478800"/>
            <a:ext cx="9863997" cy="576000"/>
          </a:xfrm>
          <a:prstGeom prst="rect">
            <a:avLst/>
          </a:prstGeom>
        </p:spPr>
        <p:txBody>
          <a:bodyPr vert="horz" lIns="0" tIns="0" rIns="324000" bIns="14400" rtlCol="0" anchor="t" anchorCtr="0">
            <a:noAutofit/>
          </a:bodyPr>
          <a:lstStyle/>
          <a:p>
            <a:r>
              <a:rPr lang="en-US"/>
              <a:t>Click to edit Master title style</a:t>
            </a:r>
          </a:p>
        </p:txBody>
      </p:sp>
      <p:sp>
        <p:nvSpPr>
          <p:cNvPr id="3" name="Text Placeholder" descr="Content text frame">
            <a:extLst>
              <a:ext uri="{FF2B5EF4-FFF2-40B4-BE49-F238E27FC236}">
                <a16:creationId xmlns:a16="http://schemas.microsoft.com/office/drawing/2014/main" id="{6750A408-ED0E-47CF-AC3A-5AD4A6E25CE3}"/>
              </a:ext>
            </a:extLst>
          </p:cNvPr>
          <p:cNvSpPr>
            <a:spLocks noGrp="1"/>
          </p:cNvSpPr>
          <p:nvPr>
            <p:ph type="body" idx="1"/>
          </p:nvPr>
        </p:nvSpPr>
        <p:spPr bwMode="black">
          <a:xfrm>
            <a:off x="411161" y="1414800"/>
            <a:ext cx="7200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descr="Footer with copyright, author and department information, and date">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latin typeface="+mn-lt"/>
              </a:defRPr>
            </a:lvl1pPr>
          </a:lstStyle>
          <a:p>
            <a:r>
              <a:rPr lang="en-US"/>
              <a:t>Restricted | © Siemens 20XX | Author | Department | YYYY-MM-DD</a:t>
            </a:r>
          </a:p>
        </p:txBody>
      </p:sp>
      <p:sp>
        <p:nvSpPr>
          <p:cNvPr id="6" name="Slide Number Placeholder" descr="Page numb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latin typeface="+mn-lt"/>
              </a:defRPr>
            </a:lvl1pPr>
          </a:lstStyle>
          <a:p>
            <a:r>
              <a:rPr lang="en-US"/>
              <a:t>Page </a:t>
            </a:r>
            <a:fld id="{15EBE321-CBB1-4E91-BD14-37C8D44326FB}" type="slidenum">
              <a:rPr lang="en-US"/>
              <a:pPr/>
              <a:t>‹Nr.›</a:t>
            </a:fld>
            <a:endParaRPr lang="en-US"/>
          </a:p>
        </p:txBody>
      </p:sp>
      <p:sp>
        <p:nvSpPr>
          <p:cNvPr id="4" name="empower - DO NOT DELETE!!!" hidden="1">
            <a:extLst>
              <a:ext uri="{FF2B5EF4-FFF2-40B4-BE49-F238E27FC236}">
                <a16:creationId xmlns:a16="http://schemas.microsoft.com/office/drawing/2014/main" id="{B40B804A-5F6B-6160-0B76-A48ED76A5F98}"/>
              </a:ext>
            </a:extLst>
          </p:cNvPr>
          <p:cNvSpPr/>
          <p:nvPr userDrawn="1">
            <p:custDataLst>
              <p:tags r:id="rId7"/>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lvl="0" algn="l"/>
            <a:endParaRPr lang="en-US"/>
          </a:p>
        </p:txBody>
      </p:sp>
    </p:spTree>
    <p:extLst>
      <p:ext uri="{BB962C8B-B14F-4D97-AF65-F5344CB8AC3E}">
        <p14:creationId xmlns:p14="http://schemas.microsoft.com/office/powerpoint/2010/main" val="1304823156"/>
      </p:ext>
    </p:extLst>
  </p:cSld>
  <p:clrMap bg1="lt1" tx1="dk1" bg2="lt2" tx2="dk2" accent1="accent1" accent2="accent2" accent3="accent3" accent4="accent4" accent5="accent5" accent6="accent6" hlink="hlink" folHlink="folHlink"/>
  <p:sldLayoutIdLst>
    <p:sldLayoutId id="2147485439" r:id="rId1"/>
    <p:sldLayoutId id="2147485440" r:id="rId2"/>
    <p:sldLayoutId id="2147485441" r:id="rId3"/>
    <p:sldLayoutId id="2147485442" r:id="rId4"/>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368744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6226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55693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48419"/>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rt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6003925"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b="1"/>
              <a:t>Above Chart Exhibit Title</a:t>
            </a:r>
            <a:br>
              <a:rPr lang="en-US" b="1"/>
            </a:b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170800"/>
            <a:ext cx="2843333"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8FF172CD-A6D2-4956-93F5-72530723D9AD}"/>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D9DE8A3D-F2C5-44B7-8977-C2E2620B83A8}"/>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72" name="Legend2" hidden="1">
              <a:extLst>
                <a:ext uri="{FF2B5EF4-FFF2-40B4-BE49-F238E27FC236}">
                  <a16:creationId xmlns:a16="http://schemas.microsoft.com/office/drawing/2014/main" id="{E56E5715-CA45-4CC9-AF01-7CE446FB9396}"/>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73" name="Legend3" hidden="1">
              <a:extLst>
                <a:ext uri="{FF2B5EF4-FFF2-40B4-BE49-F238E27FC236}">
                  <a16:creationId xmlns:a16="http://schemas.microsoft.com/office/drawing/2014/main" id="{36FD9D14-0C4C-47D3-9C09-8EE64A2120F8}"/>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75" name="LineLegend3" hidden="1">
              <a:extLst>
                <a:ext uri="{FF2B5EF4-FFF2-40B4-BE49-F238E27FC236}">
                  <a16:creationId xmlns:a16="http://schemas.microsoft.com/office/drawing/2014/main" id="{847A9FCB-F05B-4BA6-8A15-8DA42D7ABDD3}"/>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400" baseline="0">
                <a:ea typeface="+mn-ea"/>
              </a:endParaRPr>
            </a:p>
          </p:txBody>
        </p:sp>
        <p:sp>
          <p:nvSpPr>
            <p:cNvPr id="176" name="LineLegend2" hidden="1">
              <a:extLst>
                <a:ext uri="{FF2B5EF4-FFF2-40B4-BE49-F238E27FC236}">
                  <a16:creationId xmlns:a16="http://schemas.microsoft.com/office/drawing/2014/main" id="{349C543A-09FC-442E-A961-AC24671E824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400" baseline="0">
                <a:ea typeface="+mn-ea"/>
              </a:endParaRPr>
            </a:p>
          </p:txBody>
        </p:sp>
        <p:sp>
          <p:nvSpPr>
            <p:cNvPr id="177" name="LineLegend1" hidden="1">
              <a:extLst>
                <a:ext uri="{FF2B5EF4-FFF2-40B4-BE49-F238E27FC236}">
                  <a16:creationId xmlns:a16="http://schemas.microsoft.com/office/drawing/2014/main" id="{A096E042-E74F-403E-B61A-86F693330F3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400" baseline="0">
                <a:ea typeface="+mn-ea"/>
              </a:endParaRPr>
            </a:p>
          </p:txBody>
        </p:sp>
      </p:grpSp>
      <p:grpSp>
        <p:nvGrpSpPr>
          <p:cNvPr id="178" name="LegendMoons" hidden="1">
            <a:extLst>
              <a:ext uri="{FF2B5EF4-FFF2-40B4-BE49-F238E27FC236}">
                <a16:creationId xmlns:a16="http://schemas.microsoft.com/office/drawing/2014/main" id="{EBED3E0B-B87E-4FA9-B15C-1A5D61D1FC5A}"/>
              </a:ext>
            </a:extLst>
          </p:cNvPr>
          <p:cNvGrpSpPr/>
          <p:nvPr userDrawn="1"/>
        </p:nvGrpSpPr>
        <p:grpSpPr>
          <a:xfrm>
            <a:off x="10688315" y="1145373"/>
            <a:ext cx="948949" cy="1731859"/>
            <a:chOff x="7723680" y="1702457"/>
            <a:chExt cx="948949" cy="1731859"/>
          </a:xfrm>
        </p:grpSpPr>
        <p:sp>
          <p:nvSpPr>
            <p:cNvPr id="186" name="Legend1" hidden="1">
              <a:extLst>
                <a:ext uri="{FF2B5EF4-FFF2-40B4-BE49-F238E27FC236}">
                  <a16:creationId xmlns:a16="http://schemas.microsoft.com/office/drawing/2014/main" id="{0393E35B-0269-4905-B4F2-AEFEB469EA07}"/>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8" name="Legend2" hidden="1">
              <a:extLst>
                <a:ext uri="{FF2B5EF4-FFF2-40B4-BE49-F238E27FC236}">
                  <a16:creationId xmlns:a16="http://schemas.microsoft.com/office/drawing/2014/main" id="{18C1BFA8-4018-4A0E-AAB6-B28AADD58A9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9" name="Legend3" hidden="1">
              <a:extLst>
                <a:ext uri="{FF2B5EF4-FFF2-40B4-BE49-F238E27FC236}">
                  <a16:creationId xmlns:a16="http://schemas.microsoft.com/office/drawing/2014/main" id="{3943D9B2-29B9-41E7-A7CC-158FA87F59F6}"/>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00" name="Legend4" hidden="1">
              <a:extLst>
                <a:ext uri="{FF2B5EF4-FFF2-40B4-BE49-F238E27FC236}">
                  <a16:creationId xmlns:a16="http://schemas.microsoft.com/office/drawing/2014/main" id="{0FA43729-40F2-44E5-AF47-AFD57173FF6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01" name="Legend5" hidden="1">
              <a:extLst>
                <a:ext uri="{FF2B5EF4-FFF2-40B4-BE49-F238E27FC236}">
                  <a16:creationId xmlns:a16="http://schemas.microsoft.com/office/drawing/2014/main" id="{BC018D7E-9C13-450C-A7E1-909EE23987A4}"/>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202" name="MoonLegend1" hidden="1">
              <a:extLst>
                <a:ext uri="{FF2B5EF4-FFF2-40B4-BE49-F238E27FC236}">
                  <a16:creationId xmlns:a16="http://schemas.microsoft.com/office/drawing/2014/main" id="{2C6015B0-038B-4F26-8BBD-742A5282DD6C}"/>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5" name="Oval 214" hidden="1">
                <a:extLst>
                  <a:ext uri="{FF2B5EF4-FFF2-40B4-BE49-F238E27FC236}">
                    <a16:creationId xmlns:a16="http://schemas.microsoft.com/office/drawing/2014/main" id="{4921D9BE-76B1-4DB7-87A0-95614C1972BE}"/>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16" name="Arc 215" hidden="1">
                <a:extLst>
                  <a:ext uri="{FF2B5EF4-FFF2-40B4-BE49-F238E27FC236}">
                    <a16:creationId xmlns:a16="http://schemas.microsoft.com/office/drawing/2014/main" id="{45E668F6-D742-4EB6-927A-04C36310E46C}"/>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03" name="MoonLegend2" hidden="1">
              <a:extLst>
                <a:ext uri="{FF2B5EF4-FFF2-40B4-BE49-F238E27FC236}">
                  <a16:creationId xmlns:a16="http://schemas.microsoft.com/office/drawing/2014/main" id="{80BB7171-39DC-4168-AD25-B18810904478}"/>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3" name="Oval 212" hidden="1">
                <a:extLst>
                  <a:ext uri="{FF2B5EF4-FFF2-40B4-BE49-F238E27FC236}">
                    <a16:creationId xmlns:a16="http://schemas.microsoft.com/office/drawing/2014/main" id="{01442524-DA27-4E37-87F3-7D204CDA3DD2}"/>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14" name="Arc 213" hidden="1">
                <a:extLst>
                  <a:ext uri="{FF2B5EF4-FFF2-40B4-BE49-F238E27FC236}">
                    <a16:creationId xmlns:a16="http://schemas.microsoft.com/office/drawing/2014/main" id="{3FDA603E-338B-4D5C-927C-BE371B8FCF2A}"/>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04" name="MoonLegend3" hidden="1">
              <a:extLst>
                <a:ext uri="{FF2B5EF4-FFF2-40B4-BE49-F238E27FC236}">
                  <a16:creationId xmlns:a16="http://schemas.microsoft.com/office/drawing/2014/main" id="{D16729FB-155F-4102-A647-5B0EA1CD75D2}"/>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1" name="Oval 210" hidden="1">
                <a:extLst>
                  <a:ext uri="{FF2B5EF4-FFF2-40B4-BE49-F238E27FC236}">
                    <a16:creationId xmlns:a16="http://schemas.microsoft.com/office/drawing/2014/main" id="{A87914D3-ABF8-48A3-969E-AA3D727A65D8}"/>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12" name="Arc 211" hidden="1">
                <a:extLst>
                  <a:ext uri="{FF2B5EF4-FFF2-40B4-BE49-F238E27FC236}">
                    <a16:creationId xmlns:a16="http://schemas.microsoft.com/office/drawing/2014/main" id="{07D54EA2-C4A1-47B3-A3BE-B4389B05B31D}"/>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05" name="MoonLegend4" hidden="1">
              <a:extLst>
                <a:ext uri="{FF2B5EF4-FFF2-40B4-BE49-F238E27FC236}">
                  <a16:creationId xmlns:a16="http://schemas.microsoft.com/office/drawing/2014/main" id="{198709C1-EB57-4D93-8B47-9CB01F4B0358}"/>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9" name="Oval 208" hidden="1">
                <a:extLst>
                  <a:ext uri="{FF2B5EF4-FFF2-40B4-BE49-F238E27FC236}">
                    <a16:creationId xmlns:a16="http://schemas.microsoft.com/office/drawing/2014/main" id="{F8AEECA8-F5DC-4748-A174-4094E2374849}"/>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10" name="Arc 209" hidden="1">
                <a:extLst>
                  <a:ext uri="{FF2B5EF4-FFF2-40B4-BE49-F238E27FC236}">
                    <a16:creationId xmlns:a16="http://schemas.microsoft.com/office/drawing/2014/main" id="{5137D9C4-0FF1-461E-A2BC-C81DDB167E84}"/>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206" name="MoonLegend5" hidden="1">
              <a:extLst>
                <a:ext uri="{FF2B5EF4-FFF2-40B4-BE49-F238E27FC236}">
                  <a16:creationId xmlns:a16="http://schemas.microsoft.com/office/drawing/2014/main" id="{60DB27C9-D6AB-4E88-95F6-179894B0752E}"/>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7" name="Oval 206" hidden="1">
                <a:extLst>
                  <a:ext uri="{FF2B5EF4-FFF2-40B4-BE49-F238E27FC236}">
                    <a16:creationId xmlns:a16="http://schemas.microsoft.com/office/drawing/2014/main" id="{50EAC210-F614-432A-B953-01A1DD778E59}"/>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208" name="Arc 207" hidden="1">
                <a:extLst>
                  <a:ext uri="{FF2B5EF4-FFF2-40B4-BE49-F238E27FC236}">
                    <a16:creationId xmlns:a16="http://schemas.microsoft.com/office/drawing/2014/main" id="{D090D763-5DC2-438D-A17B-BE6EAAECAF6E}"/>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217" name="LegendBoxes" hidden="1">
            <a:extLst>
              <a:ext uri="{FF2B5EF4-FFF2-40B4-BE49-F238E27FC236}">
                <a16:creationId xmlns:a16="http://schemas.microsoft.com/office/drawing/2014/main" id="{A6DD9C17-D5B9-4F1C-8705-2DDD85377534}"/>
              </a:ext>
            </a:extLst>
          </p:cNvPr>
          <p:cNvGrpSpPr/>
          <p:nvPr userDrawn="1"/>
        </p:nvGrpSpPr>
        <p:grpSpPr>
          <a:xfrm>
            <a:off x="10714801" y="4381500"/>
            <a:ext cx="922463" cy="1717282"/>
            <a:chOff x="10652400" y="4322824"/>
            <a:chExt cx="922463" cy="1717282"/>
          </a:xfrm>
        </p:grpSpPr>
        <p:sp>
          <p:nvSpPr>
            <p:cNvPr id="218" name="RectangleLegend1" hidden="1">
              <a:extLst>
                <a:ext uri="{FF2B5EF4-FFF2-40B4-BE49-F238E27FC236}">
                  <a16:creationId xmlns:a16="http://schemas.microsoft.com/office/drawing/2014/main" id="{6204FBD7-6B21-4E80-91DC-C13338A86A5D}"/>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219" name="RectangleLegend2" hidden="1">
              <a:extLst>
                <a:ext uri="{FF2B5EF4-FFF2-40B4-BE49-F238E27FC236}">
                  <a16:creationId xmlns:a16="http://schemas.microsoft.com/office/drawing/2014/main" id="{4C11799D-5D09-476B-8F73-6F865340984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220" name="RectangleLegend3" hidden="1">
              <a:extLst>
                <a:ext uri="{FF2B5EF4-FFF2-40B4-BE49-F238E27FC236}">
                  <a16:creationId xmlns:a16="http://schemas.microsoft.com/office/drawing/2014/main" id="{74AFCC1F-CDDB-4CD7-B444-8A44FA9FB18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221" name="RectangleLegend4" hidden="1">
              <a:extLst>
                <a:ext uri="{FF2B5EF4-FFF2-40B4-BE49-F238E27FC236}">
                  <a16:creationId xmlns:a16="http://schemas.microsoft.com/office/drawing/2014/main" id="{5B9ECA49-AEC4-4001-82F7-3321CB00E06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222" name="RectangleLegend5" hidden="1">
              <a:extLst>
                <a:ext uri="{FF2B5EF4-FFF2-40B4-BE49-F238E27FC236}">
                  <a16:creationId xmlns:a16="http://schemas.microsoft.com/office/drawing/2014/main" id="{FE1FE8E6-4A89-47E5-A5E6-68C2F979F7B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223" name="Legend1" hidden="1">
              <a:extLst>
                <a:ext uri="{FF2B5EF4-FFF2-40B4-BE49-F238E27FC236}">
                  <a16:creationId xmlns:a16="http://schemas.microsoft.com/office/drawing/2014/main" id="{84DEC06E-C0BA-4E87-9157-F058165EB85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4" name="Legend2" hidden="1">
              <a:extLst>
                <a:ext uri="{FF2B5EF4-FFF2-40B4-BE49-F238E27FC236}">
                  <a16:creationId xmlns:a16="http://schemas.microsoft.com/office/drawing/2014/main" id="{98B4AFBD-48BD-4DB6-8C68-767D19922F82}"/>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5" name="Legend3" hidden="1">
              <a:extLst>
                <a:ext uri="{FF2B5EF4-FFF2-40B4-BE49-F238E27FC236}">
                  <a16:creationId xmlns:a16="http://schemas.microsoft.com/office/drawing/2014/main" id="{7D7D57CD-4A83-4988-A123-C3FCEAE1248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6" name="Legend4" hidden="1">
              <a:extLst>
                <a:ext uri="{FF2B5EF4-FFF2-40B4-BE49-F238E27FC236}">
                  <a16:creationId xmlns:a16="http://schemas.microsoft.com/office/drawing/2014/main" id="{116BD8D7-340E-4F68-BE26-889D5C01B890}"/>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7" name="Legend5" hidden="1">
              <a:extLst>
                <a:ext uri="{FF2B5EF4-FFF2-40B4-BE49-F238E27FC236}">
                  <a16:creationId xmlns:a16="http://schemas.microsoft.com/office/drawing/2014/main" id="{2D4FAB32-B23E-4C59-A9E0-AB00F3BCC90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sp>
        <p:nvSpPr>
          <p:cNvPr id="150" name="Footer Placeholder 4">
            <a:extLst>
              <a:ext uri="{FF2B5EF4-FFF2-40B4-BE49-F238E27FC236}">
                <a16:creationId xmlns:a16="http://schemas.microsoft.com/office/drawing/2014/main" id="{76B8D7E5-B124-4CFD-AE00-3A3420D97910}"/>
              </a:ext>
            </a:extLst>
          </p:cNvPr>
          <p:cNvSpPr txBox="1">
            <a:spLocks/>
          </p:cNvSpPr>
          <p:nvPr userDrawn="1"/>
        </p:nvSpPr>
        <p:spPr bwMode="gray">
          <a:xfrm flipH="1">
            <a:off x="885068" y="6657610"/>
            <a:ext cx="1512000"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baseline="0">
                <a:solidFill>
                  <a:schemeClr val="tx1"/>
                </a:solidFill>
                <a:latin typeface="+mn-lt"/>
              </a:rPr>
              <a:t>Confidential for internal use only</a:t>
            </a:r>
          </a:p>
        </p:txBody>
      </p:sp>
      <p:pic>
        <p:nvPicPr>
          <p:cNvPr id="157" name="Immagine 4" descr="logo.eps">
            <a:extLst>
              <a:ext uri="{FF2B5EF4-FFF2-40B4-BE49-F238E27FC236}">
                <a16:creationId xmlns:a16="http://schemas.microsoft.com/office/drawing/2014/main" id="{6D881470-73D5-475C-805D-4BA204CADC22}"/>
              </a:ext>
            </a:extLst>
          </p:cNvPr>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58" name="Rechteck 3">
            <a:extLst>
              <a:ext uri="{FF2B5EF4-FFF2-40B4-BE49-F238E27FC236}">
                <a16:creationId xmlns:a16="http://schemas.microsoft.com/office/drawing/2014/main" id="{2CD46419-DCC1-4894-97B6-6C74DE6A36FE}"/>
              </a:ext>
            </a:extLst>
          </p:cNvPr>
          <p:cNvSpPr/>
          <p:nvPr userDrawn="1"/>
        </p:nvSpPr>
        <p:spPr bwMode="ltGray">
          <a:xfrm>
            <a:off x="554736" y="981293"/>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508138959"/>
      </p:ext>
    </p:extLst>
  </p:cSld>
  <p:clrMap bg1="lt1" tx1="dk1" bg2="lt2" tx2="dk2" accent1="accent1" accent2="accent2" accent3="accent3" accent4="accent4" accent5="accent5" accent6="accent6" hlink="hlink" folHlink="folHlink"/>
  <p:sldLayoutIdLst>
    <p:sldLayoutId id="2147485444" r:id="rId1"/>
    <p:sldLayoutId id="2147485445" r:id="rId2"/>
    <p:sldLayoutId id="2147485446" r:id="rId3"/>
    <p:sldLayoutId id="2147485447" r:id="rId4"/>
    <p:sldLayoutId id="2147485448" r:id="rId5"/>
    <p:sldLayoutId id="2147485449" r:id="rId6"/>
    <p:sldLayoutId id="2147485450" r:id="rId7"/>
    <p:sldLayoutId id="2147485451" r:id="rId8"/>
    <p:sldLayoutId id="2147485452" r:id="rId9"/>
    <p:sldLayoutId id="2147485453" r:id="rId10"/>
    <p:sldLayoutId id="2147485454" r:id="rId11"/>
    <p:sldLayoutId id="2147485455" r:id="rId12"/>
    <p:sldLayoutId id="2147485456" r:id="rId13"/>
    <p:sldLayoutId id="2147485457" r:id="rId14"/>
    <p:sldLayoutId id="2147485458" r:id="rId15"/>
    <p:sldLayoutId id="2147485459" r:id="rId16"/>
  </p:sldLayoutIdLst>
  <p:hf sldNum="0"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F3E541-8B5D-AEE4-6AD5-080C22ADE522}"/>
              </a:ext>
            </a:extLst>
          </p:cNvPr>
          <p:cNvGraphicFramePr>
            <a:graphicFrameLocks noChangeAspect="1"/>
          </p:cNvGraphicFramePr>
          <p:nvPr userDrawn="1">
            <p:custDataLst>
              <p:tags r:id="rId18"/>
            </p:custDataLst>
            <p:extLst>
              <p:ext uri="{D42A27DB-BD31-4B8C-83A1-F6EECF244321}">
                <p14:modId xmlns:p14="http://schemas.microsoft.com/office/powerpoint/2010/main" val="393992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92" imgH="591" progId="TCLayout.ActiveDocument.1">
                  <p:embed/>
                </p:oleObj>
              </mc:Choice>
              <mc:Fallback>
                <p:oleObj name="think-cell Slide" r:id="rId19" imgW="592" imgH="591" progId="TCLayout.ActiveDocument.1">
                  <p:embed/>
                  <p:pic>
                    <p:nvPicPr>
                      <p:cNvPr id="4" name="Object 3" hidden="1">
                        <a:extLst>
                          <a:ext uri="{FF2B5EF4-FFF2-40B4-BE49-F238E27FC236}">
                            <a16:creationId xmlns:a16="http://schemas.microsoft.com/office/drawing/2014/main" id="{27F3E541-8B5D-AEE4-6AD5-080C22ADE52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0" name="Text Placeholder 2">
            <a:extLst>
              <a:ext uri="{FF2B5EF4-FFF2-40B4-BE49-F238E27FC236}">
                <a16:creationId xmlns:a16="http://schemas.microsoft.com/office/drawing/2014/main" id="{37757E98-D0FB-43E3-98BC-711F6A2F5372}"/>
              </a:ext>
            </a:extLst>
          </p:cNvPr>
          <p:cNvSpPr>
            <a:spLocks noGrp="1"/>
          </p:cNvSpPr>
          <p:nvPr>
            <p:ph type="body" idx="1"/>
          </p:nvPr>
        </p:nvSpPr>
        <p:spPr>
          <a:xfrm>
            <a:off x="590081" y="1341438"/>
            <a:ext cx="11014543" cy="490696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24" name="Title Placeholder 8">
            <a:extLst>
              <a:ext uri="{FF2B5EF4-FFF2-40B4-BE49-F238E27FC236}">
                <a16:creationId xmlns:a16="http://schemas.microsoft.com/office/drawing/2014/main" id="{6FDDCB8C-0933-024E-8042-52BF7560B505}"/>
              </a:ext>
            </a:extLst>
          </p:cNvPr>
          <p:cNvSpPr>
            <a:spLocks noGrp="1"/>
          </p:cNvSpPr>
          <p:nvPr>
            <p:ph type="title"/>
          </p:nvPr>
        </p:nvSpPr>
        <p:spPr>
          <a:xfrm>
            <a:off x="587375" y="508000"/>
            <a:ext cx="11017249" cy="540314"/>
          </a:xfrm>
          <a:prstGeom prst="rect">
            <a:avLst/>
          </a:prstGeom>
        </p:spPr>
        <p:txBody>
          <a:bodyPr vert="horz" lIns="0" tIns="0" rIns="0" bIns="0" rtlCol="0" anchor="b" anchorCtr="0">
            <a:noAutofit/>
          </a:bodyPr>
          <a:lstStyle/>
          <a:p>
            <a:r>
              <a:rPr lang="en-US" noProof="0"/>
              <a:t>Click to Edit Master Title Style</a:t>
            </a:r>
          </a:p>
        </p:txBody>
      </p:sp>
      <p:pic>
        <p:nvPicPr>
          <p:cNvPr id="5" name="Immagine 4" descr="logo.eps"/>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236200" y="6399872"/>
            <a:ext cx="1375832" cy="153319"/>
          </a:xfrm>
          <a:prstGeom prst="rect">
            <a:avLst/>
          </a:prstGeom>
        </p:spPr>
      </p:pic>
      <p:sp>
        <p:nvSpPr>
          <p:cNvPr id="6" name="Footer Placeholder 4">
            <a:extLst>
              <a:ext uri="{FF2B5EF4-FFF2-40B4-BE49-F238E27FC236}">
                <a16:creationId xmlns:a16="http://schemas.microsoft.com/office/drawing/2014/main" id="{2ACDC825-324E-43CF-A6A2-F0BA2AD27C81}"/>
              </a:ext>
            </a:extLst>
          </p:cNvPr>
          <p:cNvSpPr>
            <a:spLocks noGrp="1"/>
          </p:cNvSpPr>
          <p:nvPr>
            <p:ph type="ftr" sz="quarter" idx="3"/>
          </p:nvPr>
        </p:nvSpPr>
        <p:spPr>
          <a:xfrm>
            <a:off x="587374" y="6335395"/>
            <a:ext cx="9236795" cy="225743"/>
          </a:xfrm>
          <a:prstGeom prst="rect">
            <a:avLst/>
          </a:prstGeom>
        </p:spPr>
        <p:txBody>
          <a:bodyPr vert="horz" lIns="0" tIns="0" rIns="0" bIns="0" rtlCol="0" anchor="b">
            <a:noAutofit/>
          </a:bodyPr>
          <a:lstStyle>
            <a:lvl1pPr algn="l">
              <a:defRPr sz="800">
                <a:solidFill>
                  <a:schemeClr val="tx2"/>
                </a:solidFill>
              </a:defRPr>
            </a:lvl1pPr>
          </a:lstStyle>
          <a:p>
            <a:endParaRPr lang="en-GB"/>
          </a:p>
        </p:txBody>
      </p:sp>
      <p:sp>
        <p:nvSpPr>
          <p:cNvPr id="2" name="Slide Number Placeholder 1">
            <a:extLst>
              <a:ext uri="{FF2B5EF4-FFF2-40B4-BE49-F238E27FC236}">
                <a16:creationId xmlns:a16="http://schemas.microsoft.com/office/drawing/2014/main" id="{054B4AC9-87EE-44E8-AB1B-80AF69A8D5AF}"/>
              </a:ext>
            </a:extLst>
          </p:cNvPr>
          <p:cNvSpPr>
            <a:spLocks noGrp="1"/>
          </p:cNvSpPr>
          <p:nvPr>
            <p:ph type="sldNum" sz="quarter" idx="4"/>
          </p:nvPr>
        </p:nvSpPr>
        <p:spPr>
          <a:xfrm>
            <a:off x="11619963" y="6327448"/>
            <a:ext cx="543756" cy="225743"/>
          </a:xfrm>
          <a:prstGeom prst="rect">
            <a:avLst/>
          </a:prstGeom>
        </p:spPr>
        <p:txBody>
          <a:bodyPr vert="horz" lIns="91440" tIns="45720" rIns="91440" bIns="0" rtlCol="0" anchor="b" anchorCtr="0"/>
          <a:lstStyle>
            <a:lvl1pPr algn="r">
              <a:defRPr lang="en-GB" sz="800" kern="1200" smtClean="0">
                <a:solidFill>
                  <a:schemeClr val="tx2"/>
                </a:solidFill>
                <a:latin typeface="+mn-lt"/>
                <a:ea typeface="+mn-ea"/>
                <a:cs typeface="+mn-cs"/>
              </a:defRPr>
            </a:lvl1pPr>
          </a:lstStyle>
          <a:p>
            <a:fld id="{2A412753-C9CB-431E-91F7-73E34BB151E8}" type="slidenum">
              <a:rPr lang="en-GB" smtClean="0"/>
              <a:pPr/>
              <a:t>‹Nr.›</a:t>
            </a:fld>
            <a:endParaRPr lang="en-GB"/>
          </a:p>
        </p:txBody>
      </p:sp>
    </p:spTree>
    <p:extLst>
      <p:ext uri="{BB962C8B-B14F-4D97-AF65-F5344CB8AC3E}">
        <p14:creationId xmlns:p14="http://schemas.microsoft.com/office/powerpoint/2010/main" val="2744738050"/>
      </p:ext>
    </p:extLst>
  </p:cSld>
  <p:clrMap bg1="lt1" tx1="dk1" bg2="lt2" tx2="dk2" accent1="accent1" accent2="accent2" accent3="accent3" accent4="accent4" accent5="accent5" accent6="accent6" hlink="hlink" folHlink="folHlink"/>
  <p:sldLayoutIdLst>
    <p:sldLayoutId id="2147485461" r:id="rId1"/>
    <p:sldLayoutId id="2147485462" r:id="rId2"/>
    <p:sldLayoutId id="2147485463" r:id="rId3"/>
    <p:sldLayoutId id="2147485464" r:id="rId4"/>
    <p:sldLayoutId id="2147485465" r:id="rId5"/>
    <p:sldLayoutId id="2147485466" r:id="rId6"/>
    <p:sldLayoutId id="2147485467" r:id="rId7"/>
    <p:sldLayoutId id="2147485468" r:id="rId8"/>
    <p:sldLayoutId id="2147485469" r:id="rId9"/>
    <p:sldLayoutId id="2147485470" r:id="rId10"/>
    <p:sldLayoutId id="2147485471" r:id="rId11"/>
    <p:sldLayoutId id="2147485472" r:id="rId12"/>
    <p:sldLayoutId id="2147485473" r:id="rId13"/>
    <p:sldLayoutId id="2147485474" r:id="rId14"/>
    <p:sldLayoutId id="2147485475" r:id="rId15"/>
    <p:sldLayoutId id="2147485476" r:id="rId16"/>
  </p:sldLayoutIdLst>
  <p:hf hdr="0" dt="0"/>
  <p:txStyles>
    <p:titleStyle>
      <a:lvl1pPr algn="l" defTabSz="914400" rtl="0" eaLnBrk="1" latinLnBrk="0" hangingPunct="1">
        <a:lnSpc>
          <a:spcPct val="90000"/>
        </a:lnSpc>
        <a:spcBef>
          <a:spcPct val="0"/>
        </a:spcBef>
        <a:buNone/>
        <a:defRPr sz="2400" b="1" kern="1200" baseline="0">
          <a:solidFill>
            <a:srgbClr val="000000"/>
          </a:solidFill>
          <a:latin typeface="Arial" panose="020B0604020202020204" pitchFamily="34" charset="0"/>
          <a:ea typeface="+mj-ea"/>
          <a:cs typeface="+mj-cs"/>
        </a:defRPr>
      </a:lvl1pPr>
    </p:titleStyle>
    <p:bodyStyle>
      <a:lvl1pPr marL="0" indent="0" algn="l" defTabSz="914400" rtl="0" eaLnBrk="1" latinLnBrk="0" hangingPunct="1">
        <a:lnSpc>
          <a:spcPct val="100000"/>
        </a:lnSpc>
        <a:spcBef>
          <a:spcPts val="1200"/>
        </a:spcBef>
        <a:spcAft>
          <a:spcPts val="600"/>
        </a:spcAft>
        <a:buFont typeface="Arial"/>
        <a:buNone/>
        <a:defRPr sz="1600" kern="1200" spc="0" baseline="0">
          <a:solidFill>
            <a:schemeClr val="tx1"/>
          </a:solidFill>
          <a:latin typeface="Arial" panose="020B0604020202020204" pitchFamily="34" charset="0"/>
          <a:ea typeface="+mn-ea"/>
          <a:cs typeface="+mn-cs"/>
        </a:defRPr>
      </a:lvl1pPr>
      <a:lvl2pPr marL="216000" indent="-216000" algn="l" defTabSz="914400" rtl="0" eaLnBrk="1" latinLnBrk="0" hangingPunct="1">
        <a:lnSpc>
          <a:spcPct val="100000"/>
        </a:lnSpc>
        <a:spcBef>
          <a:spcPts val="0"/>
        </a:spcBef>
        <a:spcAft>
          <a:spcPts val="600"/>
        </a:spcAft>
        <a:buFont typeface="Arial"/>
        <a:buChar char="•"/>
        <a:defRPr sz="1600" kern="1200" baseline="0">
          <a:solidFill>
            <a:schemeClr val="tx1"/>
          </a:solidFill>
          <a:latin typeface="Arial" panose="020B0604020202020204" pitchFamily="34" charset="0"/>
          <a:ea typeface="+mn-ea"/>
          <a:cs typeface="+mn-cs"/>
        </a:defRPr>
      </a:lvl2pPr>
      <a:lvl3pPr marL="432000" indent="-216000" algn="l" defTabSz="914400" rtl="0" eaLnBrk="1" latinLnBrk="0" hangingPunct="1">
        <a:lnSpc>
          <a:spcPct val="100000"/>
        </a:lnSpc>
        <a:spcBef>
          <a:spcPts val="0"/>
        </a:spcBef>
        <a:spcAft>
          <a:spcPts val="300"/>
        </a:spcAft>
        <a:buFont typeface="Calibri" panose="020F0502020204030204" pitchFamily="34" charset="0"/>
        <a:buChar char="–"/>
        <a:defRPr sz="1600" kern="1200" baseline="0">
          <a:solidFill>
            <a:schemeClr val="tx1"/>
          </a:solidFill>
          <a:latin typeface="Arial" panose="020B0604020202020204" pitchFamily="34" charset="0"/>
          <a:ea typeface="+mn-ea"/>
          <a:cs typeface="+mn-cs"/>
        </a:defRPr>
      </a:lvl3pPr>
      <a:lvl4pPr marL="0" indent="0" algn="l" defTabSz="914400" rtl="0" eaLnBrk="1" latinLnBrk="0" hangingPunct="1">
        <a:lnSpc>
          <a:spcPct val="100000"/>
        </a:lnSpc>
        <a:spcBef>
          <a:spcPts val="600"/>
        </a:spcBef>
        <a:spcAft>
          <a:spcPts val="600"/>
        </a:spcAft>
        <a:buFont typeface="Arial"/>
        <a:buNone/>
        <a:defRPr sz="1200" kern="1200" baseline="0">
          <a:solidFill>
            <a:schemeClr val="tx1"/>
          </a:solidFill>
          <a:latin typeface="Arial" panose="020B0604020202020204" pitchFamily="34" charset="0"/>
          <a:ea typeface="+mn-ea"/>
          <a:cs typeface="+mn-cs"/>
        </a:defRPr>
      </a:lvl4pPr>
      <a:lvl5pPr marL="216000" indent="-216000" algn="l" defTabSz="914400" rtl="0" eaLnBrk="1" latinLnBrk="0" hangingPunct="1">
        <a:lnSpc>
          <a:spcPct val="100000"/>
        </a:lnSpc>
        <a:spcBef>
          <a:spcPts val="0"/>
        </a:spcBef>
        <a:spcAft>
          <a:spcPts val="600"/>
        </a:spcAft>
        <a:buFont typeface="Arial"/>
        <a:buChar char="•"/>
        <a:defRPr sz="1200" kern="1200" baseline="0">
          <a:solidFill>
            <a:schemeClr val="tx1"/>
          </a:solidFill>
          <a:latin typeface="Arial" panose="020B0604020202020204" pitchFamily="34" charset="0"/>
          <a:ea typeface="+mn-ea"/>
          <a:cs typeface="+mn-cs"/>
        </a:defRPr>
      </a:lvl5pPr>
      <a:lvl6pPr marL="432000" indent="-216000" algn="l" defTabSz="914400" rtl="0" eaLnBrk="1" latinLnBrk="0" hangingPunct="1">
        <a:lnSpc>
          <a:spcPct val="100000"/>
        </a:lnSpc>
        <a:spcBef>
          <a:spcPts val="0"/>
        </a:spcBef>
        <a:spcAft>
          <a:spcPts val="150"/>
        </a:spcAft>
        <a:buFont typeface="Calibri" panose="020F0502020204030204" pitchFamily="34" charset="0"/>
        <a:buChar char="–"/>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33">
          <p15:clr>
            <a:srgbClr val="F26B43"/>
          </p15:clr>
        </p15:guide>
        <p15:guide id="2" pos="3772">
          <p15:clr>
            <a:srgbClr val="F26B43"/>
          </p15:clr>
        </p15:guide>
        <p15:guide id="3" pos="3908">
          <p15:clr>
            <a:srgbClr val="F26B43"/>
          </p15:clr>
        </p15:guide>
        <p15:guide id="4" pos="4951">
          <p15:clr>
            <a:srgbClr val="F26B43"/>
          </p15:clr>
        </p15:guide>
        <p15:guide id="5" pos="5087">
          <p15:clr>
            <a:srgbClr val="F26B43"/>
          </p15:clr>
        </p15:guide>
        <p15:guide id="6" pos="5541">
          <p15:clr>
            <a:srgbClr val="F26B43"/>
          </p15:clr>
        </p15:guide>
        <p15:guide id="7" pos="5677">
          <p15:clr>
            <a:srgbClr val="F26B43"/>
          </p15:clr>
        </p15:guide>
        <p15:guide id="8" pos="7310">
          <p15:clr>
            <a:srgbClr val="F26B43"/>
          </p15:clr>
        </p15:guide>
        <p15:guide id="9" pos="2729">
          <p15:clr>
            <a:srgbClr val="F26B43"/>
          </p15:clr>
        </p15:guide>
        <p15:guide id="10" pos="2593">
          <p15:clr>
            <a:srgbClr val="F26B43"/>
          </p15:clr>
        </p15:guide>
        <p15:guide id="11" pos="2139">
          <p15:clr>
            <a:srgbClr val="F26B43"/>
          </p15:clr>
        </p15:guide>
        <p15:guide id="12" pos="2003">
          <p15:clr>
            <a:srgbClr val="F26B43"/>
          </p15:clr>
        </p15:guide>
        <p15:guide id="13" pos="370">
          <p15:clr>
            <a:srgbClr val="F26B43"/>
          </p15:clr>
        </p15:guide>
        <p15:guide id="14" orient="horz" pos="84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7"/>
            </p:custDataLst>
            <p:extLst>
              <p:ext uri="{D42A27DB-BD31-4B8C-83A1-F6EECF244321}">
                <p14:modId xmlns:p14="http://schemas.microsoft.com/office/powerpoint/2010/main" val="3986284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592" imgH="591" progId="TCLayout.ActiveDocument.1">
                  <p:embed/>
                </p:oleObj>
              </mc:Choice>
              <mc:Fallback>
                <p:oleObj name="think-cell Slide" r:id="rId38"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19"/>
            </p:custDataLst>
          </p:nvPr>
        </p:nvSpPr>
        <p:spPr>
          <a:xfrm>
            <a:off x="554736" y="55693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0"/>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1"/>
            </p:custDataLst>
          </p:nvPr>
        </p:nvSpPr>
        <p:spPr>
          <a:xfrm>
            <a:off x="553972" y="626226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448419"/>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rt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2"/>
            </p:custDataLst>
          </p:nvPr>
        </p:nvSpPr>
        <p:spPr>
          <a:xfrm>
            <a:off x="6003924"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flipH="1">
            <a:off x="554736" y="2170800"/>
            <a:ext cx="2894018" cy="138499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ED7AA12C-7DD0-432B-9415-1C9E50A60DF7}"/>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F391C659-BA96-432D-A91B-24E02CD173AC}"/>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48" name="RectangleLegend2" hidden="1">
              <a:extLst>
                <a:ext uri="{FF2B5EF4-FFF2-40B4-BE49-F238E27FC236}">
                  <a16:creationId xmlns:a16="http://schemas.microsoft.com/office/drawing/2014/main" id="{AF8FF305-43D0-42FB-A826-2643FF5409A6}"/>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50" name="RectangleLegend3" hidden="1">
              <a:extLst>
                <a:ext uri="{FF2B5EF4-FFF2-40B4-BE49-F238E27FC236}">
                  <a16:creationId xmlns:a16="http://schemas.microsoft.com/office/drawing/2014/main" id="{15601378-D630-490D-88CF-F4FC10B4ECF5}"/>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51" name="RectangleLegend4" hidden="1">
              <a:extLst>
                <a:ext uri="{FF2B5EF4-FFF2-40B4-BE49-F238E27FC236}">
                  <a16:creationId xmlns:a16="http://schemas.microsoft.com/office/drawing/2014/main" id="{D8D36AB8-A391-4688-B5DF-EE561013A0C9}"/>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52" name="RectangleLegend5" hidden="1">
              <a:extLst>
                <a:ext uri="{FF2B5EF4-FFF2-40B4-BE49-F238E27FC236}">
                  <a16:creationId xmlns:a16="http://schemas.microsoft.com/office/drawing/2014/main" id="{938C82C4-B318-435C-92B3-39CB49D94616}"/>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53" name="Legend1" hidden="1">
              <a:extLst>
                <a:ext uri="{FF2B5EF4-FFF2-40B4-BE49-F238E27FC236}">
                  <a16:creationId xmlns:a16="http://schemas.microsoft.com/office/drawing/2014/main" id="{491645EE-4CB5-4073-B189-4B5AAB963119}"/>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4" name="Legend2" hidden="1">
              <a:extLst>
                <a:ext uri="{FF2B5EF4-FFF2-40B4-BE49-F238E27FC236}">
                  <a16:creationId xmlns:a16="http://schemas.microsoft.com/office/drawing/2014/main" id="{6E0E4107-FD9C-4835-9B09-7244B2F2D68E}"/>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5" name="Legend3" hidden="1">
              <a:extLst>
                <a:ext uri="{FF2B5EF4-FFF2-40B4-BE49-F238E27FC236}">
                  <a16:creationId xmlns:a16="http://schemas.microsoft.com/office/drawing/2014/main" id="{6F16552B-A9D1-4B7D-A823-B80395B02981}"/>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6" name="Legend4" hidden="1">
              <a:extLst>
                <a:ext uri="{FF2B5EF4-FFF2-40B4-BE49-F238E27FC236}">
                  <a16:creationId xmlns:a16="http://schemas.microsoft.com/office/drawing/2014/main" id="{CA7F7CB8-E5C1-48E1-ADA0-8D92A9EEE0C0}"/>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7" name="Legend5" hidden="1">
              <a:extLst>
                <a:ext uri="{FF2B5EF4-FFF2-40B4-BE49-F238E27FC236}">
                  <a16:creationId xmlns:a16="http://schemas.microsoft.com/office/drawing/2014/main" id="{D2777B55-66C4-4165-866F-04C690F1420F}"/>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grpSp>
        <p:nvGrpSpPr>
          <p:cNvPr id="158" name="LegendLines" hidden="1">
            <a:extLst>
              <a:ext uri="{FF2B5EF4-FFF2-40B4-BE49-F238E27FC236}">
                <a16:creationId xmlns:a16="http://schemas.microsoft.com/office/drawing/2014/main" id="{B356F382-5BCF-4920-91B7-2E8E57E92E05}"/>
              </a:ext>
            </a:extLst>
          </p:cNvPr>
          <p:cNvGrpSpPr/>
          <p:nvPr userDrawn="1"/>
        </p:nvGrpSpPr>
        <p:grpSpPr>
          <a:xfrm>
            <a:off x="10317304" y="3150831"/>
            <a:ext cx="1319960" cy="958286"/>
            <a:chOff x="10162879" y="3243772"/>
            <a:chExt cx="1319960" cy="958286"/>
          </a:xfrm>
        </p:grpSpPr>
        <p:sp>
          <p:nvSpPr>
            <p:cNvPr id="159" name="Legend1" hidden="1">
              <a:extLst>
                <a:ext uri="{FF2B5EF4-FFF2-40B4-BE49-F238E27FC236}">
                  <a16:creationId xmlns:a16="http://schemas.microsoft.com/office/drawing/2014/main" id="{FE304D01-21EA-4008-AA3A-94CC3057583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0" name="Legend2" hidden="1">
              <a:extLst>
                <a:ext uri="{FF2B5EF4-FFF2-40B4-BE49-F238E27FC236}">
                  <a16:creationId xmlns:a16="http://schemas.microsoft.com/office/drawing/2014/main" id="{5D4E97FC-4EFB-4551-9BA2-A217916712F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1" name="Legend3" hidden="1">
              <a:extLst>
                <a:ext uri="{FF2B5EF4-FFF2-40B4-BE49-F238E27FC236}">
                  <a16:creationId xmlns:a16="http://schemas.microsoft.com/office/drawing/2014/main" id="{50348CBA-6750-4FF1-9453-4D23232561F7}"/>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2" name="LineLegend3" hidden="1">
              <a:extLst>
                <a:ext uri="{FF2B5EF4-FFF2-40B4-BE49-F238E27FC236}">
                  <a16:creationId xmlns:a16="http://schemas.microsoft.com/office/drawing/2014/main" id="{7CBADDAC-3130-4CBB-BF11-B0101611D28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latin typeface="+mn-lt"/>
                <a:ea typeface="+mn-ea"/>
              </a:endParaRPr>
            </a:p>
          </p:txBody>
        </p:sp>
        <p:sp>
          <p:nvSpPr>
            <p:cNvPr id="163" name="LineLegend2" hidden="1">
              <a:extLst>
                <a:ext uri="{FF2B5EF4-FFF2-40B4-BE49-F238E27FC236}">
                  <a16:creationId xmlns:a16="http://schemas.microsoft.com/office/drawing/2014/main" id="{E09AB1FF-BE60-42E2-9FD9-68625EF3106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latin typeface="+mn-lt"/>
                <a:ea typeface="+mn-ea"/>
              </a:endParaRPr>
            </a:p>
          </p:txBody>
        </p:sp>
        <p:sp>
          <p:nvSpPr>
            <p:cNvPr id="164" name="LineLegend1" hidden="1">
              <a:extLst>
                <a:ext uri="{FF2B5EF4-FFF2-40B4-BE49-F238E27FC236}">
                  <a16:creationId xmlns:a16="http://schemas.microsoft.com/office/drawing/2014/main" id="{AC14C9CF-4E81-4EAF-AB77-6B2442D5200D}"/>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latin typeface="+mn-lt"/>
                <a:ea typeface="+mn-ea"/>
              </a:endParaRPr>
            </a:p>
          </p:txBody>
        </p:sp>
      </p:grpSp>
      <p:grpSp>
        <p:nvGrpSpPr>
          <p:cNvPr id="165" name="LegendMoons" hidden="1">
            <a:extLst>
              <a:ext uri="{FF2B5EF4-FFF2-40B4-BE49-F238E27FC236}">
                <a16:creationId xmlns:a16="http://schemas.microsoft.com/office/drawing/2014/main" id="{C67C3FCC-7727-4947-8727-CF2D3BC480EC}"/>
              </a:ext>
            </a:extLst>
          </p:cNvPr>
          <p:cNvGrpSpPr/>
          <p:nvPr userDrawn="1"/>
        </p:nvGrpSpPr>
        <p:grpSpPr>
          <a:xfrm>
            <a:off x="10684859" y="1146588"/>
            <a:ext cx="948949" cy="1731859"/>
            <a:chOff x="7716535" y="2630582"/>
            <a:chExt cx="948949" cy="1731859"/>
          </a:xfrm>
        </p:grpSpPr>
        <p:sp>
          <p:nvSpPr>
            <p:cNvPr id="166" name="Legend1" hidden="1">
              <a:extLst>
                <a:ext uri="{FF2B5EF4-FFF2-40B4-BE49-F238E27FC236}">
                  <a16:creationId xmlns:a16="http://schemas.microsoft.com/office/drawing/2014/main" id="{E588514A-A659-4D6E-9454-AA0D5D77FE4D}"/>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7" name="Legend2" hidden="1">
              <a:extLst>
                <a:ext uri="{FF2B5EF4-FFF2-40B4-BE49-F238E27FC236}">
                  <a16:creationId xmlns:a16="http://schemas.microsoft.com/office/drawing/2014/main" id="{F0E1576C-9369-43CB-8140-450E06BDD423}"/>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08" name="Legend3" hidden="1">
              <a:extLst>
                <a:ext uri="{FF2B5EF4-FFF2-40B4-BE49-F238E27FC236}">
                  <a16:creationId xmlns:a16="http://schemas.microsoft.com/office/drawing/2014/main" id="{564A5301-5D19-4C26-BE2A-F547C2084AC5}"/>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09" name="Legend4" hidden="1">
              <a:extLst>
                <a:ext uri="{FF2B5EF4-FFF2-40B4-BE49-F238E27FC236}">
                  <a16:creationId xmlns:a16="http://schemas.microsoft.com/office/drawing/2014/main" id="{0ADDBC95-DD0E-473E-9174-349A1859D4DC}"/>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10" name="Legend5" hidden="1">
              <a:extLst>
                <a:ext uri="{FF2B5EF4-FFF2-40B4-BE49-F238E27FC236}">
                  <a16:creationId xmlns:a16="http://schemas.microsoft.com/office/drawing/2014/main" id="{FEF41426-B26C-4D98-AF40-D1D0C734764E}"/>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nvGrpSpPr>
            <p:cNvPr id="211" name="MoonLegend1" hidden="1">
              <a:extLst>
                <a:ext uri="{FF2B5EF4-FFF2-40B4-BE49-F238E27FC236}">
                  <a16:creationId xmlns:a16="http://schemas.microsoft.com/office/drawing/2014/main" id="{C775E23A-63DB-47E2-91D5-FE52D0DE1E34}"/>
                </a:ext>
              </a:extLst>
            </p:cNvPr>
            <p:cNvGrpSpPr>
              <a:grpSpLocks noChangeAspect="1"/>
            </p:cNvGrpSpPr>
            <p:nvPr>
              <p:custDataLst>
                <p:tags r:id="rId23"/>
              </p:custDataLst>
            </p:nvPr>
          </p:nvGrpSpPr>
          <p:grpSpPr>
            <a:xfrm>
              <a:off x="7716535" y="2630582"/>
              <a:ext cx="228600" cy="228600"/>
              <a:chOff x="762000" y="1270000"/>
              <a:chExt cx="254000" cy="254000"/>
            </a:xfrm>
          </p:grpSpPr>
          <p:sp>
            <p:nvSpPr>
              <p:cNvPr id="224" name="Oval 223" hidden="1">
                <a:extLst>
                  <a:ext uri="{FF2B5EF4-FFF2-40B4-BE49-F238E27FC236}">
                    <a16:creationId xmlns:a16="http://schemas.microsoft.com/office/drawing/2014/main" id="{E1FB0360-E3DA-4041-B4DD-DD7E4CB463C4}"/>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25" name="Arc 224" hidden="1">
                <a:extLst>
                  <a:ext uri="{FF2B5EF4-FFF2-40B4-BE49-F238E27FC236}">
                    <a16:creationId xmlns:a16="http://schemas.microsoft.com/office/drawing/2014/main" id="{DE82F094-9AB9-4348-8D2B-D0BC0541E42D}"/>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12" name="MoonLegend2" hidden="1">
              <a:extLst>
                <a:ext uri="{FF2B5EF4-FFF2-40B4-BE49-F238E27FC236}">
                  <a16:creationId xmlns:a16="http://schemas.microsoft.com/office/drawing/2014/main" id="{250BF893-9C24-477B-808D-D3DB3D7FE439}"/>
                </a:ext>
              </a:extLst>
            </p:cNvPr>
            <p:cNvGrpSpPr>
              <a:grpSpLocks noChangeAspect="1"/>
            </p:cNvGrpSpPr>
            <p:nvPr>
              <p:custDataLst>
                <p:tags r:id="rId24"/>
              </p:custDataLst>
            </p:nvPr>
          </p:nvGrpSpPr>
          <p:grpSpPr>
            <a:xfrm>
              <a:off x="7716535" y="3006395"/>
              <a:ext cx="228600" cy="228600"/>
              <a:chOff x="762000" y="1270000"/>
              <a:chExt cx="254000" cy="254000"/>
            </a:xfrm>
          </p:grpSpPr>
          <p:sp>
            <p:nvSpPr>
              <p:cNvPr id="222" name="Oval 221" hidden="1">
                <a:extLst>
                  <a:ext uri="{FF2B5EF4-FFF2-40B4-BE49-F238E27FC236}">
                    <a16:creationId xmlns:a16="http://schemas.microsoft.com/office/drawing/2014/main" id="{DB84A591-F5F1-4E9D-997D-D5E2687E0CC8}"/>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23" name="Arc 222" hidden="1">
                <a:extLst>
                  <a:ext uri="{FF2B5EF4-FFF2-40B4-BE49-F238E27FC236}">
                    <a16:creationId xmlns:a16="http://schemas.microsoft.com/office/drawing/2014/main" id="{885C038C-6DC3-4F52-8AD3-A1C4B16C2BE6}"/>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13" name="MoonLegend3" hidden="1">
              <a:extLst>
                <a:ext uri="{FF2B5EF4-FFF2-40B4-BE49-F238E27FC236}">
                  <a16:creationId xmlns:a16="http://schemas.microsoft.com/office/drawing/2014/main" id="{F6EA77E5-B746-4872-86EA-9AC7C5B5E634}"/>
                </a:ext>
              </a:extLst>
            </p:cNvPr>
            <p:cNvGrpSpPr>
              <a:grpSpLocks noChangeAspect="1"/>
            </p:cNvGrpSpPr>
            <p:nvPr>
              <p:custDataLst>
                <p:tags r:id="rId25"/>
              </p:custDataLst>
            </p:nvPr>
          </p:nvGrpSpPr>
          <p:grpSpPr>
            <a:xfrm>
              <a:off x="7716535" y="3382210"/>
              <a:ext cx="228600" cy="228600"/>
              <a:chOff x="762000" y="1270000"/>
              <a:chExt cx="254000" cy="254000"/>
            </a:xfrm>
          </p:grpSpPr>
          <p:sp>
            <p:nvSpPr>
              <p:cNvPr id="220" name="Oval 219" hidden="1">
                <a:extLst>
                  <a:ext uri="{FF2B5EF4-FFF2-40B4-BE49-F238E27FC236}">
                    <a16:creationId xmlns:a16="http://schemas.microsoft.com/office/drawing/2014/main" id="{2E8B0FD1-41BE-483B-8D97-7A155806B47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21" name="Arc 220" hidden="1">
                <a:extLst>
                  <a:ext uri="{FF2B5EF4-FFF2-40B4-BE49-F238E27FC236}">
                    <a16:creationId xmlns:a16="http://schemas.microsoft.com/office/drawing/2014/main" id="{A76C6E0E-8CFD-4ACE-9BEF-5FDD7D2D165E}"/>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14" name="MoonLegend4" hidden="1">
              <a:extLst>
                <a:ext uri="{FF2B5EF4-FFF2-40B4-BE49-F238E27FC236}">
                  <a16:creationId xmlns:a16="http://schemas.microsoft.com/office/drawing/2014/main" id="{6F40794B-9145-4EE8-8E63-70B4B081308E}"/>
                </a:ext>
              </a:extLst>
            </p:cNvPr>
            <p:cNvGrpSpPr>
              <a:grpSpLocks noChangeAspect="1"/>
            </p:cNvGrpSpPr>
            <p:nvPr>
              <p:custDataLst>
                <p:tags r:id="rId26"/>
              </p:custDataLst>
            </p:nvPr>
          </p:nvGrpSpPr>
          <p:grpSpPr>
            <a:xfrm>
              <a:off x="7716535" y="3758025"/>
              <a:ext cx="228600" cy="228600"/>
              <a:chOff x="762000" y="1270000"/>
              <a:chExt cx="254000" cy="254000"/>
            </a:xfrm>
          </p:grpSpPr>
          <p:sp>
            <p:nvSpPr>
              <p:cNvPr id="218" name="Oval 217" hidden="1">
                <a:extLst>
                  <a:ext uri="{FF2B5EF4-FFF2-40B4-BE49-F238E27FC236}">
                    <a16:creationId xmlns:a16="http://schemas.microsoft.com/office/drawing/2014/main" id="{4E50CDE0-9595-496B-9C98-2F1F5472DF05}"/>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19" name="Arc 218" hidden="1">
                <a:extLst>
                  <a:ext uri="{FF2B5EF4-FFF2-40B4-BE49-F238E27FC236}">
                    <a16:creationId xmlns:a16="http://schemas.microsoft.com/office/drawing/2014/main" id="{DF38D67B-4D7E-4AF7-AFA1-8FD92830849A}"/>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15" name="MoonLegend5" hidden="1">
              <a:extLst>
                <a:ext uri="{FF2B5EF4-FFF2-40B4-BE49-F238E27FC236}">
                  <a16:creationId xmlns:a16="http://schemas.microsoft.com/office/drawing/2014/main" id="{2C7BE14B-4871-4F16-AD3B-F76D68F78011}"/>
                </a:ext>
              </a:extLst>
            </p:cNvPr>
            <p:cNvGrpSpPr>
              <a:grpSpLocks noChangeAspect="1"/>
            </p:cNvGrpSpPr>
            <p:nvPr>
              <p:custDataLst>
                <p:tags r:id="rId27"/>
              </p:custDataLst>
            </p:nvPr>
          </p:nvGrpSpPr>
          <p:grpSpPr>
            <a:xfrm>
              <a:off x="7716535" y="4133841"/>
              <a:ext cx="228600" cy="228600"/>
              <a:chOff x="762000" y="1270000"/>
              <a:chExt cx="254000" cy="254000"/>
            </a:xfrm>
          </p:grpSpPr>
          <p:sp>
            <p:nvSpPr>
              <p:cNvPr id="216" name="Oval 215" hidden="1">
                <a:extLst>
                  <a:ext uri="{FF2B5EF4-FFF2-40B4-BE49-F238E27FC236}">
                    <a16:creationId xmlns:a16="http://schemas.microsoft.com/office/drawing/2014/main" id="{30B31D44-082B-40EE-B9E7-66771ADCE8DE}"/>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17" name="Arc 216" hidden="1">
                <a:extLst>
                  <a:ext uri="{FF2B5EF4-FFF2-40B4-BE49-F238E27FC236}">
                    <a16:creationId xmlns:a16="http://schemas.microsoft.com/office/drawing/2014/main" id="{57C3F0FD-4574-4CCB-830C-0F492E8FF59F}"/>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pic>
        <p:nvPicPr>
          <p:cNvPr id="149" name="Immagine 4" descr="logo.eps">
            <a:extLst>
              <a:ext uri="{FF2B5EF4-FFF2-40B4-BE49-F238E27FC236}">
                <a16:creationId xmlns:a16="http://schemas.microsoft.com/office/drawing/2014/main" id="{B7126F10-9988-482C-9DDC-9688A9287562}"/>
              </a:ext>
            </a:extLst>
          </p:cNvPr>
          <p:cNvPicPr>
            <a:picLocks noChangeAspect="1"/>
          </p:cNvPicPr>
          <p:nvPr userDrawn="1"/>
        </p:nvPicPr>
        <p:blipFill>
          <a:blip r:embed="rId40">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68" name="Rechteck 3">
            <a:extLst>
              <a:ext uri="{FF2B5EF4-FFF2-40B4-BE49-F238E27FC236}">
                <a16:creationId xmlns:a16="http://schemas.microsoft.com/office/drawing/2014/main" id="{566F71BB-A895-45AF-B7B3-D330374E168A}"/>
              </a:ext>
            </a:extLst>
          </p:cNvPr>
          <p:cNvSpPr/>
          <p:nvPr userDrawn="1"/>
        </p:nvSpPr>
        <p:spPr bwMode="ltGray">
          <a:xfrm>
            <a:off x="554736" y="981293"/>
            <a:ext cx="850900" cy="10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3225309502"/>
      </p:ext>
    </p:extLst>
  </p:cSld>
  <p:clrMap bg1="lt1" tx1="dk1" bg2="lt2" tx2="dk2" accent1="accent1" accent2="accent2" accent3="accent3" accent4="accent4" accent5="accent5" accent6="accent6" hlink="hlink" folHlink="folHlink"/>
  <p:sldLayoutIdLst>
    <p:sldLayoutId id="2147485478" r:id="rId1"/>
    <p:sldLayoutId id="2147485479" r:id="rId2"/>
    <p:sldLayoutId id="2147485480" r:id="rId3"/>
    <p:sldLayoutId id="2147485481" r:id="rId4"/>
    <p:sldLayoutId id="2147485482" r:id="rId5"/>
    <p:sldLayoutId id="2147485483" r:id="rId6"/>
    <p:sldLayoutId id="2147485484" r:id="rId7"/>
    <p:sldLayoutId id="2147485485" r:id="rId8"/>
    <p:sldLayoutId id="2147485486" r:id="rId9"/>
    <p:sldLayoutId id="2147485487" r:id="rId10"/>
    <p:sldLayoutId id="2147485488" r:id="rId11"/>
    <p:sldLayoutId id="2147485489" r:id="rId12"/>
    <p:sldLayoutId id="2147485490" r:id="rId13"/>
    <p:sldLayoutId id="2147485491" r:id="rId14"/>
    <p:sldLayoutId id="2147485492" r:id="rId15"/>
  </p:sldLayoutIdLst>
  <p:hf sldNum="0"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6"/>
            </p:custDataLst>
            <p:extLst>
              <p:ext uri="{D42A27DB-BD31-4B8C-83A1-F6EECF244321}">
                <p14:modId xmlns:p14="http://schemas.microsoft.com/office/powerpoint/2010/main" val="3986284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92" imgH="591" progId="TCLayout.ActiveDocument.1">
                  <p:embed/>
                </p:oleObj>
              </mc:Choice>
              <mc:Fallback>
                <p:oleObj name="think-cell Slide" r:id="rId37"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18"/>
            </p:custDataLst>
          </p:nvPr>
        </p:nvSpPr>
        <p:spPr>
          <a:xfrm>
            <a:off x="554736" y="556932"/>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19"/>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0"/>
            </p:custDataLst>
          </p:nvPr>
        </p:nvSpPr>
        <p:spPr>
          <a:xfrm>
            <a:off x="553972" y="6262265"/>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448419"/>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rt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1"/>
            </p:custDataLst>
          </p:nvPr>
        </p:nvSpPr>
        <p:spPr>
          <a:xfrm>
            <a:off x="6003924"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flipH="1">
            <a:off x="554736" y="2170800"/>
            <a:ext cx="2894018" cy="1384995"/>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ED7AA12C-7DD0-432B-9415-1C9E50A60DF7}"/>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F391C659-BA96-432D-A91B-24E02CD173AC}"/>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48" name="RectangleLegend2" hidden="1">
              <a:extLst>
                <a:ext uri="{FF2B5EF4-FFF2-40B4-BE49-F238E27FC236}">
                  <a16:creationId xmlns:a16="http://schemas.microsoft.com/office/drawing/2014/main" id="{AF8FF305-43D0-42FB-A826-2643FF5409A6}"/>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50" name="RectangleLegend3" hidden="1">
              <a:extLst>
                <a:ext uri="{FF2B5EF4-FFF2-40B4-BE49-F238E27FC236}">
                  <a16:creationId xmlns:a16="http://schemas.microsoft.com/office/drawing/2014/main" id="{15601378-D630-490D-88CF-F4FC10B4ECF5}"/>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51" name="RectangleLegend4" hidden="1">
              <a:extLst>
                <a:ext uri="{FF2B5EF4-FFF2-40B4-BE49-F238E27FC236}">
                  <a16:creationId xmlns:a16="http://schemas.microsoft.com/office/drawing/2014/main" id="{D8D36AB8-A391-4688-B5DF-EE561013A0C9}"/>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52" name="RectangleLegend5" hidden="1">
              <a:extLst>
                <a:ext uri="{FF2B5EF4-FFF2-40B4-BE49-F238E27FC236}">
                  <a16:creationId xmlns:a16="http://schemas.microsoft.com/office/drawing/2014/main" id="{938C82C4-B318-435C-92B3-39CB49D94616}"/>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53" name="Legend1" hidden="1">
              <a:extLst>
                <a:ext uri="{FF2B5EF4-FFF2-40B4-BE49-F238E27FC236}">
                  <a16:creationId xmlns:a16="http://schemas.microsoft.com/office/drawing/2014/main" id="{491645EE-4CB5-4073-B189-4B5AAB963119}"/>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4" name="Legend2" hidden="1">
              <a:extLst>
                <a:ext uri="{FF2B5EF4-FFF2-40B4-BE49-F238E27FC236}">
                  <a16:creationId xmlns:a16="http://schemas.microsoft.com/office/drawing/2014/main" id="{6E0E4107-FD9C-4835-9B09-7244B2F2D68E}"/>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5" name="Legend3" hidden="1">
              <a:extLst>
                <a:ext uri="{FF2B5EF4-FFF2-40B4-BE49-F238E27FC236}">
                  <a16:creationId xmlns:a16="http://schemas.microsoft.com/office/drawing/2014/main" id="{6F16552B-A9D1-4B7D-A823-B80395B02981}"/>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6" name="Legend4" hidden="1">
              <a:extLst>
                <a:ext uri="{FF2B5EF4-FFF2-40B4-BE49-F238E27FC236}">
                  <a16:creationId xmlns:a16="http://schemas.microsoft.com/office/drawing/2014/main" id="{CA7F7CB8-E5C1-48E1-ADA0-8D92A9EEE0C0}"/>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57" name="Legend5" hidden="1">
              <a:extLst>
                <a:ext uri="{FF2B5EF4-FFF2-40B4-BE49-F238E27FC236}">
                  <a16:creationId xmlns:a16="http://schemas.microsoft.com/office/drawing/2014/main" id="{D2777B55-66C4-4165-866F-04C690F1420F}"/>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grpSp>
        <p:nvGrpSpPr>
          <p:cNvPr id="158" name="LegendLines" hidden="1">
            <a:extLst>
              <a:ext uri="{FF2B5EF4-FFF2-40B4-BE49-F238E27FC236}">
                <a16:creationId xmlns:a16="http://schemas.microsoft.com/office/drawing/2014/main" id="{B356F382-5BCF-4920-91B7-2E8E57E92E05}"/>
              </a:ext>
            </a:extLst>
          </p:cNvPr>
          <p:cNvGrpSpPr/>
          <p:nvPr userDrawn="1"/>
        </p:nvGrpSpPr>
        <p:grpSpPr>
          <a:xfrm>
            <a:off x="10317304" y="3150831"/>
            <a:ext cx="1319960" cy="958286"/>
            <a:chOff x="10162879" y="3243772"/>
            <a:chExt cx="1319960" cy="958286"/>
          </a:xfrm>
        </p:grpSpPr>
        <p:sp>
          <p:nvSpPr>
            <p:cNvPr id="159" name="Legend1" hidden="1">
              <a:extLst>
                <a:ext uri="{FF2B5EF4-FFF2-40B4-BE49-F238E27FC236}">
                  <a16:creationId xmlns:a16="http://schemas.microsoft.com/office/drawing/2014/main" id="{FE304D01-21EA-4008-AA3A-94CC3057583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0" name="Legend2" hidden="1">
              <a:extLst>
                <a:ext uri="{FF2B5EF4-FFF2-40B4-BE49-F238E27FC236}">
                  <a16:creationId xmlns:a16="http://schemas.microsoft.com/office/drawing/2014/main" id="{5D4E97FC-4EFB-4551-9BA2-A217916712F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1" name="Legend3" hidden="1">
              <a:extLst>
                <a:ext uri="{FF2B5EF4-FFF2-40B4-BE49-F238E27FC236}">
                  <a16:creationId xmlns:a16="http://schemas.microsoft.com/office/drawing/2014/main" id="{50348CBA-6750-4FF1-9453-4D23232561F7}"/>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2" name="LineLegend3" hidden="1">
              <a:extLst>
                <a:ext uri="{FF2B5EF4-FFF2-40B4-BE49-F238E27FC236}">
                  <a16:creationId xmlns:a16="http://schemas.microsoft.com/office/drawing/2014/main" id="{7CBADDAC-3130-4CBB-BF11-B0101611D28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latin typeface="+mn-lt"/>
                <a:ea typeface="+mn-ea"/>
              </a:endParaRPr>
            </a:p>
          </p:txBody>
        </p:sp>
        <p:sp>
          <p:nvSpPr>
            <p:cNvPr id="163" name="LineLegend2" hidden="1">
              <a:extLst>
                <a:ext uri="{FF2B5EF4-FFF2-40B4-BE49-F238E27FC236}">
                  <a16:creationId xmlns:a16="http://schemas.microsoft.com/office/drawing/2014/main" id="{E09AB1FF-BE60-42E2-9FD9-68625EF3106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latin typeface="+mn-lt"/>
                <a:ea typeface="+mn-ea"/>
              </a:endParaRPr>
            </a:p>
          </p:txBody>
        </p:sp>
        <p:sp>
          <p:nvSpPr>
            <p:cNvPr id="164" name="LineLegend1" hidden="1">
              <a:extLst>
                <a:ext uri="{FF2B5EF4-FFF2-40B4-BE49-F238E27FC236}">
                  <a16:creationId xmlns:a16="http://schemas.microsoft.com/office/drawing/2014/main" id="{AC14C9CF-4E81-4EAF-AB77-6B2442D5200D}"/>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dirty="0">
                <a:latin typeface="+mn-lt"/>
                <a:ea typeface="+mn-ea"/>
              </a:endParaRPr>
            </a:p>
          </p:txBody>
        </p:sp>
      </p:grpSp>
      <p:grpSp>
        <p:nvGrpSpPr>
          <p:cNvPr id="165" name="LegendMoons" hidden="1">
            <a:extLst>
              <a:ext uri="{FF2B5EF4-FFF2-40B4-BE49-F238E27FC236}">
                <a16:creationId xmlns:a16="http://schemas.microsoft.com/office/drawing/2014/main" id="{C67C3FCC-7727-4947-8727-CF2D3BC480EC}"/>
              </a:ext>
            </a:extLst>
          </p:cNvPr>
          <p:cNvGrpSpPr/>
          <p:nvPr userDrawn="1"/>
        </p:nvGrpSpPr>
        <p:grpSpPr>
          <a:xfrm>
            <a:off x="10684859" y="1146588"/>
            <a:ext cx="948949" cy="1731859"/>
            <a:chOff x="7716535" y="2630582"/>
            <a:chExt cx="948949" cy="1731859"/>
          </a:xfrm>
        </p:grpSpPr>
        <p:sp>
          <p:nvSpPr>
            <p:cNvPr id="166" name="Legend1" hidden="1">
              <a:extLst>
                <a:ext uri="{FF2B5EF4-FFF2-40B4-BE49-F238E27FC236}">
                  <a16:creationId xmlns:a16="http://schemas.microsoft.com/office/drawing/2014/main" id="{E588514A-A659-4D6E-9454-AA0D5D77FE4D}"/>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167" name="Legend2" hidden="1">
              <a:extLst>
                <a:ext uri="{FF2B5EF4-FFF2-40B4-BE49-F238E27FC236}">
                  <a16:creationId xmlns:a16="http://schemas.microsoft.com/office/drawing/2014/main" id="{F0E1576C-9369-43CB-8140-450E06BDD423}"/>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08" name="Legend3" hidden="1">
              <a:extLst>
                <a:ext uri="{FF2B5EF4-FFF2-40B4-BE49-F238E27FC236}">
                  <a16:creationId xmlns:a16="http://schemas.microsoft.com/office/drawing/2014/main" id="{564A5301-5D19-4C26-BE2A-F547C2084AC5}"/>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09" name="Legend4" hidden="1">
              <a:extLst>
                <a:ext uri="{FF2B5EF4-FFF2-40B4-BE49-F238E27FC236}">
                  <a16:creationId xmlns:a16="http://schemas.microsoft.com/office/drawing/2014/main" id="{0ADDBC95-DD0E-473E-9174-349A1859D4DC}"/>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sp>
          <p:nvSpPr>
            <p:cNvPr id="210" name="Legend5" hidden="1">
              <a:extLst>
                <a:ext uri="{FF2B5EF4-FFF2-40B4-BE49-F238E27FC236}">
                  <a16:creationId xmlns:a16="http://schemas.microsoft.com/office/drawing/2014/main" id="{FEF41426-B26C-4D98-AF40-D1D0C734764E}"/>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dirty="0"/>
                <a:t>Legend</a:t>
              </a:r>
            </a:p>
          </p:txBody>
        </p:sp>
        <p:grpSp>
          <p:nvGrpSpPr>
            <p:cNvPr id="211" name="MoonLegend1" hidden="1">
              <a:extLst>
                <a:ext uri="{FF2B5EF4-FFF2-40B4-BE49-F238E27FC236}">
                  <a16:creationId xmlns:a16="http://schemas.microsoft.com/office/drawing/2014/main" id="{C775E23A-63DB-47E2-91D5-FE52D0DE1E34}"/>
                </a:ext>
              </a:extLst>
            </p:cNvPr>
            <p:cNvGrpSpPr>
              <a:grpSpLocks noChangeAspect="1"/>
            </p:cNvGrpSpPr>
            <p:nvPr>
              <p:custDataLst>
                <p:tags r:id="rId22"/>
              </p:custDataLst>
            </p:nvPr>
          </p:nvGrpSpPr>
          <p:grpSpPr>
            <a:xfrm>
              <a:off x="7716535" y="2630582"/>
              <a:ext cx="228600" cy="228600"/>
              <a:chOff x="762000" y="1270000"/>
              <a:chExt cx="254000" cy="254000"/>
            </a:xfrm>
          </p:grpSpPr>
          <p:sp>
            <p:nvSpPr>
              <p:cNvPr id="224" name="Oval 223" hidden="1">
                <a:extLst>
                  <a:ext uri="{FF2B5EF4-FFF2-40B4-BE49-F238E27FC236}">
                    <a16:creationId xmlns:a16="http://schemas.microsoft.com/office/drawing/2014/main" id="{E1FB0360-E3DA-4041-B4DD-DD7E4CB463C4}"/>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25" name="Arc 224" hidden="1">
                <a:extLst>
                  <a:ext uri="{FF2B5EF4-FFF2-40B4-BE49-F238E27FC236}">
                    <a16:creationId xmlns:a16="http://schemas.microsoft.com/office/drawing/2014/main" id="{DE82F094-9AB9-4348-8D2B-D0BC0541E42D}"/>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12" name="MoonLegend2" hidden="1">
              <a:extLst>
                <a:ext uri="{FF2B5EF4-FFF2-40B4-BE49-F238E27FC236}">
                  <a16:creationId xmlns:a16="http://schemas.microsoft.com/office/drawing/2014/main" id="{250BF893-9C24-477B-808D-D3DB3D7FE439}"/>
                </a:ext>
              </a:extLst>
            </p:cNvPr>
            <p:cNvGrpSpPr>
              <a:grpSpLocks noChangeAspect="1"/>
            </p:cNvGrpSpPr>
            <p:nvPr>
              <p:custDataLst>
                <p:tags r:id="rId23"/>
              </p:custDataLst>
            </p:nvPr>
          </p:nvGrpSpPr>
          <p:grpSpPr>
            <a:xfrm>
              <a:off x="7716535" y="3006395"/>
              <a:ext cx="228600" cy="228600"/>
              <a:chOff x="762000" y="1270000"/>
              <a:chExt cx="254000" cy="254000"/>
            </a:xfrm>
          </p:grpSpPr>
          <p:sp>
            <p:nvSpPr>
              <p:cNvPr id="222" name="Oval 221" hidden="1">
                <a:extLst>
                  <a:ext uri="{FF2B5EF4-FFF2-40B4-BE49-F238E27FC236}">
                    <a16:creationId xmlns:a16="http://schemas.microsoft.com/office/drawing/2014/main" id="{DB84A591-F5F1-4E9D-997D-D5E2687E0CC8}"/>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23" name="Arc 222" hidden="1">
                <a:extLst>
                  <a:ext uri="{FF2B5EF4-FFF2-40B4-BE49-F238E27FC236}">
                    <a16:creationId xmlns:a16="http://schemas.microsoft.com/office/drawing/2014/main" id="{885C038C-6DC3-4F52-8AD3-A1C4B16C2BE6}"/>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13" name="MoonLegend3" hidden="1">
              <a:extLst>
                <a:ext uri="{FF2B5EF4-FFF2-40B4-BE49-F238E27FC236}">
                  <a16:creationId xmlns:a16="http://schemas.microsoft.com/office/drawing/2014/main" id="{F6EA77E5-B746-4872-86EA-9AC7C5B5E634}"/>
                </a:ext>
              </a:extLst>
            </p:cNvPr>
            <p:cNvGrpSpPr>
              <a:grpSpLocks noChangeAspect="1"/>
            </p:cNvGrpSpPr>
            <p:nvPr>
              <p:custDataLst>
                <p:tags r:id="rId24"/>
              </p:custDataLst>
            </p:nvPr>
          </p:nvGrpSpPr>
          <p:grpSpPr>
            <a:xfrm>
              <a:off x="7716535" y="3382210"/>
              <a:ext cx="228600" cy="228600"/>
              <a:chOff x="762000" y="1270000"/>
              <a:chExt cx="254000" cy="254000"/>
            </a:xfrm>
          </p:grpSpPr>
          <p:sp>
            <p:nvSpPr>
              <p:cNvPr id="220" name="Oval 219" hidden="1">
                <a:extLst>
                  <a:ext uri="{FF2B5EF4-FFF2-40B4-BE49-F238E27FC236}">
                    <a16:creationId xmlns:a16="http://schemas.microsoft.com/office/drawing/2014/main" id="{2E8B0FD1-41BE-483B-8D97-7A155806B47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21" name="Arc 220" hidden="1">
                <a:extLst>
                  <a:ext uri="{FF2B5EF4-FFF2-40B4-BE49-F238E27FC236}">
                    <a16:creationId xmlns:a16="http://schemas.microsoft.com/office/drawing/2014/main" id="{A76C6E0E-8CFD-4ACE-9BEF-5FDD7D2D165E}"/>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14" name="MoonLegend4" hidden="1">
              <a:extLst>
                <a:ext uri="{FF2B5EF4-FFF2-40B4-BE49-F238E27FC236}">
                  <a16:creationId xmlns:a16="http://schemas.microsoft.com/office/drawing/2014/main" id="{6F40794B-9145-4EE8-8E63-70B4B081308E}"/>
                </a:ext>
              </a:extLst>
            </p:cNvPr>
            <p:cNvGrpSpPr>
              <a:grpSpLocks noChangeAspect="1"/>
            </p:cNvGrpSpPr>
            <p:nvPr>
              <p:custDataLst>
                <p:tags r:id="rId25"/>
              </p:custDataLst>
            </p:nvPr>
          </p:nvGrpSpPr>
          <p:grpSpPr>
            <a:xfrm>
              <a:off x="7716535" y="3758025"/>
              <a:ext cx="228600" cy="228600"/>
              <a:chOff x="762000" y="1270000"/>
              <a:chExt cx="254000" cy="254000"/>
            </a:xfrm>
          </p:grpSpPr>
          <p:sp>
            <p:nvSpPr>
              <p:cNvPr id="218" name="Oval 217" hidden="1">
                <a:extLst>
                  <a:ext uri="{FF2B5EF4-FFF2-40B4-BE49-F238E27FC236}">
                    <a16:creationId xmlns:a16="http://schemas.microsoft.com/office/drawing/2014/main" id="{4E50CDE0-9595-496B-9C98-2F1F5472DF05}"/>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19" name="Arc 218" hidden="1">
                <a:extLst>
                  <a:ext uri="{FF2B5EF4-FFF2-40B4-BE49-F238E27FC236}">
                    <a16:creationId xmlns:a16="http://schemas.microsoft.com/office/drawing/2014/main" id="{DF38D67B-4D7E-4AF7-AFA1-8FD92830849A}"/>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nvGrpSpPr>
            <p:cNvPr id="215" name="MoonLegend5" hidden="1">
              <a:extLst>
                <a:ext uri="{FF2B5EF4-FFF2-40B4-BE49-F238E27FC236}">
                  <a16:creationId xmlns:a16="http://schemas.microsoft.com/office/drawing/2014/main" id="{2C7BE14B-4871-4F16-AD3B-F76D68F78011}"/>
                </a:ext>
              </a:extLst>
            </p:cNvPr>
            <p:cNvGrpSpPr>
              <a:grpSpLocks noChangeAspect="1"/>
            </p:cNvGrpSpPr>
            <p:nvPr>
              <p:custDataLst>
                <p:tags r:id="rId26"/>
              </p:custDataLst>
            </p:nvPr>
          </p:nvGrpSpPr>
          <p:grpSpPr>
            <a:xfrm>
              <a:off x="7716535" y="4133841"/>
              <a:ext cx="228600" cy="228600"/>
              <a:chOff x="762000" y="1270000"/>
              <a:chExt cx="254000" cy="254000"/>
            </a:xfrm>
          </p:grpSpPr>
          <p:sp>
            <p:nvSpPr>
              <p:cNvPr id="216" name="Oval 215" hidden="1">
                <a:extLst>
                  <a:ext uri="{FF2B5EF4-FFF2-40B4-BE49-F238E27FC236}">
                    <a16:creationId xmlns:a16="http://schemas.microsoft.com/office/drawing/2014/main" id="{30B31D44-082B-40EE-B9E7-66771ADCE8DE}"/>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dirty="0">
                  <a:solidFill>
                    <a:schemeClr val="tx1"/>
                  </a:solidFill>
                </a:endParaRPr>
              </a:p>
            </p:txBody>
          </p:sp>
          <p:sp>
            <p:nvSpPr>
              <p:cNvPr id="217" name="Arc 216" hidden="1">
                <a:extLst>
                  <a:ext uri="{FF2B5EF4-FFF2-40B4-BE49-F238E27FC236}">
                    <a16:creationId xmlns:a16="http://schemas.microsoft.com/office/drawing/2014/main" id="{57C3F0FD-4574-4CCB-830C-0F492E8FF59F}"/>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dirty="0"/>
              </a:p>
            </p:txBody>
          </p:sp>
        </p:grpSp>
      </p:grpSp>
      <p:sp>
        <p:nvSpPr>
          <p:cNvPr id="144" name="Footer Placeholder 4">
            <a:extLst>
              <a:ext uri="{FF2B5EF4-FFF2-40B4-BE49-F238E27FC236}">
                <a16:creationId xmlns:a16="http://schemas.microsoft.com/office/drawing/2014/main" id="{7320BA41-4318-4BDC-B6D5-534E683F56C5}"/>
              </a:ext>
            </a:extLst>
          </p:cNvPr>
          <p:cNvSpPr txBox="1">
            <a:spLocks/>
          </p:cNvSpPr>
          <p:nvPr userDrawn="1"/>
        </p:nvSpPr>
        <p:spPr bwMode="gray">
          <a:xfrm flipH="1">
            <a:off x="885068" y="6657610"/>
            <a:ext cx="1695929" cy="123111"/>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sz="1000" kern="1200">
                <a:solidFill>
                  <a:srgbClr val="0F1941"/>
                </a:solidFill>
                <a:latin typeface="Arial" charset="0"/>
                <a:ea typeface="+mn-ea"/>
                <a:cs typeface="+mn-cs"/>
              </a:defRPr>
            </a:lvl1pPr>
            <a:lvl2pPr marL="555315" algn="l" rtl="0" fontAlgn="base">
              <a:spcBef>
                <a:spcPct val="0"/>
              </a:spcBef>
              <a:spcAft>
                <a:spcPct val="0"/>
              </a:spcAft>
              <a:defRPr sz="1943" kern="1200">
                <a:solidFill>
                  <a:schemeClr val="tx1"/>
                </a:solidFill>
                <a:latin typeface="Arial" charset="0"/>
                <a:ea typeface="+mn-ea"/>
                <a:cs typeface="+mn-cs"/>
              </a:defRPr>
            </a:lvl2pPr>
            <a:lvl3pPr marL="1110630" algn="l" rtl="0" fontAlgn="base">
              <a:spcBef>
                <a:spcPct val="0"/>
              </a:spcBef>
              <a:spcAft>
                <a:spcPct val="0"/>
              </a:spcAft>
              <a:defRPr sz="1943" kern="1200">
                <a:solidFill>
                  <a:schemeClr val="tx1"/>
                </a:solidFill>
                <a:latin typeface="Arial" charset="0"/>
                <a:ea typeface="+mn-ea"/>
                <a:cs typeface="+mn-cs"/>
              </a:defRPr>
            </a:lvl3pPr>
            <a:lvl4pPr marL="1665945" algn="l" rtl="0" fontAlgn="base">
              <a:spcBef>
                <a:spcPct val="0"/>
              </a:spcBef>
              <a:spcAft>
                <a:spcPct val="0"/>
              </a:spcAft>
              <a:defRPr sz="1943" kern="1200">
                <a:solidFill>
                  <a:schemeClr val="tx1"/>
                </a:solidFill>
                <a:latin typeface="Arial" charset="0"/>
                <a:ea typeface="+mn-ea"/>
                <a:cs typeface="+mn-cs"/>
              </a:defRPr>
            </a:lvl4pPr>
            <a:lvl5pPr marL="2221260" algn="l" rtl="0" fontAlgn="base">
              <a:spcBef>
                <a:spcPct val="0"/>
              </a:spcBef>
              <a:spcAft>
                <a:spcPct val="0"/>
              </a:spcAft>
              <a:defRPr sz="1943" kern="1200">
                <a:solidFill>
                  <a:schemeClr val="tx1"/>
                </a:solidFill>
                <a:latin typeface="Arial" charset="0"/>
                <a:ea typeface="+mn-ea"/>
                <a:cs typeface="+mn-cs"/>
              </a:defRPr>
            </a:lvl5pPr>
            <a:lvl6pPr marL="2776576" algn="l" defTabSz="1110630" rtl="0" eaLnBrk="1" latinLnBrk="0" hangingPunct="1">
              <a:defRPr sz="1943" kern="1200">
                <a:solidFill>
                  <a:schemeClr val="tx1"/>
                </a:solidFill>
                <a:latin typeface="Arial" charset="0"/>
                <a:ea typeface="+mn-ea"/>
                <a:cs typeface="+mn-cs"/>
              </a:defRPr>
            </a:lvl6pPr>
            <a:lvl7pPr marL="3331891" algn="l" defTabSz="1110630" rtl="0" eaLnBrk="1" latinLnBrk="0" hangingPunct="1">
              <a:defRPr sz="1943" kern="1200">
                <a:solidFill>
                  <a:schemeClr val="tx1"/>
                </a:solidFill>
                <a:latin typeface="Arial" charset="0"/>
                <a:ea typeface="+mn-ea"/>
                <a:cs typeface="+mn-cs"/>
              </a:defRPr>
            </a:lvl7pPr>
            <a:lvl8pPr marL="3887206" algn="l" defTabSz="1110630" rtl="0" eaLnBrk="1" latinLnBrk="0" hangingPunct="1">
              <a:defRPr sz="1943" kern="1200">
                <a:solidFill>
                  <a:schemeClr val="tx1"/>
                </a:solidFill>
                <a:latin typeface="Arial" charset="0"/>
                <a:ea typeface="+mn-ea"/>
                <a:cs typeface="+mn-cs"/>
              </a:defRPr>
            </a:lvl8pPr>
            <a:lvl9pPr marL="4442521" algn="l" defTabSz="1110630" rtl="0" eaLnBrk="1" latinLnBrk="0" hangingPunct="1">
              <a:defRPr sz="1943" kern="1200">
                <a:solidFill>
                  <a:schemeClr val="tx1"/>
                </a:solidFill>
                <a:latin typeface="Arial" charset="0"/>
                <a:ea typeface="+mn-ea"/>
                <a:cs typeface="+mn-cs"/>
              </a:defRPr>
            </a:lvl9pPr>
          </a:lstStyle>
          <a:p>
            <a:pPr algn="l" rtl="0"/>
            <a:r>
              <a:rPr lang="en-US" sz="800" i="1" baseline="0" dirty="0">
                <a:solidFill>
                  <a:schemeClr val="tx1"/>
                </a:solidFill>
                <a:latin typeface="+mn-lt"/>
              </a:rPr>
              <a:t>Confidential for internal use only</a:t>
            </a:r>
          </a:p>
        </p:txBody>
      </p:sp>
      <p:pic>
        <p:nvPicPr>
          <p:cNvPr id="149" name="Immagine 4" descr="logo.eps">
            <a:extLst>
              <a:ext uri="{FF2B5EF4-FFF2-40B4-BE49-F238E27FC236}">
                <a16:creationId xmlns:a16="http://schemas.microsoft.com/office/drawing/2014/main" id="{B7126F10-9988-482C-9DDC-9688A9287562}"/>
              </a:ext>
            </a:extLst>
          </p:cNvPr>
          <p:cNvPicPr>
            <a:picLocks noChangeAspect="1"/>
          </p:cNvPicPr>
          <p:nvPr userDrawn="1"/>
        </p:nvPicPr>
        <p:blipFill>
          <a:blip r:embed="rId39">
            <a:lum bright="100000"/>
            <a:extLst>
              <a:ext uri="{28A0092B-C50C-407E-A947-70E740481C1C}">
                <a14:useLocalDpi xmlns:a14="http://schemas.microsoft.com/office/drawing/2010/main" val="0"/>
              </a:ext>
            </a:extLst>
          </a:blip>
          <a:stretch>
            <a:fillRect/>
          </a:stretch>
        </p:blipFill>
        <p:spPr>
          <a:xfrm>
            <a:off x="10261432" y="6627402"/>
            <a:ext cx="1375832" cy="153319"/>
          </a:xfrm>
          <a:prstGeom prst="rect">
            <a:avLst/>
          </a:prstGeom>
        </p:spPr>
      </p:pic>
      <p:sp>
        <p:nvSpPr>
          <p:cNvPr id="168" name="Rechteck 3">
            <a:extLst>
              <a:ext uri="{FF2B5EF4-FFF2-40B4-BE49-F238E27FC236}">
                <a16:creationId xmlns:a16="http://schemas.microsoft.com/office/drawing/2014/main" id="{566F71BB-A895-45AF-B7B3-D330374E168A}"/>
              </a:ext>
            </a:extLst>
          </p:cNvPr>
          <p:cNvSpPr/>
          <p:nvPr userDrawn="1"/>
        </p:nvSpPr>
        <p:spPr bwMode="ltGray">
          <a:xfrm>
            <a:off x="554736" y="981293"/>
            <a:ext cx="850900" cy="10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555285464"/>
      </p:ext>
    </p:extLst>
  </p:cSld>
  <p:clrMap bg1="lt1" tx1="dk1" bg2="lt2" tx2="dk2" accent1="accent1" accent2="accent2" accent3="accent3" accent4="accent4" accent5="accent5" accent6="accent6" hlink="hlink" folHlink="folHlink"/>
  <p:sldLayoutIdLst>
    <p:sldLayoutId id="2147485494" r:id="rId1"/>
    <p:sldLayoutId id="2147485495" r:id="rId2"/>
    <p:sldLayoutId id="2147485496" r:id="rId3"/>
    <p:sldLayoutId id="2147485497" r:id="rId4"/>
    <p:sldLayoutId id="2147485498" r:id="rId5"/>
    <p:sldLayoutId id="2147485499" r:id="rId6"/>
    <p:sldLayoutId id="2147485500" r:id="rId7"/>
    <p:sldLayoutId id="2147485501" r:id="rId8"/>
    <p:sldLayoutId id="2147485502" r:id="rId9"/>
    <p:sldLayoutId id="2147485503" r:id="rId10"/>
    <p:sldLayoutId id="2147485504" r:id="rId11"/>
    <p:sldLayoutId id="2147485505" r:id="rId12"/>
    <p:sldLayoutId id="2147485506" r:id="rId13"/>
    <p:sldLayoutId id="2147485507" r:id="rId14"/>
  </p:sldLayoutIdLst>
  <p:hf sldNum="0"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notesSlide" Target="../notesSlides/notesSlide10.xml"/><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358.xml"/><Relationship Id="rId6" Type="http://schemas.openxmlformats.org/officeDocument/2006/relationships/image" Target="../media/image41.emf"/><Relationship Id="rId5" Type="http://schemas.openxmlformats.org/officeDocument/2006/relationships/oleObject" Target="../embeddings/oleObject57.bin"/><Relationship Id="rId4" Type="http://schemas.openxmlformats.org/officeDocument/2006/relationships/image" Target="../media/image29.jpeg"/></Relationships>
</file>

<file path=ppt/slides/_rels/slide1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video" Target="../media/media2.mp4"/><Relationship Id="rId7" Type="http://schemas.openxmlformats.org/officeDocument/2006/relationships/image" Target="../media/image43.emf"/><Relationship Id="rId2" Type="http://schemas.microsoft.com/office/2007/relationships/media" Target="../media/media2.mp4"/><Relationship Id="rId1" Type="http://schemas.openxmlformats.org/officeDocument/2006/relationships/tags" Target="../tags/tag359.xml"/><Relationship Id="rId6" Type="http://schemas.openxmlformats.org/officeDocument/2006/relationships/oleObject" Target="../embeddings/oleObject58.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notesSlide" Target="../notesSlides/notesSlide12.xml"/><Relationship Id="rId7" Type="http://schemas.openxmlformats.org/officeDocument/2006/relationships/image" Target="../media/image4.png"/><Relationship Id="rId2" Type="http://schemas.openxmlformats.org/officeDocument/2006/relationships/slideLayout" Target="../slideLayouts/slideLayout13.xml"/><Relationship Id="rId1" Type="http://schemas.openxmlformats.org/officeDocument/2006/relationships/tags" Target="../tags/tag360.xml"/><Relationship Id="rId6" Type="http://schemas.openxmlformats.org/officeDocument/2006/relationships/image" Target="../media/image46.emf"/><Relationship Id="rId5" Type="http://schemas.openxmlformats.org/officeDocument/2006/relationships/image" Target="../media/image45.emf"/><Relationship Id="rId4" Type="http://schemas.openxmlformats.org/officeDocument/2006/relationships/oleObject" Target="../embeddings/oleObject59.bin"/></Relationships>
</file>

<file path=ppt/slides/_rels/slide13.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notesSlide" Target="../notesSlides/notesSlide13.xml"/><Relationship Id="rId7" Type="http://schemas.openxmlformats.org/officeDocument/2006/relationships/image" Target="../media/image4.png"/><Relationship Id="rId2" Type="http://schemas.openxmlformats.org/officeDocument/2006/relationships/slideLayout" Target="../slideLayouts/slideLayout13.xml"/><Relationship Id="rId1" Type="http://schemas.openxmlformats.org/officeDocument/2006/relationships/tags" Target="../tags/tag361.xml"/><Relationship Id="rId6" Type="http://schemas.openxmlformats.org/officeDocument/2006/relationships/image" Target="../media/image48.png"/><Relationship Id="rId5" Type="http://schemas.openxmlformats.org/officeDocument/2006/relationships/image" Target="../media/image47.emf"/><Relationship Id="rId4" Type="http://schemas.openxmlformats.org/officeDocument/2006/relationships/oleObject" Target="../embeddings/oleObject6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8.xml"/><Relationship Id="rId1" Type="http://schemas.openxmlformats.org/officeDocument/2006/relationships/tags" Target="../tags/tag362.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5.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svg"/><Relationship Id="rId3" Type="http://schemas.openxmlformats.org/officeDocument/2006/relationships/notesSlide" Target="../notesSlides/notesSlide15.xml"/><Relationship Id="rId7" Type="http://schemas.openxmlformats.org/officeDocument/2006/relationships/image" Target="../media/image51.svg"/><Relationship Id="rId12" Type="http://schemas.openxmlformats.org/officeDocument/2006/relationships/image" Target="../media/image56.png"/><Relationship Id="rId2" Type="http://schemas.openxmlformats.org/officeDocument/2006/relationships/slideLayout" Target="../slideLayouts/slideLayout49.xml"/><Relationship Id="rId1" Type="http://schemas.openxmlformats.org/officeDocument/2006/relationships/tags" Target="../tags/tag363.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emf"/><Relationship Id="rId15" Type="http://schemas.openxmlformats.org/officeDocument/2006/relationships/image" Target="../media/image59.svg"/><Relationship Id="rId10" Type="http://schemas.openxmlformats.org/officeDocument/2006/relationships/image" Target="../media/image54.png"/><Relationship Id="rId4" Type="http://schemas.openxmlformats.org/officeDocument/2006/relationships/oleObject" Target="../embeddings/oleObject62.bin"/><Relationship Id="rId9" Type="http://schemas.openxmlformats.org/officeDocument/2006/relationships/image" Target="../media/image53.svg"/><Relationship Id="rId14" Type="http://schemas.openxmlformats.org/officeDocument/2006/relationships/image" Target="../media/image5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9.xml"/><Relationship Id="rId1" Type="http://schemas.openxmlformats.org/officeDocument/2006/relationships/tags" Target="../tags/tag364.xml"/><Relationship Id="rId6" Type="http://schemas.openxmlformats.org/officeDocument/2006/relationships/image" Target="../media/image60.png"/><Relationship Id="rId5" Type="http://schemas.openxmlformats.org/officeDocument/2006/relationships/image" Target="../media/image49.emf"/><Relationship Id="rId4" Type="http://schemas.openxmlformats.org/officeDocument/2006/relationships/oleObject" Target="../embeddings/oleObject63.bin"/></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jpeg"/><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slideLayout" Target="../slideLayouts/slideLayout60.xml"/><Relationship Id="rId18" Type="http://schemas.openxmlformats.org/officeDocument/2006/relationships/image" Target="../media/image63.png"/><Relationship Id="rId26" Type="http://schemas.openxmlformats.org/officeDocument/2006/relationships/image" Target="../media/image71.png"/><Relationship Id="rId3" Type="http://schemas.openxmlformats.org/officeDocument/2006/relationships/tags" Target="../tags/tag367.xml"/><Relationship Id="rId21" Type="http://schemas.openxmlformats.org/officeDocument/2006/relationships/image" Target="../media/image66.png"/><Relationship Id="rId7" Type="http://schemas.openxmlformats.org/officeDocument/2006/relationships/tags" Target="../tags/tag371.xml"/><Relationship Id="rId12" Type="http://schemas.openxmlformats.org/officeDocument/2006/relationships/tags" Target="../tags/tag376.xml"/><Relationship Id="rId17" Type="http://schemas.openxmlformats.org/officeDocument/2006/relationships/image" Target="../media/image62.png"/><Relationship Id="rId25" Type="http://schemas.openxmlformats.org/officeDocument/2006/relationships/image" Target="../media/image70.svg"/><Relationship Id="rId2" Type="http://schemas.openxmlformats.org/officeDocument/2006/relationships/tags" Target="../tags/tag366.xml"/><Relationship Id="rId16" Type="http://schemas.openxmlformats.org/officeDocument/2006/relationships/image" Target="../media/image11.emf"/><Relationship Id="rId20" Type="http://schemas.openxmlformats.org/officeDocument/2006/relationships/image" Target="../media/image65.png"/><Relationship Id="rId29" Type="http://schemas.openxmlformats.org/officeDocument/2006/relationships/image" Target="../media/image74.svg"/><Relationship Id="rId1" Type="http://schemas.openxmlformats.org/officeDocument/2006/relationships/tags" Target="../tags/tag365.xml"/><Relationship Id="rId6" Type="http://schemas.openxmlformats.org/officeDocument/2006/relationships/tags" Target="../tags/tag370.xml"/><Relationship Id="rId11" Type="http://schemas.openxmlformats.org/officeDocument/2006/relationships/tags" Target="../tags/tag375.xml"/><Relationship Id="rId24" Type="http://schemas.openxmlformats.org/officeDocument/2006/relationships/image" Target="../media/image69.png"/><Relationship Id="rId5" Type="http://schemas.openxmlformats.org/officeDocument/2006/relationships/tags" Target="../tags/tag369.xml"/><Relationship Id="rId15" Type="http://schemas.openxmlformats.org/officeDocument/2006/relationships/oleObject" Target="../embeddings/oleObject64.bin"/><Relationship Id="rId23" Type="http://schemas.openxmlformats.org/officeDocument/2006/relationships/image" Target="../media/image68.png"/><Relationship Id="rId28" Type="http://schemas.openxmlformats.org/officeDocument/2006/relationships/image" Target="../media/image73.png"/><Relationship Id="rId10" Type="http://schemas.openxmlformats.org/officeDocument/2006/relationships/tags" Target="../tags/tag374.xml"/><Relationship Id="rId19" Type="http://schemas.openxmlformats.org/officeDocument/2006/relationships/image" Target="../media/image64.png"/><Relationship Id="rId31" Type="http://schemas.openxmlformats.org/officeDocument/2006/relationships/image" Target="../media/image76.svg"/><Relationship Id="rId4" Type="http://schemas.openxmlformats.org/officeDocument/2006/relationships/tags" Target="../tags/tag368.xml"/><Relationship Id="rId9" Type="http://schemas.openxmlformats.org/officeDocument/2006/relationships/tags" Target="../tags/tag373.xml"/><Relationship Id="rId14" Type="http://schemas.openxmlformats.org/officeDocument/2006/relationships/notesSlide" Target="../notesSlides/notesSlide17.xml"/><Relationship Id="rId22" Type="http://schemas.openxmlformats.org/officeDocument/2006/relationships/image" Target="../media/image67.png"/><Relationship Id="rId27" Type="http://schemas.openxmlformats.org/officeDocument/2006/relationships/image" Target="../media/image72.svg"/><Relationship Id="rId30" Type="http://schemas.openxmlformats.org/officeDocument/2006/relationships/image" Target="../media/image75.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75.xml"/><Relationship Id="rId1" Type="http://schemas.openxmlformats.org/officeDocument/2006/relationships/tags" Target="../tags/tag377.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352.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51.bin"/></Relationships>
</file>

<file path=ppt/slides/_rels/slide20.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oleObject" Target="../embeddings/oleObject66.bin"/><Relationship Id="rId7" Type="http://schemas.openxmlformats.org/officeDocument/2006/relationships/image" Target="../media/image79.png"/><Relationship Id="rId2" Type="http://schemas.openxmlformats.org/officeDocument/2006/relationships/slideLayout" Target="../slideLayouts/slideLayout75.xml"/><Relationship Id="rId1" Type="http://schemas.openxmlformats.org/officeDocument/2006/relationships/tags" Target="../tags/tag378.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1.emf"/><Relationship Id="rId9" Type="http://schemas.openxmlformats.org/officeDocument/2006/relationships/image" Target="../media/image81.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379.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67.bin"/></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353.xml"/><Relationship Id="rId5" Type="http://schemas.openxmlformats.org/officeDocument/2006/relationships/image" Target="../media/image26.emf"/><Relationship Id="rId4" Type="http://schemas.openxmlformats.org/officeDocument/2006/relationships/oleObject" Target="../embeddings/oleObject52.bin"/></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30.jpeg"/><Relationship Id="rId4" Type="http://schemas.openxmlformats.org/officeDocument/2006/relationships/image" Target="../media/image29.jpeg"/></Relationships>
</file>

<file path=ppt/slides/_rels/slide6.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notesSlide" Target="../notesSlides/notesSlide6.xml"/><Relationship Id="rId7" Type="http://schemas.openxmlformats.org/officeDocument/2006/relationships/image" Target="../media/image33.emf"/><Relationship Id="rId2" Type="http://schemas.openxmlformats.org/officeDocument/2006/relationships/slideLayout" Target="../slideLayouts/slideLayout3.xml"/><Relationship Id="rId1" Type="http://schemas.openxmlformats.org/officeDocument/2006/relationships/tags" Target="../tags/tag354.xml"/><Relationship Id="rId6" Type="http://schemas.openxmlformats.org/officeDocument/2006/relationships/oleObject" Target="../embeddings/oleObject53.bin"/><Relationship Id="rId5" Type="http://schemas.openxmlformats.org/officeDocument/2006/relationships/image" Target="../media/image32.png"/><Relationship Id="rId10" Type="http://schemas.openxmlformats.org/officeDocument/2006/relationships/image" Target="../media/image36.png"/><Relationship Id="rId4" Type="http://schemas.openxmlformats.org/officeDocument/2006/relationships/image" Target="../media/image31.png"/><Relationship Id="rId9" Type="http://schemas.openxmlformats.org/officeDocument/2006/relationships/image" Target="../media/image35.jpeg"/></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video" Target="../media/media1.mp4"/><Relationship Id="rId7" Type="http://schemas.openxmlformats.org/officeDocument/2006/relationships/image" Target="../media/image33.emf"/><Relationship Id="rId2" Type="http://schemas.microsoft.com/office/2007/relationships/media" Target="../media/media1.mp4"/><Relationship Id="rId1" Type="http://schemas.openxmlformats.org/officeDocument/2006/relationships/tags" Target="../tags/tag355.xml"/><Relationship Id="rId6" Type="http://schemas.openxmlformats.org/officeDocument/2006/relationships/oleObject" Target="../embeddings/oleObject54.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0.svg"/><Relationship Id="rId2" Type="http://schemas.openxmlformats.org/officeDocument/2006/relationships/slideLayout" Target="../slideLayouts/slideLayout9.xml"/><Relationship Id="rId1" Type="http://schemas.openxmlformats.org/officeDocument/2006/relationships/tags" Target="../tags/tag356.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55.bin"/></Relationships>
</file>

<file path=ppt/slides/_rels/slide9.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notesSlide" Target="../notesSlides/notesSlide9.xml"/><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357.xml"/><Relationship Id="rId6" Type="http://schemas.openxmlformats.org/officeDocument/2006/relationships/image" Target="../media/image42.jpeg"/><Relationship Id="rId5" Type="http://schemas.openxmlformats.org/officeDocument/2006/relationships/image" Target="../media/image41.emf"/><Relationship Id="rId4" Type="http://schemas.openxmlformats.org/officeDocument/2006/relationships/oleObject" Target="../embeddings/oleObject5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920153-49DE-18D2-3063-74ED69ED1602}"/>
              </a:ext>
            </a:extLst>
          </p:cNvPr>
          <p:cNvSpPr>
            <a:spLocks noGrp="1"/>
          </p:cNvSpPr>
          <p:nvPr>
            <p:ph type="title"/>
          </p:nvPr>
        </p:nvSpPr>
        <p:spPr>
          <a:xfrm>
            <a:off x="1164001" y="489801"/>
            <a:ext cx="9863997" cy="576000"/>
          </a:xfrm>
        </p:spPr>
        <p:txBody>
          <a:bodyPr/>
          <a:lstStyle/>
          <a:p>
            <a:pPr algn="ctr"/>
            <a:r>
              <a:rPr lang="de-DE"/>
              <a:t>Welcome </a:t>
            </a:r>
            <a:r>
              <a:rPr lang="de-DE" err="1"/>
              <a:t>to</a:t>
            </a:r>
            <a:r>
              <a:rPr lang="de-DE"/>
              <a:t> </a:t>
            </a:r>
            <a:r>
              <a:rPr lang="de-DE" err="1"/>
              <a:t>the</a:t>
            </a:r>
            <a:r>
              <a:rPr lang="de-DE"/>
              <a:t> Siemens Press Conference @ ACHEMA 2024</a:t>
            </a:r>
          </a:p>
        </p:txBody>
      </p:sp>
      <p:pic>
        <p:nvPicPr>
          <p:cNvPr id="5" name="Grafik 4">
            <a:extLst>
              <a:ext uri="{FF2B5EF4-FFF2-40B4-BE49-F238E27FC236}">
                <a16:creationId xmlns:a16="http://schemas.microsoft.com/office/drawing/2014/main" id="{42F23FF1-8909-DE06-A1C8-29729C36472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85861" y="1485862"/>
            <a:ext cx="3620278" cy="3620278"/>
          </a:xfrm>
          <a:prstGeom prst="rect">
            <a:avLst/>
          </a:prstGeom>
        </p:spPr>
      </p:pic>
      <p:sp>
        <p:nvSpPr>
          <p:cNvPr id="6" name="Textfeld 5">
            <a:extLst>
              <a:ext uri="{FF2B5EF4-FFF2-40B4-BE49-F238E27FC236}">
                <a16:creationId xmlns:a16="http://schemas.microsoft.com/office/drawing/2014/main" id="{ADE535BD-011B-45AA-0323-34A8E3F10037}"/>
              </a:ext>
            </a:extLst>
          </p:cNvPr>
          <p:cNvSpPr txBox="1"/>
          <p:nvPr/>
        </p:nvSpPr>
        <p:spPr>
          <a:xfrm>
            <a:off x="2769116" y="5526201"/>
            <a:ext cx="6653766"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kumimoji="0" lang="de-DE" sz="1800" b="0" i="0" u="none" strike="noStrike" kern="0" cap="none" spc="0" normalizeH="0" baseline="0" noProof="0">
                <a:ln>
                  <a:noFill/>
                </a:ln>
                <a:solidFill>
                  <a:prstClr val="white"/>
                </a:solidFill>
                <a:effectLst/>
                <a:uLnTx/>
                <a:uFillTx/>
                <a:latin typeface="Arial"/>
                <a:ea typeface="+mn-ea"/>
                <a:cs typeface="+mn-cs"/>
              </a:rPr>
              <a:t>Press kit: </a:t>
            </a:r>
            <a:r>
              <a:rPr kumimoji="0" lang="de-DE" sz="1800" b="0" i="0" u="none" strike="noStrike" kern="0" cap="none" spc="0" normalizeH="0" baseline="0" noProof="0" err="1">
                <a:ln>
                  <a:noFill/>
                </a:ln>
                <a:solidFill>
                  <a:prstClr val="white"/>
                </a:solidFill>
                <a:effectLst/>
                <a:uLnTx/>
                <a:uFillTx/>
                <a:latin typeface="Arial"/>
                <a:ea typeface="+mn-ea"/>
                <a:cs typeface="+mn-cs"/>
              </a:rPr>
              <a:t>scan</a:t>
            </a:r>
            <a:r>
              <a:rPr kumimoji="0" lang="de-DE" sz="1800" b="0" i="0" u="none" strike="noStrike" kern="0" cap="none" spc="0" normalizeH="0" baseline="0" noProof="0">
                <a:ln>
                  <a:noFill/>
                </a:ln>
                <a:solidFill>
                  <a:prstClr val="white"/>
                </a:solidFill>
                <a:effectLst/>
                <a:uLnTx/>
                <a:uFillTx/>
                <a:latin typeface="Arial"/>
                <a:ea typeface="+mn-ea"/>
                <a:cs typeface="+mn-cs"/>
              </a:rPr>
              <a:t> </a:t>
            </a:r>
            <a:r>
              <a:rPr kumimoji="0" lang="de-DE" sz="1800" b="0" i="0" u="none" strike="noStrike" kern="0" cap="none" spc="0" normalizeH="0" baseline="0" noProof="0" err="1">
                <a:ln>
                  <a:noFill/>
                </a:ln>
                <a:solidFill>
                  <a:prstClr val="white"/>
                </a:solidFill>
                <a:effectLst/>
                <a:uLnTx/>
                <a:uFillTx/>
                <a:latin typeface="Arial"/>
                <a:ea typeface="+mn-ea"/>
                <a:cs typeface="+mn-cs"/>
              </a:rPr>
              <a:t>the</a:t>
            </a:r>
            <a:r>
              <a:rPr kumimoji="0" lang="de-DE" sz="1800" b="0" i="0" u="none" strike="noStrike" kern="0" cap="none" spc="0" normalizeH="0" baseline="0" noProof="0">
                <a:ln>
                  <a:noFill/>
                </a:ln>
                <a:solidFill>
                  <a:prstClr val="white"/>
                </a:solidFill>
                <a:effectLst/>
                <a:uLnTx/>
                <a:uFillTx/>
                <a:latin typeface="Arial"/>
                <a:ea typeface="+mn-ea"/>
                <a:cs typeface="+mn-cs"/>
              </a:rPr>
              <a:t> QR code </a:t>
            </a:r>
            <a:r>
              <a:rPr kumimoji="0" lang="de-DE" sz="1800" b="0" i="0" u="none" strike="noStrike" kern="0" cap="none" spc="0" normalizeH="0" baseline="0" noProof="0" err="1">
                <a:ln>
                  <a:noFill/>
                </a:ln>
                <a:solidFill>
                  <a:prstClr val="white"/>
                </a:solidFill>
                <a:effectLst/>
                <a:uLnTx/>
                <a:uFillTx/>
                <a:latin typeface="Arial"/>
                <a:ea typeface="+mn-ea"/>
                <a:cs typeface="+mn-cs"/>
              </a:rPr>
              <a:t>or</a:t>
            </a:r>
            <a:r>
              <a:rPr kumimoji="0" lang="de-DE" sz="1800" b="0" i="0" u="none" strike="noStrike" kern="0" cap="none" spc="0" normalizeH="0" baseline="0" noProof="0">
                <a:ln>
                  <a:noFill/>
                </a:ln>
                <a:solidFill>
                  <a:prstClr val="white"/>
                </a:solidFill>
                <a:effectLst/>
                <a:uLnTx/>
                <a:uFillTx/>
                <a:latin typeface="Arial"/>
                <a:ea typeface="+mn-ea"/>
                <a:cs typeface="+mn-cs"/>
              </a:rPr>
              <a:t> </a:t>
            </a:r>
            <a:r>
              <a:rPr kumimoji="0" lang="de-DE" sz="1800" b="0" i="0" u="none" strike="noStrike" kern="0" cap="none" spc="0" normalizeH="0" baseline="0" noProof="0" err="1">
                <a:ln>
                  <a:noFill/>
                </a:ln>
                <a:solidFill>
                  <a:prstClr val="white"/>
                </a:solidFill>
                <a:effectLst/>
                <a:uLnTx/>
                <a:uFillTx/>
                <a:latin typeface="Arial"/>
                <a:ea typeface="+mn-ea"/>
                <a:cs typeface="+mn-cs"/>
              </a:rPr>
              <a:t>access</a:t>
            </a:r>
            <a:r>
              <a:rPr kumimoji="0" lang="de-DE" sz="1800" b="0" i="0" u="none" strike="noStrike" kern="0" cap="none" spc="0" normalizeH="0" baseline="0" noProof="0">
                <a:ln>
                  <a:noFill/>
                </a:ln>
                <a:solidFill>
                  <a:prstClr val="white"/>
                </a:solidFill>
                <a:effectLst/>
                <a:uLnTx/>
                <a:uFillTx/>
                <a:latin typeface="Arial"/>
                <a:ea typeface="+mn-ea"/>
                <a:cs typeface="+mn-cs"/>
              </a:rPr>
              <a:t> via</a:t>
            </a:r>
          </a:p>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kumimoji="0" lang="de-DE" sz="1800" b="1" i="0" u="none" strike="noStrike" kern="0" cap="none" spc="0" normalizeH="0" baseline="0" noProof="0">
                <a:ln>
                  <a:noFill/>
                </a:ln>
                <a:solidFill>
                  <a:srgbClr val="00C1B6"/>
                </a:solidFill>
                <a:effectLst/>
                <a:uLnTx/>
                <a:uFillTx/>
                <a:latin typeface="-apple-system"/>
                <a:ea typeface="+mn-ea"/>
                <a:cs typeface="+mn-cs"/>
              </a:rPr>
              <a:t>siemens.com/press/achema24 </a:t>
            </a:r>
            <a:endParaRPr kumimoji="0" lang="de-DE" sz="1800" b="1"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419805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0028"/>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2881A78-3680-E6A7-B89C-ADD499A1CF5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9128" t="12330" r="11501"/>
          <a:stretch/>
        </p:blipFill>
        <p:spPr bwMode="auto">
          <a:xfrm>
            <a:off x="-1" y="-1"/>
            <a:ext cx="7531101" cy="685799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4" name="think-cell data - do not delete" hidden="1">
            <a:extLst>
              <a:ext uri="{FF2B5EF4-FFF2-40B4-BE49-F238E27FC236}">
                <a16:creationId xmlns:a16="http://schemas.microsoft.com/office/drawing/2014/main" id="{6B64445E-817B-4906-37CB-3493950DF9C2}"/>
              </a:ext>
            </a:extLst>
          </p:cNvPr>
          <p:cNvGraphicFramePr>
            <a:graphicFrameLocks noChangeAspect="1"/>
          </p:cNvGraphicFramePr>
          <p:nvPr>
            <p:custDataLst>
              <p:tags r:id="rId1"/>
            </p:custDataLst>
            <p:extLst>
              <p:ext uri="{D42A27DB-BD31-4B8C-83A1-F6EECF244321}">
                <p14:modId xmlns:p14="http://schemas.microsoft.com/office/powerpoint/2010/main" val="34572370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4" name="think-cell data - do not delete" hidden="1">
                        <a:extLst>
                          <a:ext uri="{FF2B5EF4-FFF2-40B4-BE49-F238E27FC236}">
                            <a16:creationId xmlns:a16="http://schemas.microsoft.com/office/drawing/2014/main" id="{6B64445E-817B-4906-37CB-3493950DF9C2}"/>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0B13008E-1321-5ACD-6D6B-E18C998EEEDB}"/>
              </a:ext>
            </a:extLst>
          </p:cNvPr>
          <p:cNvSpPr txBox="1">
            <a:spLocks/>
          </p:cNvSpPr>
          <p:nvPr/>
        </p:nvSpPr>
        <p:spPr bwMode="black">
          <a:xfrm>
            <a:off x="7985118" y="2155939"/>
            <a:ext cx="3744000" cy="3490699"/>
          </a:xfrm>
          <a:prstGeom prst="rect">
            <a:avLst/>
          </a:prstGeom>
          <a:noFill/>
        </p:spPr>
        <p:txBody>
          <a:bodyPr vert="horz" wrap="square" lIns="0" tIns="0" rIns="0" bIns="0" rtlCol="0" anchor="t" anchorCtr="0">
            <a:spAutoFit/>
          </a:bodyPr>
          <a:lstStyle>
            <a:lvl1pPr marL="0" algn="l" defTabSz="914400" rtl="0" eaLnBrk="1" latinLnBrk="0" hangingPunct="1">
              <a:lnSpc>
                <a:spcPct val="100000"/>
              </a:lnSpc>
              <a:spcBef>
                <a:spcPct val="0"/>
              </a:spcBef>
              <a:buNone/>
              <a:defRPr sz="4800" b="0" kern="1200">
                <a:solidFill>
                  <a:schemeClr val="bg1"/>
                </a:solidFill>
                <a:latin typeface="+mj-lt"/>
                <a:ea typeface="+mj-ea"/>
                <a:cs typeface="+mj-cs"/>
              </a:defRPr>
            </a:lvl1pPr>
          </a:lstStyle>
          <a:p>
            <a:pPr lvl="0">
              <a:spcBef>
                <a:spcPts val="0"/>
              </a:spcBef>
              <a:buClr>
                <a:srgbClr val="009999"/>
              </a:buClr>
              <a:defRPr/>
            </a:pPr>
            <a:r>
              <a:rPr lang="en-US" sz="1800">
                <a:solidFill>
                  <a:prstClr val="white"/>
                </a:solidFill>
                <a:ea typeface="Calibri"/>
                <a:cs typeface="Arial"/>
              </a:rPr>
              <a:t>Accelerating hydrogen production </a:t>
            </a:r>
            <a:r>
              <a:rPr lang="en-US" sz="2400" b="1" err="1">
                <a:gradFill>
                  <a:gsLst>
                    <a:gs pos="0">
                      <a:srgbClr val="00FFB9"/>
                    </a:gs>
                    <a:gs pos="100000">
                      <a:srgbClr val="00E6DC"/>
                    </a:gs>
                  </a:gsLst>
                  <a:path path="circle">
                    <a:fillToRect l="100000" t="100000"/>
                  </a:path>
                </a:gradFill>
                <a:latin typeface="+mn-lt"/>
                <a:ea typeface="+mn-ea"/>
                <a:cs typeface="+mn-cs"/>
              </a:rPr>
              <a:t>GenAI</a:t>
            </a:r>
            <a:r>
              <a:rPr lang="en-US" sz="2400" b="1">
                <a:gradFill>
                  <a:gsLst>
                    <a:gs pos="0">
                      <a:srgbClr val="00FFB9"/>
                    </a:gs>
                    <a:gs pos="100000">
                      <a:srgbClr val="00E6DC"/>
                    </a:gs>
                  </a:gsLst>
                  <a:path path="circle">
                    <a:fillToRect l="100000" t="100000"/>
                  </a:path>
                </a:gradFill>
                <a:latin typeface="+mn-lt"/>
                <a:ea typeface="+mn-ea"/>
                <a:cs typeface="+mn-cs"/>
              </a:rPr>
              <a:t> based Hydrogen Plant Configurator</a:t>
            </a:r>
            <a:br>
              <a:rPr lang="en-US" sz="2400" b="1">
                <a:gradFill>
                  <a:gsLst>
                    <a:gs pos="0">
                      <a:srgbClr val="00FFB9"/>
                    </a:gs>
                    <a:gs pos="100000">
                      <a:srgbClr val="00E6DC"/>
                    </a:gs>
                  </a:gsLst>
                  <a:path path="circle">
                    <a:fillToRect l="100000" t="100000"/>
                  </a:path>
                </a:gradFill>
                <a:latin typeface="+mn-lt"/>
                <a:ea typeface="+mn-ea"/>
                <a:cs typeface="+mn-cs"/>
              </a:rPr>
            </a:br>
            <a:endParaRPr lang="en-US" sz="2400" b="1">
              <a:gradFill>
                <a:gsLst>
                  <a:gs pos="0">
                    <a:srgbClr val="00FFB9"/>
                  </a:gs>
                  <a:gs pos="100000">
                    <a:srgbClr val="00E6DC"/>
                  </a:gs>
                </a:gsLst>
                <a:path path="circle">
                  <a:fillToRect l="100000" t="100000"/>
                </a:path>
              </a:gradFill>
              <a:latin typeface="+mn-lt"/>
              <a:ea typeface="+mn-ea"/>
              <a:cs typeface="+mn-cs"/>
            </a:endParaRPr>
          </a:p>
          <a:p>
            <a:pPr marL="182880" indent="-182880">
              <a:lnSpc>
                <a:spcPct val="110000"/>
              </a:lnSpc>
              <a:spcBef>
                <a:spcPts val="600"/>
              </a:spcBef>
              <a:spcAft>
                <a:spcPts val="0"/>
              </a:spcAft>
              <a:buFont typeface="Arial" panose="020B0604020202020204" pitchFamily="34" charset="0"/>
              <a:buChar char="•"/>
            </a:pPr>
            <a:r>
              <a:rPr lang="en-US" sz="1600"/>
              <a:t>Powered by Large Language Models (LLMs)</a:t>
            </a:r>
          </a:p>
          <a:p>
            <a:pPr marL="182880" indent="-182880">
              <a:lnSpc>
                <a:spcPct val="110000"/>
              </a:lnSpc>
              <a:spcBef>
                <a:spcPts val="600"/>
              </a:spcBef>
              <a:spcAft>
                <a:spcPts val="0"/>
              </a:spcAft>
              <a:buFont typeface="Arial" panose="020B0604020202020204" pitchFamily="34" charset="0"/>
              <a:buChar char="•"/>
            </a:pPr>
            <a:r>
              <a:rPr lang="en-US" sz="1600"/>
              <a:t>Precise plant unit layouts and interconnections</a:t>
            </a:r>
          </a:p>
          <a:p>
            <a:pPr marL="182880" indent="-182880">
              <a:lnSpc>
                <a:spcPct val="110000"/>
              </a:lnSpc>
              <a:spcBef>
                <a:spcPts val="600"/>
              </a:spcBef>
              <a:spcAft>
                <a:spcPts val="0"/>
              </a:spcAft>
              <a:buFont typeface="Arial" panose="020B0604020202020204" pitchFamily="34" charset="0"/>
              <a:buChar char="•"/>
            </a:pPr>
            <a:r>
              <a:rPr lang="en-US" sz="1600"/>
              <a:t>Instant access to critical metrics, </a:t>
            </a:r>
            <a:br>
              <a:rPr lang="en-US" sz="1600"/>
            </a:br>
            <a:r>
              <a:rPr lang="en-US" sz="1600"/>
              <a:t>e.g. electricity consumption, heat generation</a:t>
            </a:r>
          </a:p>
        </p:txBody>
      </p:sp>
      <p:grpSp>
        <p:nvGrpSpPr>
          <p:cNvPr id="14" name="Group 13">
            <a:extLst>
              <a:ext uri="{FF2B5EF4-FFF2-40B4-BE49-F238E27FC236}">
                <a16:creationId xmlns:a16="http://schemas.microsoft.com/office/drawing/2014/main" id="{A34893E6-7FEC-4FDF-81DC-9F7FE2E53F76}"/>
              </a:ext>
            </a:extLst>
          </p:cNvPr>
          <p:cNvGrpSpPr/>
          <p:nvPr/>
        </p:nvGrpSpPr>
        <p:grpSpPr>
          <a:xfrm>
            <a:off x="10980958" y="479425"/>
            <a:ext cx="822960" cy="822960"/>
            <a:chOff x="411162" y="2917681"/>
            <a:chExt cx="822960" cy="822960"/>
          </a:xfrm>
        </p:grpSpPr>
        <p:sp>
          <p:nvSpPr>
            <p:cNvPr id="16" name="Rectangle 15">
              <a:extLst>
                <a:ext uri="{FF2B5EF4-FFF2-40B4-BE49-F238E27FC236}">
                  <a16:creationId xmlns:a16="http://schemas.microsoft.com/office/drawing/2014/main" id="{1AC8D7ED-D4C4-ADF0-0D1F-AF18A8D1ADC8}"/>
                </a:ext>
              </a:extLst>
            </p:cNvPr>
            <p:cNvSpPr/>
            <p:nvPr/>
          </p:nvSpPr>
          <p:spPr>
            <a:xfrm>
              <a:off x="411162" y="2917681"/>
              <a:ext cx="822960" cy="822960"/>
            </a:xfrm>
            <a:prstGeom prst="rect">
              <a:avLst/>
            </a:prstGeom>
            <a:gradFill>
              <a:gsLst>
                <a:gs pos="0">
                  <a:srgbClr val="00FFB9"/>
                </a:gs>
                <a:gs pos="99000">
                  <a:srgbClr val="00E6DC"/>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b" anchorCtr="0"/>
            <a:lstStyle/>
            <a:p>
              <a:pPr algn="l"/>
              <a:endParaRPr lang="en-US"/>
            </a:p>
          </p:txBody>
        </p:sp>
        <p:sp>
          <p:nvSpPr>
            <p:cNvPr id="17" name="TextBox 16">
              <a:extLst>
                <a:ext uri="{FF2B5EF4-FFF2-40B4-BE49-F238E27FC236}">
                  <a16:creationId xmlns:a16="http://schemas.microsoft.com/office/drawing/2014/main" id="{B89FDA1F-937E-46AC-F38F-12D8F3FFC79F}"/>
                </a:ext>
              </a:extLst>
            </p:cNvPr>
            <p:cNvSpPr txBox="1">
              <a:spLocks noChangeAspect="1"/>
            </p:cNvSpPr>
            <p:nvPr/>
          </p:nvSpPr>
          <p:spPr>
            <a:xfrm>
              <a:off x="514052" y="2989304"/>
              <a:ext cx="628948" cy="677108"/>
            </a:xfrm>
            <a:prstGeom prst="rect">
              <a:avLst/>
            </a:prstGeom>
            <a:noFill/>
          </p:spPr>
          <p:txBody>
            <a:bodyPr wrap="square" lIns="0" tIns="0" rIns="0" bIns="0" rtlCol="0">
              <a:spAutoFit/>
            </a:bodyPr>
            <a:lstStyle/>
            <a:p>
              <a:pPr algn="l"/>
              <a:endParaRPr lang="en-US" sz="2000"/>
            </a:p>
            <a:p>
              <a:pPr algn="l"/>
              <a:r>
                <a:rPr lang="en-US" sz="1200" b="1">
                  <a:solidFill>
                    <a:srgbClr val="000028"/>
                  </a:solidFill>
                </a:rPr>
                <a:t>New Product</a:t>
              </a:r>
            </a:p>
          </p:txBody>
        </p:sp>
      </p:grpSp>
      <p:pic>
        <p:nvPicPr>
          <p:cNvPr id="25" name="Siemens Logo">
            <a:extLst>
              <a:ext uri="{FF2B5EF4-FFF2-40B4-BE49-F238E27FC236}">
                <a16:creationId xmlns:a16="http://schemas.microsoft.com/office/drawing/2014/main" id="{50F41A11-13C6-178A-9F86-A2F7597F087E}"/>
              </a:ext>
              <a:ext uri="{C183D7F6-B498-43B3-948B-1728B52AA6E4}">
                <adec:decorative xmlns:adec="http://schemas.microsoft.com/office/drawing/2017/decorative" val="0"/>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277263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9C898CB-9873-44B4-4ECF-5F1E82AB1740}"/>
              </a:ext>
            </a:extLst>
          </p:cNvPr>
          <p:cNvGraphicFramePr>
            <a:graphicFrameLocks noChangeAspect="1"/>
          </p:cNvGraphicFramePr>
          <p:nvPr>
            <p:custDataLst>
              <p:tags r:id="rId1"/>
            </p:custDataLst>
            <p:extLst>
              <p:ext uri="{D42A27DB-BD31-4B8C-83A1-F6EECF244321}">
                <p14:modId xmlns:p14="http://schemas.microsoft.com/office/powerpoint/2010/main" val="35112561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89C898CB-9873-44B4-4ECF-5F1E82AB1740}"/>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pic>
        <p:nvPicPr>
          <p:cNvPr id="6" name="H2Configurator_Edited.mp4">
            <a:hlinkClick r:id="" action="ppaction://media"/>
            <a:extLst>
              <a:ext uri="{FF2B5EF4-FFF2-40B4-BE49-F238E27FC236}">
                <a16:creationId xmlns:a16="http://schemas.microsoft.com/office/drawing/2014/main" id="{FDD79A91-B11E-1070-CBB1-E94126BC5A9E}"/>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Tree>
    <p:extLst>
      <p:ext uri="{BB962C8B-B14F-4D97-AF65-F5344CB8AC3E}">
        <p14:creationId xmlns:p14="http://schemas.microsoft.com/office/powerpoint/2010/main" val="403497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630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8762FF6-0F5A-4090-96A2-23C4F1F3A7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11" progId="TCLayout.ActiveDocument.1">
                  <p:embed/>
                </p:oleObj>
              </mc:Choice>
              <mc:Fallback>
                <p:oleObj name="think-cell Slide" r:id="rId4" imgW="410" imgH="411" progId="TCLayout.ActiveDocument.1">
                  <p:embed/>
                  <p:pic>
                    <p:nvPicPr>
                      <p:cNvPr id="7" name="Objekt 6" hidden="1">
                        <a:extLst>
                          <a:ext uri="{FF2B5EF4-FFF2-40B4-BE49-F238E27FC236}">
                            <a16:creationId xmlns:a16="http://schemas.microsoft.com/office/drawing/2014/main" id="{68762FF6-0F5A-4090-96A2-23C4F1F3A7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feld 13">
            <a:extLst>
              <a:ext uri="{FF2B5EF4-FFF2-40B4-BE49-F238E27FC236}">
                <a16:creationId xmlns:a16="http://schemas.microsoft.com/office/drawing/2014/main" id="{24870D0E-5281-479D-9FB5-960123DFC34B}"/>
              </a:ext>
            </a:extLst>
          </p:cNvPr>
          <p:cNvSpPr txBox="1"/>
          <p:nvPr/>
        </p:nvSpPr>
        <p:spPr>
          <a:xfrm>
            <a:off x="4405744" y="1475088"/>
            <a:ext cx="6506766" cy="1107996"/>
          </a:xfrm>
          <a:prstGeom prst="rect">
            <a:avLst/>
          </a:prstGeom>
          <a:noFill/>
        </p:spPr>
        <p:txBody>
          <a:bodyPr wrap="square" lIns="0" tIns="0" rIns="0" bIns="0" rtlCol="0" anchor="t">
            <a:spAutoFit/>
          </a:bodyPr>
          <a:lstStyle>
            <a:defPPr>
              <a:defRPr lang="en-US"/>
            </a:defPPr>
            <a:lvl1pPr>
              <a:lnSpc>
                <a:spcPct val="140000"/>
              </a:lnSpc>
              <a:spcAft>
                <a:spcPts val="800"/>
              </a:spcAft>
              <a:defRPr sz="1400" b="1">
                <a:latin typeface="+mj-lt"/>
                <a:cs typeface="Times New Roman" panose="02020603050405020304" pitchFamily="18" charset="0"/>
              </a:defRPr>
            </a:lvl1pPr>
          </a:lstStyle>
          <a:p>
            <a:pPr marL="0" marR="0" lvl="0" indent="0" algn="l" defTabSz="914126" rtl="0" eaLnBrk="1" fontAlgn="auto" latinLnBrk="0" hangingPunct="1">
              <a:lnSpc>
                <a:spcPct val="100000"/>
              </a:lnSpc>
              <a:spcBef>
                <a:spcPts val="0"/>
              </a:spcBef>
              <a:spcAft>
                <a:spcPts val="800"/>
              </a:spcAft>
              <a:buClrTx/>
              <a:buSzTx/>
              <a:buFontTx/>
              <a:buNone/>
              <a:tabLst/>
              <a:defRPr/>
            </a:pPr>
            <a:r>
              <a:rPr kumimoji="0" lang="en-US" sz="2000" b="0" i="0" u="none" strike="noStrike" kern="1200" cap="none" spc="0" normalizeH="0" baseline="0" noProof="0">
                <a:ln>
                  <a:noFill/>
                </a:ln>
                <a:solidFill>
                  <a:prstClr val="white"/>
                </a:solidFill>
                <a:effectLst/>
                <a:uLnTx/>
                <a:uFillTx/>
                <a:latin typeface="Arial"/>
                <a:ea typeface="+mn-ea"/>
                <a:cs typeface="Times New Roman"/>
              </a:rPr>
              <a:t>A comprehensive, curated </a:t>
            </a:r>
            <a:r>
              <a:rPr kumimoji="0" lang="en-US" sz="3200" b="1" i="0" u="none" strike="noStrike" kern="1200" cap="none" spc="0" normalizeH="0" baseline="0" noProof="0">
                <a:ln>
                  <a:noFill/>
                </a:ln>
                <a:solidFill>
                  <a:srgbClr val="00FFB9"/>
                </a:solidFill>
                <a:effectLst/>
                <a:uLnTx/>
                <a:uFillTx/>
                <a:latin typeface="Arial"/>
                <a:ea typeface="+mn-ea"/>
                <a:cs typeface="Times New Roman"/>
              </a:rPr>
              <a:t>portfolio</a:t>
            </a:r>
            <a:r>
              <a:rPr kumimoji="0" lang="en-US" sz="2400" b="0" i="0" u="none" strike="noStrike" kern="1200" cap="none" spc="0" normalizeH="0" baseline="0" noProof="0">
                <a:ln>
                  <a:noFill/>
                </a:ln>
                <a:solidFill>
                  <a:srgbClr val="00FFB9"/>
                </a:solidFill>
                <a:effectLst/>
                <a:uLnTx/>
                <a:uFillTx/>
                <a:latin typeface="Arial"/>
                <a:ea typeface="+mn-ea"/>
                <a:cs typeface="Times New Roman"/>
              </a:rPr>
              <a:t> </a:t>
            </a:r>
            <a:r>
              <a:rPr kumimoji="0" lang="en-US" sz="2000" b="0" i="0" u="none" strike="noStrike" kern="1200" cap="none" spc="0" normalizeH="0" baseline="0" noProof="0">
                <a:ln>
                  <a:noFill/>
                </a:ln>
                <a:solidFill>
                  <a:prstClr val="white"/>
                </a:solidFill>
                <a:effectLst/>
                <a:uLnTx/>
                <a:uFillTx/>
                <a:latin typeface="Arial"/>
                <a:ea typeface="+mn-ea"/>
                <a:cs typeface="Times New Roman"/>
              </a:rPr>
              <a:t>that includes digital </a:t>
            </a:r>
            <a:r>
              <a:rPr kumimoji="0" lang="en-US" sz="2000" b="1" i="0" u="none" strike="noStrike" kern="1200" cap="none" spc="0" normalizeH="0" baseline="0" noProof="0">
                <a:ln>
                  <a:noFill/>
                </a:ln>
                <a:solidFill>
                  <a:prstClr val="white"/>
                </a:solidFill>
                <a:effectLst/>
                <a:uLnTx/>
                <a:uFillTx/>
                <a:latin typeface="Arial"/>
                <a:ea typeface="+mn-ea"/>
                <a:cs typeface="Times New Roman"/>
              </a:rPr>
              <a:t>and</a:t>
            </a:r>
            <a:r>
              <a:rPr kumimoji="0" lang="en-US" sz="2000" b="0" i="0" u="none" strike="noStrike" kern="1200" cap="none" spc="0" normalizeH="0" baseline="0" noProof="0">
                <a:ln>
                  <a:noFill/>
                </a:ln>
                <a:solidFill>
                  <a:prstClr val="white"/>
                </a:solidFill>
                <a:effectLst/>
                <a:uLnTx/>
                <a:uFillTx/>
                <a:latin typeface="Arial"/>
                <a:ea typeface="+mn-ea"/>
                <a:cs typeface="Times New Roman"/>
              </a:rPr>
              <a:t> IoT-enabled offerings from Siemens and qualified sellers</a:t>
            </a:r>
          </a:p>
        </p:txBody>
      </p:sp>
      <p:sp>
        <p:nvSpPr>
          <p:cNvPr id="15" name="Textfeld 14">
            <a:extLst>
              <a:ext uri="{FF2B5EF4-FFF2-40B4-BE49-F238E27FC236}">
                <a16:creationId xmlns:a16="http://schemas.microsoft.com/office/drawing/2014/main" id="{D081822E-7DC5-48F4-B245-D92CE65F1089}"/>
              </a:ext>
            </a:extLst>
          </p:cNvPr>
          <p:cNvSpPr txBox="1"/>
          <p:nvPr/>
        </p:nvSpPr>
        <p:spPr>
          <a:xfrm>
            <a:off x="4405744" y="3323172"/>
            <a:ext cx="6506766" cy="492443"/>
          </a:xfrm>
          <a:prstGeom prst="rect">
            <a:avLst/>
          </a:prstGeom>
          <a:noFill/>
        </p:spPr>
        <p:txBody>
          <a:bodyPr wrap="square" lIns="0" tIns="0" rIns="0" bIns="0" rtlCol="0">
            <a:spAutoFit/>
          </a:bodyPr>
          <a:lstStyle>
            <a:defPPr>
              <a:defRPr lang="en-US"/>
            </a:defPPr>
            <a:lvl1pPr>
              <a:lnSpc>
                <a:spcPct val="140000"/>
              </a:lnSpc>
              <a:spcAft>
                <a:spcPts val="800"/>
              </a:spcAft>
              <a:defRPr sz="1400" b="1">
                <a:latin typeface="+mj-lt"/>
                <a:cs typeface="Times New Roman" panose="02020603050405020304" pitchFamily="18" charset="0"/>
              </a:defRPr>
            </a:lvl1pPr>
          </a:lstStyle>
          <a:p>
            <a:pPr marL="0" marR="0" lvl="0" indent="0" algn="l" defTabSz="914126" rtl="0" eaLnBrk="1" fontAlgn="auto" latinLnBrk="0" hangingPunct="1">
              <a:lnSpc>
                <a:spcPct val="100000"/>
              </a:lnSpc>
              <a:spcBef>
                <a:spcPts val="0"/>
              </a:spcBef>
              <a:spcAft>
                <a:spcPts val="800"/>
              </a:spcAft>
              <a:buClrTx/>
              <a:buSzTx/>
              <a:buFontTx/>
              <a:buNone/>
              <a:tabLst/>
              <a:defRPr/>
            </a:pPr>
            <a:r>
              <a:rPr kumimoji="0" lang="en-US" sz="20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A continuously growing, powerful </a:t>
            </a:r>
            <a:r>
              <a:rPr kumimoji="0" lang="en-US" sz="3200" b="1" i="0" u="none" strike="noStrike" kern="1200" cap="none" spc="0" normalizeH="0" baseline="0" noProof="0">
                <a:ln>
                  <a:noFill/>
                </a:ln>
                <a:solidFill>
                  <a:srgbClr val="00FFB9"/>
                </a:solidFill>
                <a:effectLst/>
                <a:uLnTx/>
                <a:uFillTx/>
                <a:latin typeface="Arial"/>
                <a:ea typeface="+mn-ea"/>
                <a:cs typeface="Times New Roman" panose="02020603050405020304" pitchFamily="18" charset="0"/>
              </a:rPr>
              <a:t>ecosystem</a:t>
            </a:r>
            <a:r>
              <a:rPr kumimoji="0" lang="en-US" sz="1600" b="1"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 </a:t>
            </a:r>
            <a:endParaRPr kumimoji="0" lang="en-US" sz="20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endParaRPr>
          </a:p>
        </p:txBody>
      </p:sp>
      <p:sp>
        <p:nvSpPr>
          <p:cNvPr id="16" name="Textfeld 15">
            <a:extLst>
              <a:ext uri="{FF2B5EF4-FFF2-40B4-BE49-F238E27FC236}">
                <a16:creationId xmlns:a16="http://schemas.microsoft.com/office/drawing/2014/main" id="{955EF2CC-CBF0-4ACE-9CE0-505A63F37D7C}"/>
              </a:ext>
            </a:extLst>
          </p:cNvPr>
          <p:cNvSpPr txBox="1"/>
          <p:nvPr/>
        </p:nvSpPr>
        <p:spPr>
          <a:xfrm>
            <a:off x="4405744" y="4555704"/>
            <a:ext cx="6506765" cy="1107996"/>
          </a:xfrm>
          <a:prstGeom prst="rect">
            <a:avLst/>
          </a:prstGeom>
          <a:noFill/>
        </p:spPr>
        <p:txBody>
          <a:bodyPr wrap="square" lIns="0" tIns="0" rIns="0" bIns="0" rtlCol="0">
            <a:spAutoFit/>
          </a:bodyPr>
          <a:lstStyle>
            <a:defPPr>
              <a:defRPr lang="en-US"/>
            </a:defPPr>
            <a:lvl1pPr>
              <a:lnSpc>
                <a:spcPct val="140000"/>
              </a:lnSpc>
              <a:spcAft>
                <a:spcPts val="800"/>
              </a:spcAft>
              <a:defRPr sz="1400" b="1">
                <a:latin typeface="+mj-lt"/>
                <a:cs typeface="Times New Roman" panose="02020603050405020304" pitchFamily="18" charset="0"/>
              </a:defRPr>
            </a:lvl1pPr>
          </a:lstStyle>
          <a:p>
            <a:pPr marL="0" marR="0" lvl="0" indent="0" algn="l" defTabSz="914126" rtl="0" eaLnBrk="1" fontAlgn="auto" latinLnBrk="0" hangingPunct="1">
              <a:lnSpc>
                <a:spcPct val="100000"/>
              </a:lnSpc>
              <a:spcBef>
                <a:spcPts val="0"/>
              </a:spcBef>
              <a:spcAft>
                <a:spcPts val="800"/>
              </a:spcAft>
              <a:buClrTx/>
              <a:buSzTx/>
              <a:buFontTx/>
              <a:buNone/>
              <a:tabLst/>
              <a:defRPr/>
            </a:pPr>
            <a:r>
              <a:rPr kumimoji="0" lang="en-US" sz="20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A</a:t>
            </a:r>
            <a:r>
              <a:rPr kumimoji="0" lang="en-US" sz="16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 </a:t>
            </a:r>
            <a:r>
              <a:rPr kumimoji="0" lang="en-US" sz="3200" b="1" i="0" u="none" strike="noStrike" kern="1200" cap="none" spc="0" normalizeH="0" baseline="0" noProof="0">
                <a:ln>
                  <a:noFill/>
                </a:ln>
                <a:solidFill>
                  <a:srgbClr val="00FFB9"/>
                </a:solidFill>
                <a:effectLst/>
                <a:uLnTx/>
                <a:uFillTx/>
                <a:latin typeface="Arial"/>
                <a:ea typeface="+mn-ea"/>
                <a:cs typeface="Times New Roman" panose="02020603050405020304" pitchFamily="18" charset="0"/>
              </a:rPr>
              <a:t>marketplace</a:t>
            </a:r>
            <a:r>
              <a:rPr kumimoji="0" lang="en-US" sz="1600" b="1"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 </a:t>
            </a:r>
            <a:r>
              <a:rPr kumimoji="0" lang="en-US" sz="2000" b="0" i="0" u="none" strike="noStrike" kern="1200" cap="none" spc="0" normalizeH="0" baseline="0" noProof="0">
                <a:ln>
                  <a:noFill/>
                </a:ln>
                <a:solidFill>
                  <a:prstClr val="white"/>
                </a:solidFill>
                <a:effectLst/>
                <a:uLnTx/>
                <a:uFillTx/>
                <a:latin typeface="Arial"/>
                <a:ea typeface="+mn-ea"/>
                <a:cs typeface="Times New Roman" panose="02020603050405020304" pitchFamily="18" charset="0"/>
              </a:rPr>
              <a:t>to explore, educate and exchange with a community of customers, sellers and developers, and to purchase products, solutions and services</a:t>
            </a:r>
          </a:p>
        </p:txBody>
      </p:sp>
      <p:cxnSp>
        <p:nvCxnSpPr>
          <p:cNvPr id="28" name="Gerader Verbinder 27">
            <a:extLst>
              <a:ext uri="{FF2B5EF4-FFF2-40B4-BE49-F238E27FC236}">
                <a16:creationId xmlns:a16="http://schemas.microsoft.com/office/drawing/2014/main" id="{95855E73-C634-40D9-BACF-4A972E1AB863}"/>
              </a:ext>
            </a:extLst>
          </p:cNvPr>
          <p:cNvCxnSpPr>
            <a:cxnSpLocks/>
          </p:cNvCxnSpPr>
          <p:nvPr/>
        </p:nvCxnSpPr>
        <p:spPr>
          <a:xfrm>
            <a:off x="4262775" y="2953128"/>
            <a:ext cx="6224589" cy="0"/>
          </a:xfrm>
          <a:prstGeom prst="line">
            <a:avLst/>
          </a:prstGeom>
          <a:ln w="9525">
            <a:solidFill>
              <a:srgbClr val="9999A9"/>
            </a:solidFill>
            <a:prstDash val="sysDot"/>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E7EF144A-96CF-41D2-BC86-E7FA8F6A744A}"/>
              </a:ext>
            </a:extLst>
          </p:cNvPr>
          <p:cNvCxnSpPr>
            <a:cxnSpLocks/>
          </p:cNvCxnSpPr>
          <p:nvPr/>
        </p:nvCxnSpPr>
        <p:spPr>
          <a:xfrm>
            <a:off x="4262775" y="4185659"/>
            <a:ext cx="6224589" cy="0"/>
          </a:xfrm>
          <a:prstGeom prst="line">
            <a:avLst/>
          </a:prstGeom>
          <a:ln w="9525">
            <a:solidFill>
              <a:srgbClr val="9999A9"/>
            </a:solidFill>
            <a:prstDash val="sysDot"/>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D6A90710-1929-416A-A193-672A7D0DB99B}"/>
              </a:ext>
            </a:extLst>
          </p:cNvPr>
          <p:cNvSpPr>
            <a:spLocks noGrp="1"/>
          </p:cNvSpPr>
          <p:nvPr>
            <p:ph type="title"/>
          </p:nvPr>
        </p:nvSpPr>
        <p:spPr>
          <a:xfrm>
            <a:off x="410400" y="478800"/>
            <a:ext cx="10921629" cy="576000"/>
          </a:xfrm>
        </p:spPr>
        <p:txBody>
          <a:bodyPr vert="horz"/>
          <a:lstStyle/>
          <a:p>
            <a:r>
              <a:rPr lang="en-US" sz="2000" b="1"/>
              <a:t>Siemens </a:t>
            </a:r>
            <a:r>
              <a:rPr lang="en-US" sz="2000" b="1" err="1"/>
              <a:t>Xcelerator</a:t>
            </a:r>
            <a:r>
              <a:rPr lang="en-US" sz="2000" b="1"/>
              <a:t> </a:t>
            </a:r>
            <a:r>
              <a:rPr lang="en-US"/>
              <a:t>to</a:t>
            </a:r>
            <a:r>
              <a:rPr lang="en-US" sz="2000" b="1"/>
              <a:t> accelerate the digital transformation of our customers –</a:t>
            </a:r>
            <a:br>
              <a:rPr lang="en-US" sz="2000" b="1"/>
            </a:br>
            <a:r>
              <a:rPr lang="en-US"/>
              <a:t>easy, fast &amp; scalable</a:t>
            </a:r>
            <a:br>
              <a:rPr lang="en-US" sz="2000" b="1"/>
            </a:br>
            <a:endParaRPr lang="en-US"/>
          </a:p>
        </p:txBody>
      </p:sp>
      <p:pic>
        <p:nvPicPr>
          <p:cNvPr id="21" name="X shape">
            <a:extLst>
              <a:ext uri="{FF2B5EF4-FFF2-40B4-BE49-F238E27FC236}">
                <a16:creationId xmlns:a16="http://schemas.microsoft.com/office/drawing/2014/main" id="{61B938FF-F032-478C-8BA7-3F7502F7881E}"/>
              </a:ext>
            </a:extLst>
          </p:cNvPr>
          <p:cNvPicPr>
            <a:picLocks noChangeAspect="1"/>
          </p:cNvPicPr>
          <p:nvPr/>
        </p:nvPicPr>
        <p:blipFill rotWithShape="1">
          <a:blip r:embed="rId6">
            <a:alphaModFix/>
          </a:blip>
          <a:srcRect/>
          <a:stretch/>
        </p:blipFill>
        <p:spPr>
          <a:xfrm>
            <a:off x="627063" y="2151790"/>
            <a:ext cx="3276435" cy="3276435"/>
          </a:xfrm>
          <a:prstGeom prst="rect">
            <a:avLst/>
          </a:prstGeom>
        </p:spPr>
      </p:pic>
      <p:pic>
        <p:nvPicPr>
          <p:cNvPr id="3" name="Siemens Logo">
            <a:extLst>
              <a:ext uri="{FF2B5EF4-FFF2-40B4-BE49-F238E27FC236}">
                <a16:creationId xmlns:a16="http://schemas.microsoft.com/office/drawing/2014/main" id="{8690B48D-9F1F-5D83-74CC-BD62A993F5F2}"/>
              </a:ext>
              <a:ext uri="{C183D7F6-B498-43B3-948B-1728B52AA6E4}">
                <adec:decorative xmlns:adec="http://schemas.microsoft.com/office/drawing/2017/decorative" val="0"/>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190304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4DBC4A-680F-F609-666F-DA0593EBB732}"/>
              </a:ext>
            </a:extLst>
          </p:cNvPr>
          <p:cNvGraphicFramePr>
            <a:graphicFrameLocks noChangeAspect="1"/>
          </p:cNvGraphicFramePr>
          <p:nvPr>
            <p:custDataLst>
              <p:tags r:id="rId1"/>
            </p:custDataLst>
            <p:extLst>
              <p:ext uri="{D42A27DB-BD31-4B8C-83A1-F6EECF244321}">
                <p14:modId xmlns:p14="http://schemas.microsoft.com/office/powerpoint/2010/main" val="3514802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5" imgH="236" progId="TCLayout.ActiveDocument.1">
                  <p:embed/>
                </p:oleObj>
              </mc:Choice>
              <mc:Fallback>
                <p:oleObj name="think-cell Slide" r:id="rId4" imgW="235" imgH="236" progId="TCLayout.ActiveDocument.1">
                  <p:embed/>
                  <p:pic>
                    <p:nvPicPr>
                      <p:cNvPr id="5" name="Object 4" hidden="1">
                        <a:extLst>
                          <a:ext uri="{FF2B5EF4-FFF2-40B4-BE49-F238E27FC236}">
                            <a16:creationId xmlns:a16="http://schemas.microsoft.com/office/drawing/2014/main" id="{274DBC4A-680F-F609-666F-DA0593EBB7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0D0F402B-2FBD-5D8B-29A2-3ECF6F33512E}"/>
              </a:ext>
            </a:extLst>
          </p:cNvPr>
          <p:cNvSpPr/>
          <p:nvPr/>
        </p:nvSpPr>
        <p:spPr>
          <a:xfrm>
            <a:off x="6303780" y="1600200"/>
            <a:ext cx="4811692" cy="4394869"/>
          </a:xfrm>
          <a:prstGeom prst="rect">
            <a:avLst/>
          </a:prstGeom>
          <a:solidFill>
            <a:srgbClr val="33335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le 1">
            <a:extLst>
              <a:ext uri="{FF2B5EF4-FFF2-40B4-BE49-F238E27FC236}">
                <a16:creationId xmlns:a16="http://schemas.microsoft.com/office/drawing/2014/main" id="{FD70B5AD-CC46-CADE-564E-1F2488FDA385}"/>
              </a:ext>
            </a:extLst>
          </p:cNvPr>
          <p:cNvSpPr>
            <a:spLocks noGrp="1"/>
          </p:cNvSpPr>
          <p:nvPr>
            <p:ph type="title"/>
          </p:nvPr>
        </p:nvSpPr>
        <p:spPr/>
        <p:txBody>
          <a:bodyPr vert="horz"/>
          <a:lstStyle/>
          <a:p>
            <a:r>
              <a:rPr lang="en-US"/>
              <a:t>The Siemens </a:t>
            </a:r>
            <a:r>
              <a:rPr lang="en-US" err="1"/>
              <a:t>Xcelerator</a:t>
            </a:r>
            <a:r>
              <a:rPr lang="en-US"/>
              <a:t> Ecosystem consists of a wide set of stakeholders which contribute to the growth and value of the platform</a:t>
            </a:r>
          </a:p>
        </p:txBody>
      </p:sp>
      <p:sp>
        <p:nvSpPr>
          <p:cNvPr id="10" name="Rectangle 9">
            <a:extLst>
              <a:ext uri="{FF2B5EF4-FFF2-40B4-BE49-F238E27FC236}">
                <a16:creationId xmlns:a16="http://schemas.microsoft.com/office/drawing/2014/main" id="{D905A18F-AC68-3406-EB9D-5A383612271F}"/>
              </a:ext>
            </a:extLst>
          </p:cNvPr>
          <p:cNvSpPr/>
          <p:nvPr/>
        </p:nvSpPr>
        <p:spPr>
          <a:xfrm>
            <a:off x="6303779" y="1706339"/>
            <a:ext cx="4803572" cy="5796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C1B6"/>
                </a:solidFill>
                <a:effectLst/>
                <a:uLnTx/>
                <a:uFillTx/>
                <a:latin typeface="Arial"/>
                <a:ea typeface="+mn-ea"/>
                <a:cs typeface="+mn-cs"/>
              </a:rPr>
              <a:t>Siemens Xcelerator Ecosystem </a:t>
            </a:r>
            <a:br>
              <a:rPr kumimoji="0" lang="en-US" sz="1600" b="1" i="0" u="none" strike="noStrike" kern="1200" cap="none" spc="0" normalizeH="0" baseline="0" noProof="0">
                <a:ln>
                  <a:noFill/>
                </a:ln>
                <a:solidFill>
                  <a:srgbClr val="00C1B6"/>
                </a:solidFill>
                <a:effectLst/>
                <a:uLnTx/>
                <a:uFillTx/>
                <a:latin typeface="Arial"/>
                <a:ea typeface="+mn-ea"/>
                <a:cs typeface="+mn-cs"/>
              </a:rPr>
            </a:br>
            <a:r>
              <a:rPr kumimoji="0" lang="en-US" sz="1600" b="1" i="0" u="none" strike="noStrike" kern="1200" cap="none" spc="0" normalizeH="0" baseline="0" noProof="0">
                <a:ln>
                  <a:noFill/>
                </a:ln>
                <a:solidFill>
                  <a:srgbClr val="00C1B6"/>
                </a:solidFill>
                <a:effectLst/>
                <a:uLnTx/>
                <a:uFillTx/>
                <a:latin typeface="Arial"/>
                <a:ea typeface="+mn-ea"/>
                <a:cs typeface="+mn-cs"/>
              </a:rPr>
              <a:t>is characterized by</a:t>
            </a:r>
          </a:p>
        </p:txBody>
      </p:sp>
      <p:sp>
        <p:nvSpPr>
          <p:cNvPr id="22" name="Oval 21">
            <a:extLst>
              <a:ext uri="{FF2B5EF4-FFF2-40B4-BE49-F238E27FC236}">
                <a16:creationId xmlns:a16="http://schemas.microsoft.com/office/drawing/2014/main" id="{E25F7033-6691-8256-75AB-D8D8DB6AA3AE}"/>
              </a:ext>
            </a:extLst>
          </p:cNvPr>
          <p:cNvSpPr/>
          <p:nvPr/>
        </p:nvSpPr>
        <p:spPr>
          <a:xfrm>
            <a:off x="6415088" y="3214688"/>
            <a:ext cx="2543175" cy="254317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9" name="Rectangle 28">
            <a:extLst>
              <a:ext uri="{FF2B5EF4-FFF2-40B4-BE49-F238E27FC236}">
                <a16:creationId xmlns:a16="http://schemas.microsoft.com/office/drawing/2014/main" id="{F7716693-5FEF-C05F-8CE1-5FCF2F8990E0}"/>
              </a:ext>
            </a:extLst>
          </p:cNvPr>
          <p:cNvSpPr/>
          <p:nvPr/>
        </p:nvSpPr>
        <p:spPr>
          <a:xfrm>
            <a:off x="1059160" y="1604356"/>
            <a:ext cx="4811692" cy="4394869"/>
          </a:xfrm>
          <a:prstGeom prst="rect">
            <a:avLst/>
          </a:prstGeom>
          <a:solidFill>
            <a:srgbClr val="33335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34" name="Picture 33" descr="A diagram of a company&#10;&#10;Description automatically generated">
            <a:extLst>
              <a:ext uri="{FF2B5EF4-FFF2-40B4-BE49-F238E27FC236}">
                <a16:creationId xmlns:a16="http://schemas.microsoft.com/office/drawing/2014/main" id="{67856980-FB83-697B-9D45-4692EC0E5756}"/>
              </a:ext>
            </a:extLst>
          </p:cNvPr>
          <p:cNvPicPr>
            <a:picLocks noChangeAspect="1"/>
          </p:cNvPicPr>
          <p:nvPr/>
        </p:nvPicPr>
        <p:blipFill rotWithShape="1">
          <a:blip r:embed="rId6"/>
          <a:srcRect l="11288" r="22987"/>
          <a:stretch/>
        </p:blipFill>
        <p:spPr>
          <a:xfrm>
            <a:off x="1553717" y="2491035"/>
            <a:ext cx="3822578" cy="3272886"/>
          </a:xfrm>
          <a:prstGeom prst="rect">
            <a:avLst/>
          </a:prstGeom>
        </p:spPr>
      </p:pic>
      <p:sp>
        <p:nvSpPr>
          <p:cNvPr id="7" name="Rectangle 6">
            <a:extLst>
              <a:ext uri="{FF2B5EF4-FFF2-40B4-BE49-F238E27FC236}">
                <a16:creationId xmlns:a16="http://schemas.microsoft.com/office/drawing/2014/main" id="{167C98B7-2AAD-045B-A232-72B46A3B940F}"/>
              </a:ext>
            </a:extLst>
          </p:cNvPr>
          <p:cNvSpPr/>
          <p:nvPr/>
        </p:nvSpPr>
        <p:spPr>
          <a:xfrm>
            <a:off x="1070252" y="1732787"/>
            <a:ext cx="4811692" cy="6335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8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C1B6"/>
                </a:solidFill>
                <a:effectLst/>
                <a:uLnTx/>
                <a:uFillTx/>
                <a:latin typeface="Arial"/>
                <a:ea typeface="+mn-ea"/>
                <a:cs typeface="+mn-cs"/>
              </a:rPr>
              <a:t>Siemens Xcelerator Ecosystem </a:t>
            </a:r>
            <a:br>
              <a:rPr kumimoji="0" lang="en-US" sz="1600" b="1" i="0" u="none" strike="noStrike" kern="1200" cap="none" spc="0" normalizeH="0" baseline="0" noProof="0">
                <a:ln>
                  <a:noFill/>
                </a:ln>
                <a:solidFill>
                  <a:srgbClr val="00C1B6"/>
                </a:solidFill>
                <a:effectLst/>
                <a:uLnTx/>
                <a:uFillTx/>
                <a:latin typeface="Arial"/>
                <a:ea typeface="+mn-ea"/>
                <a:cs typeface="+mn-cs"/>
              </a:rPr>
            </a:br>
            <a:r>
              <a:rPr kumimoji="0" lang="en-US" sz="1600" b="1" i="0" u="none" strike="noStrike" kern="1200" cap="none" spc="0" normalizeH="0" baseline="0" noProof="0">
                <a:ln>
                  <a:noFill/>
                </a:ln>
                <a:solidFill>
                  <a:srgbClr val="00C1B6"/>
                </a:solidFill>
                <a:effectLst/>
                <a:uLnTx/>
                <a:uFillTx/>
                <a:latin typeface="Arial"/>
                <a:ea typeface="+mn-ea"/>
                <a:cs typeface="+mn-cs"/>
              </a:rPr>
              <a:t>tackles customer challenges</a:t>
            </a:r>
          </a:p>
        </p:txBody>
      </p:sp>
      <p:sp>
        <p:nvSpPr>
          <p:cNvPr id="38" name="TextBox 37">
            <a:extLst>
              <a:ext uri="{FF2B5EF4-FFF2-40B4-BE49-F238E27FC236}">
                <a16:creationId xmlns:a16="http://schemas.microsoft.com/office/drawing/2014/main" id="{3238EEBD-6E46-33DF-9403-3C2A228211E5}"/>
              </a:ext>
            </a:extLst>
          </p:cNvPr>
          <p:cNvSpPr txBox="1"/>
          <p:nvPr/>
        </p:nvSpPr>
        <p:spPr>
          <a:xfrm>
            <a:off x="6430328" y="2366407"/>
            <a:ext cx="3943248" cy="2366674"/>
          </a:xfrm>
          <a:prstGeom prst="rect">
            <a:avLst/>
          </a:prstGeom>
          <a:noFill/>
        </p:spPr>
        <p:txBody>
          <a:bodyPr wrap="square" lIns="182880" tIns="0" rIns="0" bIns="0" rtlCol="0">
            <a:spAutoFit/>
          </a:bodyPr>
          <a:lstStyle/>
          <a:p>
            <a:pPr algn="l">
              <a:lnSpc>
                <a:spcPct val="200000"/>
              </a:lnSpc>
            </a:pPr>
            <a:r>
              <a:rPr lang="en-US" sz="2000" b="1"/>
              <a:t>OPENNESS</a:t>
            </a:r>
          </a:p>
          <a:p>
            <a:pPr algn="l">
              <a:lnSpc>
                <a:spcPct val="200000"/>
              </a:lnSpc>
            </a:pPr>
            <a:r>
              <a:rPr lang="en-US" sz="2000" b="1"/>
              <a:t>INNOVATIVENESS</a:t>
            </a:r>
          </a:p>
          <a:p>
            <a:pPr algn="l">
              <a:lnSpc>
                <a:spcPct val="200000"/>
              </a:lnSpc>
            </a:pPr>
            <a:r>
              <a:rPr lang="en-US" sz="2000" b="1"/>
              <a:t>DIVERSITY</a:t>
            </a:r>
          </a:p>
          <a:p>
            <a:pPr algn="l">
              <a:lnSpc>
                <a:spcPct val="200000"/>
              </a:lnSpc>
            </a:pPr>
            <a:r>
              <a:rPr lang="en-US" sz="2000" b="1"/>
              <a:t>COLLABORATION</a:t>
            </a:r>
          </a:p>
        </p:txBody>
      </p:sp>
      <p:pic>
        <p:nvPicPr>
          <p:cNvPr id="40" name="Siemens Logo">
            <a:extLst>
              <a:ext uri="{FF2B5EF4-FFF2-40B4-BE49-F238E27FC236}">
                <a16:creationId xmlns:a16="http://schemas.microsoft.com/office/drawing/2014/main" id="{B58488DC-1887-0DDB-3BEB-3CD0372A4E99}"/>
              </a:ext>
              <a:ext uri="{C183D7F6-B498-43B3-948B-1728B52AA6E4}">
                <adec:decorative xmlns:adec="http://schemas.microsoft.com/office/drawing/2017/decorative" val="0"/>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96870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DFA704-03F1-4368-BEF2-079C2C1AE7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9DFA704-03F1-4368-BEF2-079C2C1AE7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29B7C6F-43FB-4212-9ABE-162983438553}"/>
              </a:ext>
            </a:extLst>
          </p:cNvPr>
          <p:cNvSpPr>
            <a:spLocks noGrp="1"/>
          </p:cNvSpPr>
          <p:nvPr>
            <p:ph type="title"/>
          </p:nvPr>
        </p:nvSpPr>
        <p:spPr>
          <a:xfrm>
            <a:off x="605487" y="2753371"/>
            <a:ext cx="3098089" cy="1477328"/>
          </a:xfrm>
        </p:spPr>
        <p:txBody>
          <a:bodyPr vert="horz"/>
          <a:lstStyle/>
          <a:p>
            <a:r>
              <a:rPr lang="en-US" sz="2600" dirty="0"/>
              <a:t>Digital and Modular </a:t>
            </a:r>
            <a:br>
              <a:rPr lang="en-US" sz="2600" dirty="0"/>
            </a:br>
            <a:br>
              <a:rPr lang="en-US" sz="2600" dirty="0"/>
            </a:br>
            <a:endParaRPr lang="en-US" sz="2200" dirty="0"/>
          </a:p>
        </p:txBody>
      </p:sp>
      <p:sp>
        <p:nvSpPr>
          <p:cNvPr id="11" name="Title 3">
            <a:extLst>
              <a:ext uri="{FF2B5EF4-FFF2-40B4-BE49-F238E27FC236}">
                <a16:creationId xmlns:a16="http://schemas.microsoft.com/office/drawing/2014/main" id="{02F86419-EE02-FE9A-6A2A-59E0BCBFD1D3}"/>
              </a:ext>
            </a:extLst>
          </p:cNvPr>
          <p:cNvSpPr txBox="1">
            <a:spLocks/>
          </p:cNvSpPr>
          <p:nvPr/>
        </p:nvSpPr>
        <p:spPr>
          <a:xfrm>
            <a:off x="1112271" y="164128"/>
            <a:ext cx="2576946" cy="69033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32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6350" cap="flat">
                  <a:noFill/>
                  <a:miter lim="800000"/>
                </a:ln>
                <a:solidFill>
                  <a:srgbClr val="FFFFFF"/>
                </a:solidFill>
                <a:effectLst/>
                <a:uLnTx/>
                <a:uFillTx/>
                <a:latin typeface="Arial" panose="020B0604020202020204"/>
                <a:ea typeface="+mj-ea"/>
                <a:cs typeface="+mj-cs"/>
              </a:rPr>
              <a:t>Siemens BioNTech</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6350" cap="flat">
                  <a:noFill/>
                  <a:miter lim="800000"/>
                </a:ln>
                <a:solidFill>
                  <a:srgbClr val="FFFFFF"/>
                </a:solidFill>
                <a:effectLst/>
                <a:uLnTx/>
                <a:uFillTx/>
                <a:latin typeface="Arial" panose="020B0604020202020204"/>
                <a:ea typeface="+mj-ea"/>
                <a:cs typeface="+mj-cs"/>
              </a:rPr>
              <a:t>Innovation Partnership</a:t>
            </a:r>
          </a:p>
        </p:txBody>
      </p:sp>
      <p:sp>
        <p:nvSpPr>
          <p:cNvPr id="13" name="Title 3">
            <a:extLst>
              <a:ext uri="{FF2B5EF4-FFF2-40B4-BE49-F238E27FC236}">
                <a16:creationId xmlns:a16="http://schemas.microsoft.com/office/drawing/2014/main" id="{10292200-5BFB-60AE-D435-FF6B30453D83}"/>
              </a:ext>
            </a:extLst>
          </p:cNvPr>
          <p:cNvSpPr txBox="1">
            <a:spLocks/>
          </p:cNvSpPr>
          <p:nvPr/>
        </p:nvSpPr>
        <p:spPr>
          <a:xfrm>
            <a:off x="591127" y="5368936"/>
            <a:ext cx="2576946" cy="69033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3200" b="1"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6350" cap="flat">
                  <a:noFill/>
                  <a:miter lim="800000"/>
                </a:ln>
                <a:solidFill>
                  <a:srgbClr val="FFFFFF"/>
                </a:solidFill>
                <a:effectLst/>
                <a:uLnTx/>
                <a:uFillTx/>
                <a:latin typeface="Arial" panose="020B0604020202020204"/>
                <a:ea typeface="+mj-ea"/>
                <a:cs typeface="+mj-cs"/>
              </a:rPr>
              <a:t>Dr. Sierk </a:t>
            </a:r>
            <a:r>
              <a:rPr kumimoji="0" lang="en-US" sz="1800" b="1" i="0" u="none" strike="noStrike" kern="1200" cap="none" spc="0" normalizeH="0" baseline="0" noProof="0" dirty="0" err="1">
                <a:ln w="6350" cap="flat">
                  <a:noFill/>
                  <a:miter lim="800000"/>
                </a:ln>
                <a:solidFill>
                  <a:srgbClr val="FFFFFF"/>
                </a:solidFill>
                <a:effectLst/>
                <a:uLnTx/>
                <a:uFillTx/>
                <a:latin typeface="Arial" panose="020B0604020202020204"/>
                <a:ea typeface="+mj-ea"/>
                <a:cs typeface="+mj-cs"/>
              </a:rPr>
              <a:t>Poetting</a:t>
            </a:r>
            <a:endParaRPr kumimoji="0" lang="en-US" sz="1800" b="1" i="0" u="none" strike="noStrike" kern="1200" cap="none" spc="0" normalizeH="0" baseline="0" noProof="0" dirty="0">
              <a:ln w="6350" cap="flat">
                <a:noFill/>
                <a:miter lim="800000"/>
              </a:ln>
              <a:solidFill>
                <a:srgbClr val="FFFFFF"/>
              </a:solidFill>
              <a:effectLst/>
              <a:uLnTx/>
              <a:uFillTx/>
              <a:latin typeface="Arial" panose="020B0604020202020204"/>
              <a:ea typeface="+mj-ea"/>
              <a:cs typeface="+mj-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6350" cap="flat">
                  <a:noFill/>
                  <a:miter lim="800000"/>
                </a:ln>
                <a:solidFill>
                  <a:srgbClr val="FFFFFF"/>
                </a:solidFill>
                <a:effectLst/>
                <a:uLnTx/>
                <a:uFillTx/>
                <a:latin typeface="Arial" panose="020B0604020202020204"/>
                <a:ea typeface="+mj-ea"/>
                <a:cs typeface="+mj-cs"/>
              </a:rPr>
              <a:t>COO BioNTech SE</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800" b="1" i="0" u="none" strike="noStrike" kern="1200" cap="none" spc="0" normalizeH="0" baseline="0" noProof="0" dirty="0">
              <a:ln w="6350" cap="flat">
                <a:noFill/>
                <a:miter lim="800000"/>
              </a:ln>
              <a:solidFill>
                <a:srgbClr val="FFFFFF"/>
              </a:solidFill>
              <a:effectLst/>
              <a:uLnTx/>
              <a:uFillTx/>
              <a:latin typeface="Arial" panose="020B0604020202020204"/>
              <a:ea typeface="+mj-ea"/>
              <a:cs typeface="+mj-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6350" cap="flat">
                  <a:noFill/>
                  <a:miter lim="800000"/>
                </a:ln>
                <a:solidFill>
                  <a:srgbClr val="FFFFFF"/>
                </a:solidFill>
                <a:effectLst/>
                <a:uLnTx/>
                <a:uFillTx/>
                <a:latin typeface="Arial" panose="020B0604020202020204"/>
                <a:ea typeface="+mj-ea"/>
                <a:cs typeface="+mj-cs"/>
              </a:rPr>
              <a:t>ACHEMA, Frankfurt</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6350" cap="flat">
                  <a:noFill/>
                  <a:miter lim="800000"/>
                </a:ln>
                <a:solidFill>
                  <a:srgbClr val="FFFFFF"/>
                </a:solidFill>
                <a:effectLst/>
                <a:uLnTx/>
                <a:uFillTx/>
                <a:latin typeface="Arial" panose="020B0604020202020204"/>
                <a:ea typeface="+mj-ea"/>
                <a:cs typeface="+mj-cs"/>
              </a:rPr>
              <a:t>June 11, 2024</a:t>
            </a:r>
          </a:p>
        </p:txBody>
      </p:sp>
    </p:spTree>
    <p:extLst>
      <p:ext uri="{BB962C8B-B14F-4D97-AF65-F5344CB8AC3E}">
        <p14:creationId xmlns:p14="http://schemas.microsoft.com/office/powerpoint/2010/main" val="36968895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0B69E58-EE3E-A7DF-3E5A-066F9D10312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10B69E58-EE3E-A7DF-3E5A-066F9D1031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582FDF-EA13-0C4B-BA03-A83096F2A0D6}"/>
              </a:ext>
            </a:extLst>
          </p:cNvPr>
          <p:cNvSpPr>
            <a:spLocks noGrp="1"/>
          </p:cNvSpPr>
          <p:nvPr>
            <p:ph type="title"/>
          </p:nvPr>
        </p:nvSpPr>
        <p:spPr>
          <a:xfrm>
            <a:off x="559411" y="502407"/>
            <a:ext cx="10630205" cy="443198"/>
          </a:xfrm>
        </p:spPr>
        <p:txBody>
          <a:bodyPr vert="horz" wrap="square" anchor="t">
            <a:spAutoFit/>
          </a:bodyPr>
          <a:lstStyle/>
          <a:p>
            <a:r>
              <a:rPr lang="en-US" dirty="0">
                <a:cs typeface="Arial"/>
              </a:rPr>
              <a:t>The process for mRNA vaccine production</a:t>
            </a:r>
            <a:endParaRPr lang="de-DE" dirty="0">
              <a:cs typeface="Arial"/>
            </a:endParaRPr>
          </a:p>
        </p:txBody>
      </p:sp>
      <p:sp>
        <p:nvSpPr>
          <p:cNvPr id="179" name="Rectangle 178">
            <a:extLst>
              <a:ext uri="{FF2B5EF4-FFF2-40B4-BE49-F238E27FC236}">
                <a16:creationId xmlns:a16="http://schemas.microsoft.com/office/drawing/2014/main" id="{16A70317-276B-E94F-B3D1-62574BB7443D}"/>
              </a:ext>
            </a:extLst>
          </p:cNvPr>
          <p:cNvSpPr/>
          <p:nvPr/>
        </p:nvSpPr>
        <p:spPr>
          <a:xfrm>
            <a:off x="519545" y="1366506"/>
            <a:ext cx="8478862" cy="4573788"/>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2" name="Rechteck 36">
            <a:extLst>
              <a:ext uri="{FF2B5EF4-FFF2-40B4-BE49-F238E27FC236}">
                <a16:creationId xmlns:a16="http://schemas.microsoft.com/office/drawing/2014/main" id="{1B9010E5-7067-BC49-9121-CF254BACCBA9}"/>
              </a:ext>
            </a:extLst>
          </p:cNvPr>
          <p:cNvSpPr/>
          <p:nvPr/>
        </p:nvSpPr>
        <p:spPr>
          <a:xfrm>
            <a:off x="5017437" y="2171529"/>
            <a:ext cx="424637" cy="425132"/>
          </a:xfrm>
          <a:prstGeom prst="rect">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1" name="Rectangle 178">
            <a:extLst>
              <a:ext uri="{FF2B5EF4-FFF2-40B4-BE49-F238E27FC236}">
                <a16:creationId xmlns:a16="http://schemas.microsoft.com/office/drawing/2014/main" id="{4C0AB231-4153-4C1F-B3A7-2D7D42E118E5}"/>
              </a:ext>
            </a:extLst>
          </p:cNvPr>
          <p:cNvSpPr/>
          <p:nvPr/>
        </p:nvSpPr>
        <p:spPr>
          <a:xfrm>
            <a:off x="0" y="1351265"/>
            <a:ext cx="9035269" cy="5098747"/>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hteck 31">
            <a:extLst>
              <a:ext uri="{FF2B5EF4-FFF2-40B4-BE49-F238E27FC236}">
                <a16:creationId xmlns:a16="http://schemas.microsoft.com/office/drawing/2014/main" id="{928AF5D7-F8B2-47BF-866A-BD1E5A70E843}"/>
              </a:ext>
            </a:extLst>
          </p:cNvPr>
          <p:cNvSpPr/>
          <p:nvPr/>
        </p:nvSpPr>
        <p:spPr>
          <a:xfrm>
            <a:off x="4793056" y="2169300"/>
            <a:ext cx="452503" cy="473927"/>
          </a:xfrm>
          <a:prstGeom prst="rect">
            <a:avLst/>
          </a:pr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pic>
        <p:nvPicPr>
          <p:cNvPr id="33" name="Graphic 6">
            <a:extLst>
              <a:ext uri="{FF2B5EF4-FFF2-40B4-BE49-F238E27FC236}">
                <a16:creationId xmlns:a16="http://schemas.microsoft.com/office/drawing/2014/main" id="{5E85E650-1E58-4282-BA52-2954FBC582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37460" y="2175332"/>
            <a:ext cx="1045778" cy="1880938"/>
          </a:xfrm>
          <a:prstGeom prst="rect">
            <a:avLst/>
          </a:prstGeom>
        </p:spPr>
      </p:pic>
      <p:pic>
        <p:nvPicPr>
          <p:cNvPr id="34" name="Graphic 8">
            <a:extLst>
              <a:ext uri="{FF2B5EF4-FFF2-40B4-BE49-F238E27FC236}">
                <a16:creationId xmlns:a16="http://schemas.microsoft.com/office/drawing/2014/main" id="{89AE53C4-7486-48E4-8493-03E0AB2B195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60223" y="2557948"/>
            <a:ext cx="1469620" cy="1441319"/>
          </a:xfrm>
          <a:prstGeom prst="rect">
            <a:avLst/>
          </a:prstGeom>
        </p:spPr>
      </p:pic>
      <p:pic>
        <p:nvPicPr>
          <p:cNvPr id="35" name="Graphic 10">
            <a:extLst>
              <a:ext uri="{FF2B5EF4-FFF2-40B4-BE49-F238E27FC236}">
                <a16:creationId xmlns:a16="http://schemas.microsoft.com/office/drawing/2014/main" id="{72DF51DF-DAB1-449B-86E7-CD244E6DAF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35657" y="2557948"/>
            <a:ext cx="2129685" cy="1371027"/>
          </a:xfrm>
          <a:prstGeom prst="rect">
            <a:avLst/>
          </a:prstGeom>
        </p:spPr>
      </p:pic>
      <p:pic>
        <p:nvPicPr>
          <p:cNvPr id="36" name="Graphic 12">
            <a:extLst>
              <a:ext uri="{FF2B5EF4-FFF2-40B4-BE49-F238E27FC236}">
                <a16:creationId xmlns:a16="http://schemas.microsoft.com/office/drawing/2014/main" id="{715E6220-D828-4EF3-95F1-CE48754223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565015" y="3074419"/>
            <a:ext cx="643166" cy="422924"/>
          </a:xfrm>
          <a:prstGeom prst="rect">
            <a:avLst/>
          </a:prstGeom>
        </p:spPr>
      </p:pic>
      <p:pic>
        <p:nvPicPr>
          <p:cNvPr id="37" name="Graphic 38">
            <a:extLst>
              <a:ext uri="{FF2B5EF4-FFF2-40B4-BE49-F238E27FC236}">
                <a16:creationId xmlns:a16="http://schemas.microsoft.com/office/drawing/2014/main" id="{E8227F89-58EE-4B95-8782-29C290388E1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16086" y="3074419"/>
            <a:ext cx="643166" cy="422924"/>
          </a:xfrm>
          <a:prstGeom prst="rect">
            <a:avLst/>
          </a:prstGeom>
        </p:spPr>
      </p:pic>
      <p:pic>
        <p:nvPicPr>
          <p:cNvPr id="38" name="Graphic 39">
            <a:extLst>
              <a:ext uri="{FF2B5EF4-FFF2-40B4-BE49-F238E27FC236}">
                <a16:creationId xmlns:a16="http://schemas.microsoft.com/office/drawing/2014/main" id="{D2E3459F-12FE-4995-8B97-EE3CFB723D6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017255" y="3074419"/>
            <a:ext cx="643166" cy="422924"/>
          </a:xfrm>
          <a:prstGeom prst="rect">
            <a:avLst/>
          </a:prstGeom>
        </p:spPr>
      </p:pic>
      <p:pic>
        <p:nvPicPr>
          <p:cNvPr id="39" name="Graphic 14">
            <a:extLst>
              <a:ext uri="{FF2B5EF4-FFF2-40B4-BE49-F238E27FC236}">
                <a16:creationId xmlns:a16="http://schemas.microsoft.com/office/drawing/2014/main" id="{B6B83830-4678-4FB7-923D-A94DB38BBDA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875061" y="2685244"/>
            <a:ext cx="1519508" cy="1371027"/>
          </a:xfrm>
          <a:prstGeom prst="rect">
            <a:avLst/>
          </a:prstGeom>
        </p:spPr>
      </p:pic>
      <p:sp>
        <p:nvSpPr>
          <p:cNvPr id="42" name="Title 1">
            <a:extLst>
              <a:ext uri="{FF2B5EF4-FFF2-40B4-BE49-F238E27FC236}">
                <a16:creationId xmlns:a16="http://schemas.microsoft.com/office/drawing/2014/main" id="{A27D10DE-C3DA-4796-9F4F-FED0EC49C377}"/>
              </a:ext>
            </a:extLst>
          </p:cNvPr>
          <p:cNvSpPr txBox="1">
            <a:spLocks/>
          </p:cNvSpPr>
          <p:nvPr/>
        </p:nvSpPr>
        <p:spPr>
          <a:xfrm>
            <a:off x="1253071" y="4205365"/>
            <a:ext cx="637424" cy="548963"/>
          </a:xfrm>
          <a:prstGeom prst="rect">
            <a:avLst/>
          </a:prstGeom>
        </p:spPr>
        <p:txBody>
          <a:bodyPr vert="horz"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5A64"/>
                </a:solidFill>
                <a:effectLst/>
                <a:uLnTx/>
                <a:uFillTx/>
                <a:latin typeface="Arial" panose="020B0604020202020204"/>
                <a:ea typeface="+mn-ea"/>
                <a:cs typeface="Arial"/>
              </a:rPr>
              <a:t>1</a:t>
            </a:r>
            <a:endParaRPr kumimoji="0" lang="en-US" sz="3200" b="1" i="0" u="none" strike="noStrike" kern="1200" cap="none" spc="0" normalizeH="0" baseline="0" noProof="0">
              <a:ln>
                <a:noFill/>
              </a:ln>
              <a:solidFill>
                <a:srgbClr val="005A64"/>
              </a:solidFill>
              <a:effectLst/>
              <a:uLnTx/>
              <a:uFillTx/>
              <a:latin typeface="Arial" panose="020B0604020202020204"/>
              <a:ea typeface="+mn-ea"/>
              <a:cs typeface="+mn-cs"/>
            </a:endParaRPr>
          </a:p>
        </p:txBody>
      </p:sp>
      <p:sp>
        <p:nvSpPr>
          <p:cNvPr id="43" name="Title 1">
            <a:extLst>
              <a:ext uri="{FF2B5EF4-FFF2-40B4-BE49-F238E27FC236}">
                <a16:creationId xmlns:a16="http://schemas.microsoft.com/office/drawing/2014/main" id="{D20D7033-3A38-4590-BABE-FBCB0A8C54BE}"/>
              </a:ext>
            </a:extLst>
          </p:cNvPr>
          <p:cNvSpPr txBox="1">
            <a:spLocks/>
          </p:cNvSpPr>
          <p:nvPr/>
        </p:nvSpPr>
        <p:spPr>
          <a:xfrm>
            <a:off x="1253071" y="4706143"/>
            <a:ext cx="1311944" cy="492443"/>
          </a:xfrm>
          <a:prstGeom prst="rect">
            <a:avLst/>
          </a:prstGeom>
        </p:spPr>
        <p:txBody>
          <a:bodyPr vert="horz"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A64"/>
                </a:solidFill>
                <a:effectLst/>
                <a:uLnTx/>
                <a:uFillTx/>
                <a:latin typeface="Arial" panose="020B0604020202020204"/>
                <a:ea typeface="+mn-ea"/>
                <a:cs typeface="Arial"/>
              </a:rPr>
              <a:t>mR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A64"/>
                </a:solidFill>
                <a:effectLst/>
                <a:uLnTx/>
                <a:uFillTx/>
                <a:latin typeface="Arial" panose="020B0604020202020204"/>
                <a:ea typeface="+mn-ea"/>
                <a:cs typeface="Arial"/>
              </a:rPr>
              <a:t>production</a:t>
            </a:r>
          </a:p>
        </p:txBody>
      </p:sp>
      <p:sp>
        <p:nvSpPr>
          <p:cNvPr id="44" name="Title 1">
            <a:extLst>
              <a:ext uri="{FF2B5EF4-FFF2-40B4-BE49-F238E27FC236}">
                <a16:creationId xmlns:a16="http://schemas.microsoft.com/office/drawing/2014/main" id="{EAA88F6D-DD05-4B38-A90C-D25909BCBAD5}"/>
              </a:ext>
            </a:extLst>
          </p:cNvPr>
          <p:cNvSpPr txBox="1">
            <a:spLocks/>
          </p:cNvSpPr>
          <p:nvPr/>
        </p:nvSpPr>
        <p:spPr>
          <a:xfrm>
            <a:off x="3360223" y="4205365"/>
            <a:ext cx="637424" cy="548963"/>
          </a:xfrm>
          <a:prstGeom prst="rect">
            <a:avLst/>
          </a:prstGeom>
        </p:spPr>
        <p:txBody>
          <a:bodyPr vert="horz"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5A64"/>
                </a:solidFill>
                <a:effectLst/>
                <a:uLnTx/>
                <a:uFillTx/>
                <a:latin typeface="Arial" panose="020B0604020202020204"/>
                <a:ea typeface="+mn-ea"/>
                <a:cs typeface="Arial"/>
              </a:rPr>
              <a:t>2</a:t>
            </a:r>
            <a:endParaRPr kumimoji="0" lang="en-US" sz="3200" b="1" i="0" u="none" strike="noStrike" kern="1200" cap="none" spc="0" normalizeH="0" baseline="0" noProof="0">
              <a:ln>
                <a:noFill/>
              </a:ln>
              <a:solidFill>
                <a:srgbClr val="005A64"/>
              </a:solidFill>
              <a:effectLst/>
              <a:uLnTx/>
              <a:uFillTx/>
              <a:latin typeface="Arial" panose="020B0604020202020204"/>
              <a:ea typeface="+mn-ea"/>
              <a:cs typeface="+mn-cs"/>
            </a:endParaRPr>
          </a:p>
        </p:txBody>
      </p:sp>
      <p:sp>
        <p:nvSpPr>
          <p:cNvPr id="45" name="Title 1">
            <a:extLst>
              <a:ext uri="{FF2B5EF4-FFF2-40B4-BE49-F238E27FC236}">
                <a16:creationId xmlns:a16="http://schemas.microsoft.com/office/drawing/2014/main" id="{26550C18-8AE7-4367-868F-8C6FD22BBEB8}"/>
              </a:ext>
            </a:extLst>
          </p:cNvPr>
          <p:cNvSpPr txBox="1">
            <a:spLocks/>
          </p:cNvSpPr>
          <p:nvPr/>
        </p:nvSpPr>
        <p:spPr>
          <a:xfrm>
            <a:off x="3360223" y="4706143"/>
            <a:ext cx="2192412" cy="492443"/>
          </a:xfrm>
          <a:prstGeom prst="rect">
            <a:avLst/>
          </a:prstGeom>
        </p:spPr>
        <p:txBody>
          <a:bodyPr vert="horz"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A64"/>
                </a:solidFill>
                <a:effectLst/>
                <a:uLnTx/>
                <a:uFillTx/>
                <a:latin typeface="Arial" panose="020B0604020202020204"/>
                <a:ea typeface="+mn-ea"/>
                <a:cs typeface="Arial"/>
              </a:rPr>
              <a:t>mRNA purification &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A64"/>
                </a:solidFill>
                <a:effectLst/>
                <a:uLnTx/>
                <a:uFillTx/>
                <a:latin typeface="Arial" panose="020B0604020202020204"/>
                <a:ea typeface="+mn-ea"/>
                <a:cs typeface="Arial"/>
              </a:rPr>
              <a:t>concentration</a:t>
            </a:r>
          </a:p>
        </p:txBody>
      </p:sp>
      <p:sp>
        <p:nvSpPr>
          <p:cNvPr id="46" name="Title 1">
            <a:extLst>
              <a:ext uri="{FF2B5EF4-FFF2-40B4-BE49-F238E27FC236}">
                <a16:creationId xmlns:a16="http://schemas.microsoft.com/office/drawing/2014/main" id="{0294CD6A-6239-4D82-8DBA-BA104DF008B8}"/>
              </a:ext>
            </a:extLst>
          </p:cNvPr>
          <p:cNvSpPr txBox="1">
            <a:spLocks/>
          </p:cNvSpPr>
          <p:nvPr/>
        </p:nvSpPr>
        <p:spPr>
          <a:xfrm>
            <a:off x="5816767" y="4205365"/>
            <a:ext cx="637424" cy="548963"/>
          </a:xfrm>
          <a:prstGeom prst="rect">
            <a:avLst/>
          </a:prstGeom>
        </p:spPr>
        <p:txBody>
          <a:bodyPr vert="horz"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5A64"/>
                </a:solidFill>
                <a:effectLst/>
                <a:uLnTx/>
                <a:uFillTx/>
                <a:latin typeface="Arial" panose="020B0604020202020204"/>
                <a:ea typeface="+mn-ea"/>
                <a:cs typeface="Arial"/>
              </a:rPr>
              <a:t>3</a:t>
            </a:r>
            <a:endParaRPr kumimoji="0" lang="en-US" sz="3200" b="1" i="0" u="none" strike="noStrike" kern="1200" cap="none" spc="0" normalizeH="0" baseline="0" noProof="0">
              <a:ln>
                <a:noFill/>
              </a:ln>
              <a:solidFill>
                <a:srgbClr val="005A64"/>
              </a:solidFill>
              <a:effectLst/>
              <a:uLnTx/>
              <a:uFillTx/>
              <a:latin typeface="Arial" panose="020B0604020202020204"/>
              <a:ea typeface="+mn-ea"/>
              <a:cs typeface="+mn-cs"/>
            </a:endParaRPr>
          </a:p>
        </p:txBody>
      </p:sp>
      <p:sp>
        <p:nvSpPr>
          <p:cNvPr id="47" name="Title 1">
            <a:extLst>
              <a:ext uri="{FF2B5EF4-FFF2-40B4-BE49-F238E27FC236}">
                <a16:creationId xmlns:a16="http://schemas.microsoft.com/office/drawing/2014/main" id="{B5CA7660-B325-4A1B-AEB9-F2B8AE6D9BF2}"/>
              </a:ext>
            </a:extLst>
          </p:cNvPr>
          <p:cNvSpPr txBox="1">
            <a:spLocks/>
          </p:cNvSpPr>
          <p:nvPr/>
        </p:nvSpPr>
        <p:spPr>
          <a:xfrm>
            <a:off x="5816767" y="4706143"/>
            <a:ext cx="2192412" cy="492443"/>
          </a:xfrm>
          <a:prstGeom prst="rect">
            <a:avLst/>
          </a:prstGeom>
        </p:spPr>
        <p:txBody>
          <a:bodyPr vert="horz"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A64"/>
                </a:solidFill>
                <a:effectLst/>
                <a:uLnTx/>
                <a:uFillTx/>
                <a:latin typeface="Arial" panose="020B0604020202020204"/>
                <a:ea typeface="+mn-ea"/>
                <a:cs typeface="Arial"/>
              </a:rPr>
              <a:t>Drug produ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A64"/>
                </a:solidFill>
                <a:effectLst/>
                <a:uLnTx/>
                <a:uFillTx/>
                <a:latin typeface="Arial" panose="020B0604020202020204"/>
                <a:ea typeface="+mn-ea"/>
                <a:cs typeface="Arial"/>
              </a:rPr>
              <a:t>formulation</a:t>
            </a:r>
          </a:p>
        </p:txBody>
      </p:sp>
      <p:sp>
        <p:nvSpPr>
          <p:cNvPr id="48" name="Title 1">
            <a:extLst>
              <a:ext uri="{FF2B5EF4-FFF2-40B4-BE49-F238E27FC236}">
                <a16:creationId xmlns:a16="http://schemas.microsoft.com/office/drawing/2014/main" id="{2C28D99C-877F-4D05-BA4D-07958F2B98D6}"/>
              </a:ext>
            </a:extLst>
          </p:cNvPr>
          <p:cNvSpPr txBox="1">
            <a:spLocks/>
          </p:cNvSpPr>
          <p:nvPr/>
        </p:nvSpPr>
        <p:spPr>
          <a:xfrm>
            <a:off x="8875061" y="4205365"/>
            <a:ext cx="637424" cy="548963"/>
          </a:xfrm>
          <a:prstGeom prst="rect">
            <a:avLst/>
          </a:prstGeom>
        </p:spPr>
        <p:txBody>
          <a:bodyPr vert="horz"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3C9673"/>
                </a:solidFill>
                <a:effectLst/>
                <a:uLnTx/>
                <a:uFillTx/>
                <a:latin typeface="Arial" panose="020B0604020202020204"/>
                <a:ea typeface="+mn-ea"/>
                <a:cs typeface="Arial"/>
              </a:rPr>
              <a:t>4</a:t>
            </a:r>
            <a:endParaRPr kumimoji="0" lang="en-US" sz="3200" b="1" i="0" u="none" strike="noStrike" kern="1200" cap="none" spc="0" normalizeH="0" baseline="0" noProof="0">
              <a:ln>
                <a:noFill/>
              </a:ln>
              <a:solidFill>
                <a:srgbClr val="3C9673"/>
              </a:solidFill>
              <a:effectLst/>
              <a:uLnTx/>
              <a:uFillTx/>
              <a:latin typeface="Arial" panose="020B0604020202020204"/>
              <a:ea typeface="+mn-ea"/>
              <a:cs typeface="+mn-cs"/>
            </a:endParaRPr>
          </a:p>
        </p:txBody>
      </p:sp>
      <p:sp>
        <p:nvSpPr>
          <p:cNvPr id="49" name="Title 1">
            <a:extLst>
              <a:ext uri="{FF2B5EF4-FFF2-40B4-BE49-F238E27FC236}">
                <a16:creationId xmlns:a16="http://schemas.microsoft.com/office/drawing/2014/main" id="{734E39CC-9FCF-42FB-9D73-DD3A3C6A4375}"/>
              </a:ext>
            </a:extLst>
          </p:cNvPr>
          <p:cNvSpPr txBox="1">
            <a:spLocks/>
          </p:cNvSpPr>
          <p:nvPr/>
        </p:nvSpPr>
        <p:spPr>
          <a:xfrm>
            <a:off x="8875061" y="4706143"/>
            <a:ext cx="2192412" cy="492443"/>
          </a:xfrm>
          <a:prstGeom prst="rect">
            <a:avLst/>
          </a:prstGeom>
        </p:spPr>
        <p:txBody>
          <a:bodyPr vert="horz"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C9673"/>
                </a:solidFill>
                <a:effectLst/>
                <a:uLnTx/>
                <a:uFillTx/>
                <a:latin typeface="Arial" panose="020B0604020202020204"/>
                <a:ea typeface="+mn-ea"/>
                <a:cs typeface="Arial"/>
              </a:rPr>
              <a:t>Filling &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C9673"/>
                </a:solidFill>
                <a:effectLst/>
                <a:uLnTx/>
                <a:uFillTx/>
                <a:latin typeface="Arial" panose="020B0604020202020204"/>
                <a:ea typeface="+mn-ea"/>
                <a:cs typeface="Arial"/>
              </a:rPr>
              <a:t>packaging</a:t>
            </a:r>
          </a:p>
        </p:txBody>
      </p:sp>
      <p:sp>
        <p:nvSpPr>
          <p:cNvPr id="3" name="Foliennummernplatzhalter 3">
            <a:extLst>
              <a:ext uri="{FF2B5EF4-FFF2-40B4-BE49-F238E27FC236}">
                <a16:creationId xmlns:a16="http://schemas.microsoft.com/office/drawing/2014/main" id="{03EAD4AA-D686-2963-CA20-77329484A408}"/>
              </a:ext>
            </a:extLst>
          </p:cNvPr>
          <p:cNvSpPr txBox="1">
            <a:spLocks/>
          </p:cNvSpPr>
          <p:nvPr/>
        </p:nvSpPr>
        <p:spPr bwMode="gray">
          <a:xfrm>
            <a:off x="587375" y="6588000"/>
            <a:ext cx="2520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003F2E3-C95D-43B6-903C-10A5E0F6165A}" type="slidenum">
              <a:rPr kumimoji="0" lang="en-US" sz="800" b="0" i="0" u="none" strike="noStrike" kern="1200" cap="none" spc="0" normalizeH="0" baseline="0" noProof="0" smtClean="0">
                <a:ln>
                  <a:noFill/>
                </a:ln>
                <a:solidFill>
                  <a:srgbClr val="8C959A"/>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dirty="0">
              <a:ln>
                <a:noFill/>
              </a:ln>
              <a:solidFill>
                <a:srgbClr val="8C959A"/>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523586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0B69E58-EE3E-A7DF-3E5A-066F9D10312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10B69E58-EE3E-A7DF-3E5A-066F9D10312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582FDF-EA13-0C4B-BA03-A83096F2A0D6}"/>
              </a:ext>
            </a:extLst>
          </p:cNvPr>
          <p:cNvSpPr>
            <a:spLocks noGrp="1"/>
          </p:cNvSpPr>
          <p:nvPr>
            <p:ph type="title"/>
          </p:nvPr>
        </p:nvSpPr>
        <p:spPr>
          <a:xfrm>
            <a:off x="559411" y="502407"/>
            <a:ext cx="10630205" cy="443198"/>
          </a:xfrm>
        </p:spPr>
        <p:txBody>
          <a:bodyPr vert="horz" wrap="square" anchor="t">
            <a:spAutoFit/>
          </a:bodyPr>
          <a:lstStyle/>
          <a:p>
            <a:r>
              <a:rPr lang="en-US" dirty="0">
                <a:cs typeface="Arial"/>
              </a:rPr>
              <a:t>The “Napkin Moment”</a:t>
            </a:r>
            <a:endParaRPr lang="de-DE" dirty="0">
              <a:cs typeface="Arial"/>
            </a:endParaRPr>
          </a:p>
        </p:txBody>
      </p:sp>
      <p:grpSp>
        <p:nvGrpSpPr>
          <p:cNvPr id="3" name="Group 2">
            <a:extLst>
              <a:ext uri="{FF2B5EF4-FFF2-40B4-BE49-F238E27FC236}">
                <a16:creationId xmlns:a16="http://schemas.microsoft.com/office/drawing/2014/main" id="{324C7E12-3250-7256-6DAE-0FE22E09ECA9}"/>
              </a:ext>
            </a:extLst>
          </p:cNvPr>
          <p:cNvGrpSpPr/>
          <p:nvPr/>
        </p:nvGrpSpPr>
        <p:grpSpPr>
          <a:xfrm>
            <a:off x="3493477" y="1378381"/>
            <a:ext cx="5205046" cy="5174810"/>
            <a:chOff x="1723292" y="2651254"/>
            <a:chExt cx="3310822" cy="4101238"/>
          </a:xfrm>
        </p:grpSpPr>
        <p:pic>
          <p:nvPicPr>
            <p:cNvPr id="5" name="Picture 4" descr="Diagram&#10;&#10;Description automatically generated">
              <a:extLst>
                <a:ext uri="{FF2B5EF4-FFF2-40B4-BE49-F238E27FC236}">
                  <a16:creationId xmlns:a16="http://schemas.microsoft.com/office/drawing/2014/main" id="{EC487CE4-B6E1-2D96-6B97-F16B880360D2}"/>
                </a:ext>
              </a:extLst>
            </p:cNvPr>
            <p:cNvPicPr>
              <a:picLocks noChangeAspect="1"/>
            </p:cNvPicPr>
            <p:nvPr/>
          </p:nvPicPr>
          <p:blipFill>
            <a:blip r:embed="rId6"/>
            <a:stretch>
              <a:fillRect/>
            </a:stretch>
          </p:blipFill>
          <p:spPr>
            <a:xfrm>
              <a:off x="1974726" y="2763069"/>
              <a:ext cx="2706588" cy="3824288"/>
            </a:xfrm>
            <a:prstGeom prst="rect">
              <a:avLst/>
            </a:prstGeom>
          </p:spPr>
        </p:pic>
        <p:sp>
          <p:nvSpPr>
            <p:cNvPr id="6" name="Rectangle 5">
              <a:extLst>
                <a:ext uri="{FF2B5EF4-FFF2-40B4-BE49-F238E27FC236}">
                  <a16:creationId xmlns:a16="http://schemas.microsoft.com/office/drawing/2014/main" id="{93163638-4322-B15B-2006-229EF256F223}"/>
                </a:ext>
              </a:extLst>
            </p:cNvPr>
            <p:cNvSpPr/>
            <p:nvPr/>
          </p:nvSpPr>
          <p:spPr>
            <a:xfrm>
              <a:off x="1723292" y="2651254"/>
              <a:ext cx="3310822" cy="4101238"/>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7" name="Foliennummernplatzhalter 3">
            <a:extLst>
              <a:ext uri="{FF2B5EF4-FFF2-40B4-BE49-F238E27FC236}">
                <a16:creationId xmlns:a16="http://schemas.microsoft.com/office/drawing/2014/main" id="{3B66C080-B2A6-F824-43D6-B01E92169538}"/>
              </a:ext>
            </a:extLst>
          </p:cNvPr>
          <p:cNvSpPr txBox="1">
            <a:spLocks/>
          </p:cNvSpPr>
          <p:nvPr/>
        </p:nvSpPr>
        <p:spPr bwMode="gray">
          <a:xfrm>
            <a:off x="587375" y="6588000"/>
            <a:ext cx="2520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003F2E3-C95D-43B6-903C-10A5E0F6165A}" type="slidenum">
              <a:rPr kumimoji="0" lang="en-US" sz="800" b="0" i="0" u="none" strike="noStrike" kern="1200" cap="none" spc="0" normalizeH="0" baseline="0" noProof="0" smtClean="0">
                <a:ln>
                  <a:noFill/>
                </a:ln>
                <a:solidFill>
                  <a:srgbClr val="8C959A"/>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dirty="0">
              <a:ln>
                <a:noFill/>
              </a:ln>
              <a:solidFill>
                <a:srgbClr val="8C959A"/>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874606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F9016E-E770-4734-A35D-F516F6967A4B}"/>
              </a:ext>
            </a:extLst>
          </p:cNvPr>
          <p:cNvSpPr>
            <a:spLocks noGrp="1"/>
          </p:cNvSpPr>
          <p:nvPr>
            <p:ph type="title"/>
          </p:nvPr>
        </p:nvSpPr>
        <p:spPr/>
        <p:txBody>
          <a:bodyPr/>
          <a:lstStyle/>
          <a:p>
            <a:r>
              <a:rPr lang="en-US" err="1">
                <a:latin typeface="Arial"/>
                <a:cs typeface="Arial"/>
              </a:rPr>
              <a:t>BioNTainer</a:t>
            </a:r>
            <a:r>
              <a:rPr lang="en-US">
                <a:latin typeface="Arial"/>
                <a:cs typeface="Arial"/>
              </a:rPr>
              <a:t>: A platform for localized and sustainable mRNA production</a:t>
            </a:r>
            <a:endParaRPr lang="en-GB">
              <a:latin typeface="Arial"/>
              <a:cs typeface="Arial"/>
            </a:endParaRPr>
          </a:p>
        </p:txBody>
      </p:sp>
      <p:sp>
        <p:nvSpPr>
          <p:cNvPr id="27" name="Slide Number Placeholder 1">
            <a:extLst>
              <a:ext uri="{FF2B5EF4-FFF2-40B4-BE49-F238E27FC236}">
                <a16:creationId xmlns:a16="http://schemas.microsoft.com/office/drawing/2014/main" id="{878AFD16-FF93-436C-B1D0-662DE8C5D49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412753-C9CB-431E-91F7-73E34BB151E8}" type="slidenum">
              <a:rPr kumimoji="0" lang="en-GB" sz="800" b="0" i="0" u="none" strike="noStrike" kern="1200" cap="none" spc="0" normalizeH="0" baseline="0" noProof="0" smtClean="0">
                <a:ln>
                  <a:noFill/>
                </a:ln>
                <a:solidFill>
                  <a:srgbClr val="74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800" b="0" i="0" u="none" strike="noStrike" kern="1200" cap="none" spc="0" normalizeH="0" baseline="0" noProof="0">
              <a:ln>
                <a:noFill/>
              </a:ln>
              <a:solidFill>
                <a:srgbClr val="747070"/>
              </a:solidFill>
              <a:effectLst/>
              <a:uLnTx/>
              <a:uFillTx/>
              <a:latin typeface="Arial"/>
              <a:ea typeface="+mn-ea"/>
              <a:cs typeface="+mn-cs"/>
            </a:endParaRPr>
          </a:p>
        </p:txBody>
      </p:sp>
      <p:sp>
        <p:nvSpPr>
          <p:cNvPr id="2" name="TextBox 1">
            <a:extLst>
              <a:ext uri="{FF2B5EF4-FFF2-40B4-BE49-F238E27FC236}">
                <a16:creationId xmlns:a16="http://schemas.microsoft.com/office/drawing/2014/main" id="{BD648BF4-C1AA-4684-A11D-44317456C3A1}"/>
              </a:ext>
            </a:extLst>
          </p:cNvPr>
          <p:cNvSpPr txBox="1"/>
          <p:nvPr/>
        </p:nvSpPr>
        <p:spPr>
          <a:xfrm>
            <a:off x="574551" y="1327037"/>
            <a:ext cx="1400175" cy="428625"/>
          </a:xfrm>
          <a:prstGeom prst="rect">
            <a:avLst/>
          </a:prstGeom>
        </p:spPr>
        <p:txBody>
          <a:bodyPr vert="horz" wrap="non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a:ln>
                  <a:noFill/>
                </a:ln>
                <a:solidFill>
                  <a:srgbClr val="3C9673"/>
                </a:solidFill>
                <a:effectLst/>
                <a:uLnTx/>
                <a:uFillTx/>
                <a:latin typeface="Arial"/>
                <a:ea typeface="+mn-ea"/>
                <a:cs typeface="+mn-cs"/>
              </a:rPr>
              <a:t>The challenge</a:t>
            </a:r>
            <a:endParaRPr kumimoji="0" lang="en-GB" sz="2000" b="1" i="0" u="none" strike="noStrike" kern="1200" cap="none" spc="0" normalizeH="0" baseline="0" noProof="0">
              <a:ln>
                <a:noFill/>
              </a:ln>
              <a:solidFill>
                <a:srgbClr val="3C9673"/>
              </a:solidFill>
              <a:effectLst/>
              <a:uLnTx/>
              <a:uFillTx/>
              <a:latin typeface="Arial"/>
              <a:ea typeface="+mn-ea"/>
              <a:cs typeface="+mn-cs"/>
            </a:endParaRPr>
          </a:p>
        </p:txBody>
      </p:sp>
      <p:sp>
        <p:nvSpPr>
          <p:cNvPr id="37" name="TextBox 36">
            <a:extLst>
              <a:ext uri="{FF2B5EF4-FFF2-40B4-BE49-F238E27FC236}">
                <a16:creationId xmlns:a16="http://schemas.microsoft.com/office/drawing/2014/main" id="{D04E1A01-AEF9-4236-B62F-ACC0452DFAF5}"/>
              </a:ext>
            </a:extLst>
          </p:cNvPr>
          <p:cNvSpPr txBox="1"/>
          <p:nvPr/>
        </p:nvSpPr>
        <p:spPr>
          <a:xfrm>
            <a:off x="6481647" y="1327295"/>
            <a:ext cx="1400175" cy="428625"/>
          </a:xfrm>
          <a:prstGeom prst="rect">
            <a:avLst/>
          </a:prstGeom>
        </p:spPr>
        <p:txBody>
          <a:bodyPr vert="horz" wrap="non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2000" b="1" i="0" u="none" strike="noStrike" kern="1200" cap="none" spc="0" normalizeH="0" baseline="0" noProof="0">
                <a:ln>
                  <a:noFill/>
                </a:ln>
                <a:solidFill>
                  <a:srgbClr val="005A64"/>
                </a:solidFill>
                <a:effectLst/>
                <a:uLnTx/>
                <a:uFillTx/>
                <a:latin typeface="Arial"/>
                <a:ea typeface="+mn-ea"/>
                <a:cs typeface="+mn-cs"/>
              </a:rPr>
              <a:t>The solution</a:t>
            </a:r>
            <a:endParaRPr kumimoji="0" lang="en-GB" sz="2000" b="1" i="0" u="none" strike="noStrike" kern="1200" cap="none" spc="0" normalizeH="0" baseline="0" noProof="0">
              <a:ln>
                <a:noFill/>
              </a:ln>
              <a:solidFill>
                <a:srgbClr val="005A64"/>
              </a:solidFill>
              <a:effectLst/>
              <a:uLnTx/>
              <a:uFillTx/>
              <a:latin typeface="Arial"/>
              <a:ea typeface="+mn-ea"/>
              <a:cs typeface="+mn-cs"/>
            </a:endParaRPr>
          </a:p>
        </p:txBody>
      </p:sp>
      <p:sp>
        <p:nvSpPr>
          <p:cNvPr id="38" name="TextBox 37">
            <a:extLst>
              <a:ext uri="{FF2B5EF4-FFF2-40B4-BE49-F238E27FC236}">
                <a16:creationId xmlns:a16="http://schemas.microsoft.com/office/drawing/2014/main" id="{76A717A7-AD70-4A88-8A83-E5FC8D4D1A12}"/>
              </a:ext>
            </a:extLst>
          </p:cNvPr>
          <p:cNvSpPr txBox="1"/>
          <p:nvPr/>
        </p:nvSpPr>
        <p:spPr>
          <a:xfrm>
            <a:off x="483359" y="1943906"/>
            <a:ext cx="548482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C9673"/>
                </a:solidFill>
                <a:effectLst/>
                <a:uLnTx/>
                <a:uFillTx/>
                <a:latin typeface="Arial" panose="020B0604020202020204"/>
                <a:ea typeface="+mn-ea"/>
                <a:cs typeface="+mn-cs"/>
              </a:rPr>
              <a:t>Establishing GMP production of mRNA is complex and requires overcoming challenges at many levels</a:t>
            </a:r>
          </a:p>
        </p:txBody>
      </p:sp>
      <p:sp>
        <p:nvSpPr>
          <p:cNvPr id="39" name="TextBox 38">
            <a:extLst>
              <a:ext uri="{FF2B5EF4-FFF2-40B4-BE49-F238E27FC236}">
                <a16:creationId xmlns:a16="http://schemas.microsoft.com/office/drawing/2014/main" id="{9393414C-A3F6-42EE-9ABC-039AEF579FFB}"/>
              </a:ext>
            </a:extLst>
          </p:cNvPr>
          <p:cNvSpPr txBox="1"/>
          <p:nvPr/>
        </p:nvSpPr>
        <p:spPr>
          <a:xfrm>
            <a:off x="6386969" y="1943906"/>
            <a:ext cx="558482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5A64"/>
                </a:solidFill>
                <a:effectLst/>
                <a:uLnTx/>
                <a:uFillTx/>
                <a:latin typeface="Arial" panose="020B0604020202020204"/>
                <a:ea typeface="+mn-ea"/>
                <a:cs typeface="+mn-cs"/>
              </a:rPr>
              <a:t>Turnkey package that includes modular production units, GMP-compliant setup and personnel training</a:t>
            </a:r>
          </a:p>
        </p:txBody>
      </p:sp>
      <p:cxnSp>
        <p:nvCxnSpPr>
          <p:cNvPr id="104" name="Straight Connector 103">
            <a:extLst>
              <a:ext uri="{FF2B5EF4-FFF2-40B4-BE49-F238E27FC236}">
                <a16:creationId xmlns:a16="http://schemas.microsoft.com/office/drawing/2014/main" id="{6A277255-F2D1-45B4-84D8-A255B6EAFCA8}"/>
              </a:ext>
            </a:extLst>
          </p:cNvPr>
          <p:cNvCxnSpPr>
            <a:cxnSpLocks/>
          </p:cNvCxnSpPr>
          <p:nvPr/>
        </p:nvCxnSpPr>
        <p:spPr>
          <a:xfrm>
            <a:off x="587374" y="1781175"/>
            <a:ext cx="1851026" cy="0"/>
          </a:xfrm>
          <a:prstGeom prst="line">
            <a:avLst/>
          </a:prstGeom>
          <a:ln w="28575">
            <a:solidFill>
              <a:schemeClr val="accent1"/>
            </a:solidFill>
          </a:ln>
        </p:spPr>
        <p:style>
          <a:lnRef idx="1">
            <a:schemeClr val="accent2"/>
          </a:lnRef>
          <a:fillRef idx="0">
            <a:schemeClr val="accent2"/>
          </a:fillRef>
          <a:effectRef idx="0">
            <a:schemeClr val="accent2"/>
          </a:effectRef>
          <a:fontRef idx="minor">
            <a:schemeClr val="tx1"/>
          </a:fontRef>
        </p:style>
      </p:cxnSp>
      <p:cxnSp>
        <p:nvCxnSpPr>
          <p:cNvPr id="105" name="Straight Connector 104">
            <a:extLst>
              <a:ext uri="{FF2B5EF4-FFF2-40B4-BE49-F238E27FC236}">
                <a16:creationId xmlns:a16="http://schemas.microsoft.com/office/drawing/2014/main" id="{8BD85B4E-A2EA-49BB-B43C-73CDF4AEC1DC}"/>
              </a:ext>
            </a:extLst>
          </p:cNvPr>
          <p:cNvCxnSpPr>
            <a:cxnSpLocks/>
          </p:cNvCxnSpPr>
          <p:nvPr/>
        </p:nvCxnSpPr>
        <p:spPr>
          <a:xfrm>
            <a:off x="6485916" y="1781175"/>
            <a:ext cx="1658929"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pic>
        <p:nvPicPr>
          <p:cNvPr id="87" name="Picture 86" descr="A picture containing indoor&#10;&#10;Description automatically generated">
            <a:extLst>
              <a:ext uri="{FF2B5EF4-FFF2-40B4-BE49-F238E27FC236}">
                <a16:creationId xmlns:a16="http://schemas.microsoft.com/office/drawing/2014/main" id="{B6F870B6-60AA-40E1-A26A-6CE424F6D00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157887" y="3033712"/>
            <a:ext cx="4453678" cy="2969118"/>
          </a:xfrm>
          <a:prstGeom prst="rect">
            <a:avLst/>
          </a:prstGeom>
        </p:spPr>
      </p:pic>
      <p:sp>
        <p:nvSpPr>
          <p:cNvPr id="13" name="Arrow: Pentagon 12">
            <a:extLst>
              <a:ext uri="{FF2B5EF4-FFF2-40B4-BE49-F238E27FC236}">
                <a16:creationId xmlns:a16="http://schemas.microsoft.com/office/drawing/2014/main" id="{8478772D-1D7F-4CF0-AE3C-4B0579E05C91}"/>
              </a:ext>
            </a:extLst>
          </p:cNvPr>
          <p:cNvSpPr/>
          <p:nvPr/>
        </p:nvSpPr>
        <p:spPr>
          <a:xfrm>
            <a:off x="5988050" y="2035277"/>
            <a:ext cx="379878" cy="478759"/>
          </a:xfrm>
          <a:prstGeom prst="homePlat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3F2C2061-CF05-9FA0-CC2F-D7389372F417}"/>
              </a:ext>
            </a:extLst>
          </p:cNvPr>
          <p:cNvGrpSpPr/>
          <p:nvPr/>
        </p:nvGrpSpPr>
        <p:grpSpPr>
          <a:xfrm>
            <a:off x="1723292" y="2651254"/>
            <a:ext cx="3310822" cy="4101238"/>
            <a:chOff x="1723292" y="2651254"/>
            <a:chExt cx="3310822" cy="4101238"/>
          </a:xfrm>
        </p:grpSpPr>
        <p:pic>
          <p:nvPicPr>
            <p:cNvPr id="5" name="Picture 4" descr="Diagram&#10;&#10;Description automatically generated">
              <a:extLst>
                <a:ext uri="{FF2B5EF4-FFF2-40B4-BE49-F238E27FC236}">
                  <a16:creationId xmlns:a16="http://schemas.microsoft.com/office/drawing/2014/main" id="{F5D30490-0FB0-0C0E-0277-269F60418236}"/>
                </a:ext>
              </a:extLst>
            </p:cNvPr>
            <p:cNvPicPr>
              <a:picLocks noChangeAspect="1"/>
            </p:cNvPicPr>
            <p:nvPr/>
          </p:nvPicPr>
          <p:blipFill>
            <a:blip r:embed="rId3"/>
            <a:stretch>
              <a:fillRect/>
            </a:stretch>
          </p:blipFill>
          <p:spPr>
            <a:xfrm>
              <a:off x="1974726" y="2763069"/>
              <a:ext cx="2706588" cy="3824288"/>
            </a:xfrm>
            <a:prstGeom prst="rect">
              <a:avLst/>
            </a:prstGeom>
          </p:spPr>
        </p:pic>
        <p:sp>
          <p:nvSpPr>
            <p:cNvPr id="6" name="Rectangle 5">
              <a:extLst>
                <a:ext uri="{FF2B5EF4-FFF2-40B4-BE49-F238E27FC236}">
                  <a16:creationId xmlns:a16="http://schemas.microsoft.com/office/drawing/2014/main" id="{DFDB2D76-B09A-DC21-377B-035D9E329DF7}"/>
                </a:ext>
              </a:extLst>
            </p:cNvPr>
            <p:cNvSpPr/>
            <p:nvPr/>
          </p:nvSpPr>
          <p:spPr>
            <a:xfrm>
              <a:off x="1723292" y="2651254"/>
              <a:ext cx="3310822" cy="4101238"/>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7" name="Foliennummernplatzhalter 3">
            <a:extLst>
              <a:ext uri="{FF2B5EF4-FFF2-40B4-BE49-F238E27FC236}">
                <a16:creationId xmlns:a16="http://schemas.microsoft.com/office/drawing/2014/main" id="{A857F2BC-2B70-200D-9731-70F5A050DEC4}"/>
              </a:ext>
            </a:extLst>
          </p:cNvPr>
          <p:cNvSpPr txBox="1">
            <a:spLocks/>
          </p:cNvSpPr>
          <p:nvPr/>
        </p:nvSpPr>
        <p:spPr bwMode="gray">
          <a:xfrm>
            <a:off x="587375" y="6588000"/>
            <a:ext cx="252000" cy="12311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003F2E3-C95D-43B6-903C-10A5E0F6165A}" type="slidenum">
              <a:rPr kumimoji="0" lang="en-US" sz="800" b="0" i="0" u="none" strike="noStrike" kern="1200" cap="none" spc="0" normalizeH="0" baseline="0" noProof="0" smtClean="0">
                <a:ln>
                  <a:noFill/>
                </a:ln>
                <a:solidFill>
                  <a:srgbClr val="8C959A"/>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8C959A"/>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422953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2" hidden="1">
            <a:extLst>
              <a:ext uri="{FF2B5EF4-FFF2-40B4-BE49-F238E27FC236}">
                <a16:creationId xmlns:a16="http://schemas.microsoft.com/office/drawing/2014/main" id="{094DC538-55A0-4A36-A1D0-A258B7A76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7" name="Object 2" hidden="1">
                        <a:extLst>
                          <a:ext uri="{FF2B5EF4-FFF2-40B4-BE49-F238E27FC236}">
                            <a16:creationId xmlns:a16="http://schemas.microsoft.com/office/drawing/2014/main" id="{094DC538-55A0-4A36-A1D0-A258B7A768F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6B752EA4-42FD-4A44-B126-E7233711151D}"/>
              </a:ext>
            </a:extLst>
          </p:cNvPr>
          <p:cNvSpPr/>
          <p:nvPr>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004758"/>
              </a:solidFill>
              <a:effectLst/>
              <a:uLnTx/>
              <a:uFillTx/>
              <a:latin typeface="Arial" panose="020B0604020202020204" pitchFamily="34" charset="0"/>
              <a:ea typeface="+mn-ea"/>
              <a:cs typeface="+mn-cs"/>
              <a:sym typeface="Arial" panose="020B0604020202020204" pitchFamily="34" charset="0"/>
            </a:endParaRPr>
          </a:p>
        </p:txBody>
      </p:sp>
      <p:sp>
        <p:nvSpPr>
          <p:cNvPr id="2" name="Rectangle 3" hidden="1">
            <a:extLst>
              <a:ext uri="{FF2B5EF4-FFF2-40B4-BE49-F238E27FC236}">
                <a16:creationId xmlns:a16="http://schemas.microsoft.com/office/drawing/2014/main" id="{4ED5EA6D-BA6F-4079-81B7-185D136D2E5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004758"/>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2. Slide Title">
            <a:extLst>
              <a:ext uri="{FF2B5EF4-FFF2-40B4-BE49-F238E27FC236}">
                <a16:creationId xmlns:a16="http://schemas.microsoft.com/office/drawing/2014/main" id="{CF8D707D-5F0D-4AC7-8297-2BEC5369A3B3}"/>
              </a:ext>
            </a:extLst>
          </p:cNvPr>
          <p:cNvSpPr>
            <a:spLocks noGrp="1"/>
          </p:cNvSpPr>
          <p:nvPr>
            <p:ph type="title"/>
            <p:custDataLst>
              <p:tags r:id="rId4"/>
            </p:custDataLst>
          </p:nvPr>
        </p:nvSpPr>
        <p:spPr bwMode="gray">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Developing BioNTainer Configurations for Commercial and Clinical Applications …  </a:t>
            </a:r>
            <a:endParaRPr lang="en-US" dirty="0">
              <a:cs typeface="Arial" panose="020B0604020202020204" pitchFamily="34" charset="0"/>
            </a:endParaRPr>
          </a:p>
        </p:txBody>
      </p:sp>
      <p:grpSp>
        <p:nvGrpSpPr>
          <p:cNvPr id="46" name="Group 45">
            <a:extLst>
              <a:ext uri="{FF2B5EF4-FFF2-40B4-BE49-F238E27FC236}">
                <a16:creationId xmlns:a16="http://schemas.microsoft.com/office/drawing/2014/main" id="{6B4C19DE-8658-4017-9B45-6503F9CFE7DF}"/>
              </a:ext>
            </a:extLst>
          </p:cNvPr>
          <p:cNvGrpSpPr>
            <a:grpSpLocks/>
          </p:cNvGrpSpPr>
          <p:nvPr/>
        </p:nvGrpSpPr>
        <p:grpSpPr bwMode="gray">
          <a:xfrm>
            <a:off x="9081223" y="1383978"/>
            <a:ext cx="3026951" cy="409954"/>
            <a:chOff x="8943003" y="1522044"/>
            <a:chExt cx="3018132" cy="409954"/>
          </a:xfrm>
        </p:grpSpPr>
        <p:cxnSp>
          <p:nvCxnSpPr>
            <p:cNvPr id="88" name="Straight Connector 87">
              <a:extLst>
                <a:ext uri="{FF2B5EF4-FFF2-40B4-BE49-F238E27FC236}">
                  <a16:creationId xmlns:a16="http://schemas.microsoft.com/office/drawing/2014/main" id="{43F46E07-6F16-46F5-9F73-5F6560CE3CBE}"/>
                </a:ext>
              </a:extLst>
            </p:cNvPr>
            <p:cNvCxnSpPr>
              <a:cxnSpLocks/>
            </p:cNvCxnSpPr>
            <p:nvPr/>
          </p:nvCxnSpPr>
          <p:spPr bwMode="gray">
            <a:xfrm>
              <a:off x="8943003" y="1931998"/>
              <a:ext cx="2682813" cy="0"/>
            </a:xfrm>
            <a:prstGeom prst="line">
              <a:avLst/>
            </a:prstGeom>
            <a:noFill/>
            <a:ln w="12700" cap="flat" cmpd="sng" algn="ctr">
              <a:solidFill>
                <a:schemeClr val="tx1"/>
              </a:solidFill>
              <a:prstDash val="solid"/>
              <a:miter lim="800000"/>
              <a:tailEnd type="none"/>
            </a:ln>
            <a:effectLst/>
          </p:spPr>
        </p:cxnSp>
        <p:sp>
          <p:nvSpPr>
            <p:cNvPr id="37" name="TextBox 36">
              <a:extLst>
                <a:ext uri="{FF2B5EF4-FFF2-40B4-BE49-F238E27FC236}">
                  <a16:creationId xmlns:a16="http://schemas.microsoft.com/office/drawing/2014/main" id="{30B7F66F-6358-4DAD-9D76-91F3BE7E3FA1}"/>
                </a:ext>
              </a:extLst>
            </p:cNvPr>
            <p:cNvSpPr txBox="1">
              <a:spLocks/>
            </p:cNvSpPr>
            <p:nvPr/>
          </p:nvSpPr>
          <p:spPr bwMode="gray">
            <a:xfrm>
              <a:off x="8949386" y="1522044"/>
              <a:ext cx="3011749"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Two Light House Projects</a:t>
              </a:r>
            </a:p>
          </p:txBody>
        </p:sp>
      </p:grpSp>
      <p:sp>
        <p:nvSpPr>
          <p:cNvPr id="39" name="TextBox 38">
            <a:extLst>
              <a:ext uri="{FF2B5EF4-FFF2-40B4-BE49-F238E27FC236}">
                <a16:creationId xmlns:a16="http://schemas.microsoft.com/office/drawing/2014/main" id="{AEB13EB7-344D-463F-A50E-5176524D4B85}"/>
              </a:ext>
            </a:extLst>
          </p:cNvPr>
          <p:cNvSpPr txBox="1">
            <a:spLocks/>
          </p:cNvSpPr>
          <p:nvPr/>
        </p:nvSpPr>
        <p:spPr bwMode="gray">
          <a:xfrm>
            <a:off x="9119252" y="2018315"/>
            <a:ext cx="2890256" cy="320087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marR="0" lvl="0" indent="-342900" algn="l" defTabSz="914400" rtl="0" eaLnBrk="1" fontAlgn="auto" latinLnBrk="0" hangingPunct="1">
              <a:lnSpc>
                <a:spcPct val="100000"/>
              </a:lnSpc>
              <a:spcBef>
                <a:spcPts val="300"/>
              </a:spcBef>
              <a:spcAft>
                <a:spcPts val="300"/>
              </a:spcAft>
              <a:buClr>
                <a:srgbClr val="FFFFFF"/>
              </a:buClr>
              <a:buSzPct val="100000"/>
              <a:buFont typeface="+mj-lt"/>
              <a:buAutoNum type="arabicPeriod"/>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Commercial-scale</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 </a:t>
            </a:r>
            <a:r>
              <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Arial" panose="020B0604020202020204" pitchFamily="34" charset="0"/>
              </a:rPr>
              <a:t>BioNTainers</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 starting with Comirnaty production</a:t>
            </a:r>
          </a:p>
          <a:p>
            <a:pPr marL="342900" marR="0" lvl="0" indent="-342900" algn="l" defTabSz="914400" rtl="0" eaLnBrk="1" fontAlgn="auto" latinLnBrk="0" hangingPunct="1">
              <a:lnSpc>
                <a:spcPct val="100000"/>
              </a:lnSpc>
              <a:spcBef>
                <a:spcPts val="300"/>
              </a:spcBef>
              <a:spcAft>
                <a:spcPts val="300"/>
              </a:spcAft>
              <a:buClr>
                <a:srgbClr val="FFFFFF"/>
              </a:buClr>
              <a:buSzPct val="100000"/>
              <a:buFont typeface="+mj-lt"/>
              <a:buAutoNum type="arabicPeriod"/>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Clinical-scale </a:t>
            </a:r>
            <a:r>
              <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Arial" panose="020B0604020202020204" pitchFamily="34" charset="0"/>
              </a:rPr>
              <a:t>BioNTainers</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 paired with R&amp;D production in order to establish RNA ecosystem with academic institutions and local </a:t>
            </a:r>
            <a:r>
              <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Arial" panose="020B0604020202020204" pitchFamily="34" charset="0"/>
              </a:rPr>
              <a:t>biotechs</a:t>
            </a:r>
            <a:endParaRPr kumimoji="0" lang="en-US" sz="1800" b="1" i="0" u="none" strike="noStrike" kern="1200" cap="none" spc="0" normalizeH="0" baseline="0" noProof="0" dirty="0">
              <a:ln>
                <a:noFill/>
              </a:ln>
              <a:solidFill>
                <a:srgbClr val="FF000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endParaRPr kumimoji="0" lang="en-US" sz="18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64" name="Rectangle 63">
            <a:extLst>
              <a:ext uri="{FF2B5EF4-FFF2-40B4-BE49-F238E27FC236}">
                <a16:creationId xmlns:a16="http://schemas.microsoft.com/office/drawing/2014/main" id="{3AC3A16A-9ECD-4647-9ABA-126607A66E63}"/>
              </a:ext>
            </a:extLst>
          </p:cNvPr>
          <p:cNvSpPr>
            <a:spLocks/>
          </p:cNvSpPr>
          <p:nvPr/>
        </p:nvSpPr>
        <p:spPr bwMode="gray">
          <a:xfrm>
            <a:off x="2714013" y="1859850"/>
            <a:ext cx="5934687" cy="1124025"/>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nvGrpSpPr>
          <p:cNvPr id="38" name="Group 37">
            <a:extLst>
              <a:ext uri="{FF2B5EF4-FFF2-40B4-BE49-F238E27FC236}">
                <a16:creationId xmlns:a16="http://schemas.microsoft.com/office/drawing/2014/main" id="{C786EB4B-971B-46E2-8FC4-2AC4CBDAB7F1}"/>
              </a:ext>
            </a:extLst>
          </p:cNvPr>
          <p:cNvGrpSpPr/>
          <p:nvPr/>
        </p:nvGrpSpPr>
        <p:grpSpPr>
          <a:xfrm>
            <a:off x="5141261" y="2008529"/>
            <a:ext cx="1248565" cy="848391"/>
            <a:chOff x="5108821" y="1914808"/>
            <a:chExt cx="1248565" cy="848391"/>
          </a:xfrm>
        </p:grpSpPr>
        <p:pic>
          <p:nvPicPr>
            <p:cNvPr id="66" name="Grafik 29">
              <a:extLst>
                <a:ext uri="{FF2B5EF4-FFF2-40B4-BE49-F238E27FC236}">
                  <a16:creationId xmlns:a16="http://schemas.microsoft.com/office/drawing/2014/main" id="{CAE0866B-B540-41FE-9DB8-E19EF9E57E20}"/>
                </a:ext>
              </a:extLst>
            </p:cNvPr>
            <p:cNvPicPr>
              <a:picLocks noChangeAspect="1"/>
            </p:cNvPicPr>
            <p:nvPr/>
          </p:nvPicPr>
          <p:blipFill>
            <a:blip r:embed="rId17"/>
            <a:stretch>
              <a:fillRect/>
            </a:stretch>
          </p:blipFill>
          <p:spPr bwMode="gray">
            <a:xfrm>
              <a:off x="5108821" y="2131907"/>
              <a:ext cx="486293" cy="392466"/>
            </a:xfrm>
            <a:prstGeom prst="rect">
              <a:avLst/>
            </a:prstGeom>
          </p:spPr>
        </p:pic>
        <p:grpSp>
          <p:nvGrpSpPr>
            <p:cNvPr id="67" name="Group 66">
              <a:extLst>
                <a:ext uri="{FF2B5EF4-FFF2-40B4-BE49-F238E27FC236}">
                  <a16:creationId xmlns:a16="http://schemas.microsoft.com/office/drawing/2014/main" id="{7C5576BB-5397-4DAC-82E3-7B4026D16075}"/>
                </a:ext>
              </a:extLst>
            </p:cNvPr>
            <p:cNvGrpSpPr/>
            <p:nvPr/>
          </p:nvGrpSpPr>
          <p:grpSpPr bwMode="gray">
            <a:xfrm>
              <a:off x="5151233" y="1914808"/>
              <a:ext cx="1206153" cy="848391"/>
              <a:chOff x="5498035" y="2461441"/>
              <a:chExt cx="2132840" cy="1492945"/>
            </a:xfrm>
          </p:grpSpPr>
          <p:pic>
            <p:nvPicPr>
              <p:cNvPr id="68" name="Grafik 30">
                <a:extLst>
                  <a:ext uri="{FF2B5EF4-FFF2-40B4-BE49-F238E27FC236}">
                    <a16:creationId xmlns:a16="http://schemas.microsoft.com/office/drawing/2014/main" id="{7C743D24-B918-4D40-9790-3F3F97FBB51B}"/>
                  </a:ext>
                </a:extLst>
              </p:cNvPr>
              <p:cNvPicPr>
                <a:picLocks noChangeAspect="1"/>
              </p:cNvPicPr>
              <p:nvPr/>
            </p:nvPicPr>
            <p:blipFill>
              <a:blip r:embed="rId18"/>
              <a:stretch>
                <a:fillRect/>
              </a:stretch>
            </p:blipFill>
            <p:spPr bwMode="gray">
              <a:xfrm>
                <a:off x="5498035" y="3127546"/>
                <a:ext cx="872414" cy="826840"/>
              </a:xfrm>
              <a:prstGeom prst="rect">
                <a:avLst/>
              </a:prstGeom>
            </p:spPr>
          </p:pic>
          <p:pic>
            <p:nvPicPr>
              <p:cNvPr id="69" name="Grafik 31">
                <a:extLst>
                  <a:ext uri="{FF2B5EF4-FFF2-40B4-BE49-F238E27FC236}">
                    <a16:creationId xmlns:a16="http://schemas.microsoft.com/office/drawing/2014/main" id="{A04118BF-4603-4F70-91EC-D5BB30C381D2}"/>
                  </a:ext>
                </a:extLst>
              </p:cNvPr>
              <p:cNvPicPr>
                <a:picLocks noChangeAspect="1"/>
              </p:cNvPicPr>
              <p:nvPr/>
            </p:nvPicPr>
            <p:blipFill rotWithShape="1">
              <a:blip r:embed="rId19"/>
              <a:srcRect l="1628" r="1628"/>
              <a:stretch/>
            </p:blipFill>
            <p:spPr bwMode="gray">
              <a:xfrm>
                <a:off x="6360341" y="2461441"/>
                <a:ext cx="1270534" cy="1270533"/>
              </a:xfrm>
              <a:prstGeom prst="rect">
                <a:avLst/>
              </a:prstGeom>
            </p:spPr>
          </p:pic>
          <p:sp>
            <p:nvSpPr>
              <p:cNvPr id="70" name="Gleichschenkliges Dreieck 47">
                <a:extLst>
                  <a:ext uri="{FF2B5EF4-FFF2-40B4-BE49-F238E27FC236}">
                    <a16:creationId xmlns:a16="http://schemas.microsoft.com/office/drawing/2014/main" id="{CCEEC602-3C14-41B8-8BF8-C3F9D91D0BB2}"/>
                  </a:ext>
                </a:extLst>
              </p:cNvPr>
              <p:cNvSpPr/>
              <p:nvPr/>
            </p:nvSpPr>
            <p:spPr bwMode="gray">
              <a:xfrm rot="5400000">
                <a:off x="7028956" y="2957918"/>
                <a:ext cx="365760" cy="101600"/>
              </a:xfrm>
              <a:prstGeom prst="triangle">
                <a:avLst/>
              </a:prstGeom>
              <a:solidFill>
                <a:srgbClr val="005A64"/>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pic>
        <p:nvPicPr>
          <p:cNvPr id="74" name="Grafik 35">
            <a:extLst>
              <a:ext uri="{FF2B5EF4-FFF2-40B4-BE49-F238E27FC236}">
                <a16:creationId xmlns:a16="http://schemas.microsoft.com/office/drawing/2014/main" id="{6CA4384B-8904-47AD-B7BB-03D194CE335D}"/>
              </a:ext>
            </a:extLst>
          </p:cNvPr>
          <p:cNvPicPr>
            <a:picLocks noChangeAspect="1"/>
          </p:cNvPicPr>
          <p:nvPr/>
        </p:nvPicPr>
        <p:blipFill rotWithShape="1">
          <a:blip r:embed="rId20"/>
          <a:srcRect l="18800" t="48769" r="19518" b="12638"/>
          <a:stretch/>
        </p:blipFill>
        <p:spPr bwMode="gray">
          <a:xfrm rot="16200000">
            <a:off x="6609390" y="2216628"/>
            <a:ext cx="255118" cy="410468"/>
          </a:xfrm>
          <a:prstGeom prst="rect">
            <a:avLst/>
          </a:prstGeom>
        </p:spPr>
      </p:pic>
      <p:pic>
        <p:nvPicPr>
          <p:cNvPr id="75" name="Picture 22">
            <a:extLst>
              <a:ext uri="{FF2B5EF4-FFF2-40B4-BE49-F238E27FC236}">
                <a16:creationId xmlns:a16="http://schemas.microsoft.com/office/drawing/2014/main" id="{6D5AE5FA-EE3E-40B5-8356-043FEB42FB03}"/>
              </a:ext>
            </a:extLst>
          </p:cNvPr>
          <p:cNvPicPr>
            <a:picLocks noChangeAspect="1"/>
          </p:cNvPicPr>
          <p:nvPr/>
        </p:nvPicPr>
        <p:blipFill rotWithShape="1">
          <a:blip r:embed="rId21"/>
          <a:srcRect l="38038"/>
          <a:stretch/>
        </p:blipFill>
        <p:spPr bwMode="gray">
          <a:xfrm>
            <a:off x="3698991" y="2018587"/>
            <a:ext cx="900666" cy="806550"/>
          </a:xfrm>
          <a:prstGeom prst="rect">
            <a:avLst/>
          </a:prstGeom>
        </p:spPr>
      </p:pic>
      <p:pic>
        <p:nvPicPr>
          <p:cNvPr id="76" name="Grafik 34">
            <a:extLst>
              <a:ext uri="{FF2B5EF4-FFF2-40B4-BE49-F238E27FC236}">
                <a16:creationId xmlns:a16="http://schemas.microsoft.com/office/drawing/2014/main" id="{1574E618-7FA1-4D54-9A78-44061DF7647A}"/>
              </a:ext>
            </a:extLst>
          </p:cNvPr>
          <p:cNvPicPr>
            <a:picLocks noChangeAspect="1"/>
          </p:cNvPicPr>
          <p:nvPr/>
        </p:nvPicPr>
        <p:blipFill rotWithShape="1">
          <a:blip r:embed="rId20"/>
          <a:srcRect l="18800" t="48769" r="19518" b="12638"/>
          <a:stretch/>
        </p:blipFill>
        <p:spPr bwMode="gray">
          <a:xfrm rot="16200000">
            <a:off x="3531205" y="2281685"/>
            <a:ext cx="174249" cy="280355"/>
          </a:xfrm>
          <a:prstGeom prst="rect">
            <a:avLst/>
          </a:prstGeom>
        </p:spPr>
      </p:pic>
      <p:pic>
        <p:nvPicPr>
          <p:cNvPr id="72" name="Grafik 32">
            <a:extLst>
              <a:ext uri="{FF2B5EF4-FFF2-40B4-BE49-F238E27FC236}">
                <a16:creationId xmlns:a16="http://schemas.microsoft.com/office/drawing/2014/main" id="{99CF77E7-B1BB-4082-A00E-95C8032D2767}"/>
              </a:ext>
            </a:extLst>
          </p:cNvPr>
          <p:cNvPicPr>
            <a:picLocks/>
          </p:cNvPicPr>
          <p:nvPr/>
        </p:nvPicPr>
        <p:blipFill>
          <a:blip r:embed="rId22"/>
          <a:stretch>
            <a:fillRect/>
          </a:stretch>
        </p:blipFill>
        <p:spPr bwMode="gray">
          <a:xfrm>
            <a:off x="7048351" y="1916132"/>
            <a:ext cx="1275359" cy="1011460"/>
          </a:xfrm>
          <a:prstGeom prst="rect">
            <a:avLst/>
          </a:prstGeom>
        </p:spPr>
      </p:pic>
      <p:pic>
        <p:nvPicPr>
          <p:cNvPr id="71" name="Grafik 28">
            <a:extLst>
              <a:ext uri="{FF2B5EF4-FFF2-40B4-BE49-F238E27FC236}">
                <a16:creationId xmlns:a16="http://schemas.microsoft.com/office/drawing/2014/main" id="{4D579EFB-D8BA-4DC8-8749-F637766344D0}"/>
              </a:ext>
            </a:extLst>
          </p:cNvPr>
          <p:cNvPicPr>
            <a:picLocks noChangeAspect="1"/>
          </p:cNvPicPr>
          <p:nvPr/>
        </p:nvPicPr>
        <p:blipFill rotWithShape="1">
          <a:blip r:embed="rId23"/>
          <a:srcRect l="6718" t="3237" r="10180" b="1543"/>
          <a:stretch/>
        </p:blipFill>
        <p:spPr bwMode="gray">
          <a:xfrm>
            <a:off x="2834096" y="1916132"/>
            <a:ext cx="703572" cy="1011460"/>
          </a:xfrm>
          <a:prstGeom prst="rect">
            <a:avLst/>
          </a:prstGeom>
        </p:spPr>
      </p:pic>
      <p:sp>
        <p:nvSpPr>
          <p:cNvPr id="14" name="TextBox 13">
            <a:extLst>
              <a:ext uri="{FF2B5EF4-FFF2-40B4-BE49-F238E27FC236}">
                <a16:creationId xmlns:a16="http://schemas.microsoft.com/office/drawing/2014/main" id="{5769F14B-6188-4601-9DBC-3333AC580974}"/>
              </a:ext>
            </a:extLst>
          </p:cNvPr>
          <p:cNvSpPr txBox="1"/>
          <p:nvPr/>
        </p:nvSpPr>
        <p:spPr>
          <a:xfrm>
            <a:off x="555499" y="4123757"/>
            <a:ext cx="986196"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pplication</a:t>
            </a:r>
          </a:p>
        </p:txBody>
      </p:sp>
      <p:pic>
        <p:nvPicPr>
          <p:cNvPr id="23" name="CustomIcon">
            <a:extLst>
              <a:ext uri="{FF2B5EF4-FFF2-40B4-BE49-F238E27FC236}">
                <a16:creationId xmlns:a16="http://schemas.microsoft.com/office/drawing/2014/main" id="{D30453B4-9F49-4ACB-97F8-071FA50BC7A6}"/>
              </a:ext>
            </a:extLst>
          </p:cNvPr>
          <p:cNvPicPr>
            <a:picLocks/>
          </p:cNvPicPr>
          <p:nvPr>
            <p:custDataLst>
              <p:tags r:id="rId5"/>
            </p:custDataLst>
          </p:nvPr>
        </p:nvPicPr>
        <p:blipFill>
          <a:blip r:embed="rId24">
            <a:extLst>
              <a:ext uri="{96DAC541-7B7A-43D3-8B79-37D633B846F1}">
                <asvg:svgBlip xmlns:asvg="http://schemas.microsoft.com/office/drawing/2016/SVG/main" r:embed="rId25"/>
              </a:ext>
            </a:extLst>
          </a:blip>
          <a:stretch>
            <a:fillRect/>
          </a:stretch>
        </p:blipFill>
        <p:spPr bwMode="gray">
          <a:xfrm>
            <a:off x="1627620" y="4414438"/>
            <a:ext cx="371517" cy="416226"/>
          </a:xfrm>
          <a:prstGeom prst="rect">
            <a:avLst/>
          </a:prstGeom>
        </p:spPr>
      </p:pic>
      <p:sp>
        <p:nvSpPr>
          <p:cNvPr id="56" name="Rectangle 55">
            <a:extLst>
              <a:ext uri="{FF2B5EF4-FFF2-40B4-BE49-F238E27FC236}">
                <a16:creationId xmlns:a16="http://schemas.microsoft.com/office/drawing/2014/main" id="{68603CFC-9379-44CD-85EE-7E82248D0926}"/>
              </a:ext>
            </a:extLst>
          </p:cNvPr>
          <p:cNvSpPr>
            <a:spLocks/>
          </p:cNvSpPr>
          <p:nvPr/>
        </p:nvSpPr>
        <p:spPr bwMode="gray">
          <a:xfrm>
            <a:off x="2714776" y="4123757"/>
            <a:ext cx="1888388" cy="812784"/>
          </a:xfrm>
          <a:prstGeom prst="rect">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DS BioNTainer</a:t>
            </a:r>
            <a:b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6-container)</a:t>
            </a:r>
          </a:p>
        </p:txBody>
      </p:sp>
      <p:sp>
        <p:nvSpPr>
          <p:cNvPr id="58" name="Rectangle 57">
            <a:extLst>
              <a:ext uri="{FF2B5EF4-FFF2-40B4-BE49-F238E27FC236}">
                <a16:creationId xmlns:a16="http://schemas.microsoft.com/office/drawing/2014/main" id="{CBB97D4A-C4C0-4873-98C4-265A97F47051}"/>
              </a:ext>
            </a:extLst>
          </p:cNvPr>
          <p:cNvSpPr>
            <a:spLocks/>
          </p:cNvSpPr>
          <p:nvPr/>
        </p:nvSpPr>
        <p:spPr bwMode="gray">
          <a:xfrm>
            <a:off x="4739889" y="4123757"/>
            <a:ext cx="1888388" cy="812784"/>
          </a:xfrm>
          <a:prstGeom prst="rect">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DP BioNTainer</a:t>
            </a:r>
            <a:b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8-container)</a:t>
            </a:r>
          </a:p>
        </p:txBody>
      </p:sp>
      <p:sp>
        <p:nvSpPr>
          <p:cNvPr id="59" name="Rectangle 58">
            <a:extLst>
              <a:ext uri="{FF2B5EF4-FFF2-40B4-BE49-F238E27FC236}">
                <a16:creationId xmlns:a16="http://schemas.microsoft.com/office/drawing/2014/main" id="{5490DB83-FA4D-48F3-933D-C1080E31E9B4}"/>
              </a:ext>
            </a:extLst>
          </p:cNvPr>
          <p:cNvSpPr>
            <a:spLocks/>
          </p:cNvSpPr>
          <p:nvPr/>
        </p:nvSpPr>
        <p:spPr bwMode="gray">
          <a:xfrm>
            <a:off x="6765002" y="4123757"/>
            <a:ext cx="1888388" cy="812784"/>
          </a:xfrm>
          <a:prstGeom prst="rect">
            <a:avLst/>
          </a:prstGeom>
          <a:solidFill>
            <a:schemeClr val="accent2"/>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CMO </a:t>
            </a:r>
          </a:p>
        </p:txBody>
      </p:sp>
      <p:sp>
        <p:nvSpPr>
          <p:cNvPr id="16" name="TextBox 15">
            <a:extLst>
              <a:ext uri="{FF2B5EF4-FFF2-40B4-BE49-F238E27FC236}">
                <a16:creationId xmlns:a16="http://schemas.microsoft.com/office/drawing/2014/main" id="{979E3733-82A8-40CD-9F1A-561A4CD4BFD0}"/>
              </a:ext>
            </a:extLst>
          </p:cNvPr>
          <p:cNvSpPr txBox="1">
            <a:spLocks/>
          </p:cNvSpPr>
          <p:nvPr/>
        </p:nvSpPr>
        <p:spPr>
          <a:xfrm>
            <a:off x="1627620" y="4123757"/>
            <a:ext cx="1064731"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Commercial</a:t>
            </a:r>
          </a:p>
        </p:txBody>
      </p:sp>
      <p:pic>
        <p:nvPicPr>
          <p:cNvPr id="19" name="CustomIcon">
            <a:extLst>
              <a:ext uri="{FF2B5EF4-FFF2-40B4-BE49-F238E27FC236}">
                <a16:creationId xmlns:a16="http://schemas.microsoft.com/office/drawing/2014/main" id="{B64917F3-D6F3-4857-90C2-4D0B9D2BC401}"/>
              </a:ext>
            </a:extLst>
          </p:cNvPr>
          <p:cNvPicPr>
            <a:picLocks/>
          </p:cNvPicPr>
          <p:nvPr>
            <p:custDataLst>
              <p:tags r:id="rId6"/>
            </p:custDataLst>
          </p:nvPr>
        </p:nvPicPr>
        <p:blipFill>
          <a:blip r:embed="rId26">
            <a:extLst>
              <a:ext uri="{96DAC541-7B7A-43D3-8B79-37D633B846F1}">
                <asvg:svgBlip xmlns:asvg="http://schemas.microsoft.com/office/drawing/2016/SVG/main" r:embed="rId27"/>
              </a:ext>
            </a:extLst>
          </a:blip>
          <a:stretch>
            <a:fillRect/>
          </a:stretch>
        </p:blipFill>
        <p:spPr bwMode="gray">
          <a:xfrm>
            <a:off x="1627620" y="5367834"/>
            <a:ext cx="371517" cy="416226"/>
          </a:xfrm>
          <a:prstGeom prst="rect">
            <a:avLst/>
          </a:prstGeom>
        </p:spPr>
      </p:pic>
      <p:sp>
        <p:nvSpPr>
          <p:cNvPr id="60" name="Rectangle 59">
            <a:extLst>
              <a:ext uri="{FF2B5EF4-FFF2-40B4-BE49-F238E27FC236}">
                <a16:creationId xmlns:a16="http://schemas.microsoft.com/office/drawing/2014/main" id="{AB1BBCD0-570A-4D5F-A8F5-01AEAB3867B8}"/>
              </a:ext>
            </a:extLst>
          </p:cNvPr>
          <p:cNvSpPr>
            <a:spLocks/>
          </p:cNvSpPr>
          <p:nvPr/>
        </p:nvSpPr>
        <p:spPr bwMode="gray">
          <a:xfrm>
            <a:off x="2714776" y="5099657"/>
            <a:ext cx="3913501" cy="812784"/>
          </a:xfrm>
          <a:prstGeom prst="rect">
            <a:avLst/>
          </a:prstGeom>
          <a:solidFill>
            <a:srgbClr val="3C9673"/>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Clinical DS/DP BioNTainer (8-container)</a:t>
            </a:r>
          </a:p>
        </p:txBody>
      </p:sp>
      <p:sp>
        <p:nvSpPr>
          <p:cNvPr id="62" name="Rectangle 61">
            <a:extLst>
              <a:ext uri="{FF2B5EF4-FFF2-40B4-BE49-F238E27FC236}">
                <a16:creationId xmlns:a16="http://schemas.microsoft.com/office/drawing/2014/main" id="{16A86912-3635-4EB5-BC97-96278943D501}"/>
              </a:ext>
            </a:extLst>
          </p:cNvPr>
          <p:cNvSpPr>
            <a:spLocks/>
          </p:cNvSpPr>
          <p:nvPr/>
        </p:nvSpPr>
        <p:spPr bwMode="gray">
          <a:xfrm>
            <a:off x="6765002" y="5099657"/>
            <a:ext cx="1888388" cy="812784"/>
          </a:xfrm>
          <a:prstGeom prst="rect">
            <a:avLst/>
          </a:prstGeom>
          <a:solidFill>
            <a:srgbClr val="3C9673"/>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F&amp;F BioNTainer</a:t>
            </a:r>
          </a:p>
        </p:txBody>
      </p:sp>
      <p:sp>
        <p:nvSpPr>
          <p:cNvPr id="18" name="TextBox 17">
            <a:extLst>
              <a:ext uri="{FF2B5EF4-FFF2-40B4-BE49-F238E27FC236}">
                <a16:creationId xmlns:a16="http://schemas.microsoft.com/office/drawing/2014/main" id="{D8EB7682-758C-4933-AA69-29C86A24620C}"/>
              </a:ext>
            </a:extLst>
          </p:cNvPr>
          <p:cNvSpPr txBox="1">
            <a:spLocks/>
          </p:cNvSpPr>
          <p:nvPr/>
        </p:nvSpPr>
        <p:spPr>
          <a:xfrm>
            <a:off x="1627620" y="5099657"/>
            <a:ext cx="1064731"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Clinical</a:t>
            </a:r>
          </a:p>
        </p:txBody>
      </p:sp>
      <p:pic>
        <p:nvPicPr>
          <p:cNvPr id="25" name="CustomIcon">
            <a:extLst>
              <a:ext uri="{FF2B5EF4-FFF2-40B4-BE49-F238E27FC236}">
                <a16:creationId xmlns:a16="http://schemas.microsoft.com/office/drawing/2014/main" id="{770DFFF7-C3A6-4254-877C-EFB68DF09F84}"/>
              </a:ext>
            </a:extLst>
          </p:cNvPr>
          <p:cNvPicPr>
            <a:picLocks/>
          </p:cNvPicPr>
          <p:nvPr>
            <p:custDataLst>
              <p:tags r:id="rId7"/>
            </p:custDataLst>
          </p:nvPr>
        </p:nvPicPr>
        <p:blipFill>
          <a:blip r:embed="rId28">
            <a:extLst>
              <a:ext uri="{96DAC541-7B7A-43D3-8B79-37D633B846F1}">
                <asvg:svgBlip xmlns:asvg="http://schemas.microsoft.com/office/drawing/2016/SVG/main" r:embed="rId29"/>
              </a:ext>
            </a:extLst>
          </a:blip>
          <a:stretch>
            <a:fillRect/>
          </a:stretch>
        </p:blipFill>
        <p:spPr bwMode="gray">
          <a:xfrm>
            <a:off x="597313" y="3487472"/>
            <a:ext cx="371517" cy="366775"/>
          </a:xfrm>
          <a:prstGeom prst="rect">
            <a:avLst/>
          </a:prstGeom>
        </p:spPr>
      </p:pic>
      <p:sp>
        <p:nvSpPr>
          <p:cNvPr id="50" name="Rectangle 49">
            <a:extLst>
              <a:ext uri="{FF2B5EF4-FFF2-40B4-BE49-F238E27FC236}">
                <a16:creationId xmlns:a16="http://schemas.microsoft.com/office/drawing/2014/main" id="{E6D35F22-222B-4100-8A92-A707D686544D}"/>
              </a:ext>
            </a:extLst>
          </p:cNvPr>
          <p:cNvSpPr>
            <a:spLocks/>
          </p:cNvSpPr>
          <p:nvPr/>
        </p:nvSpPr>
        <p:spPr bwMode="gray">
          <a:xfrm>
            <a:off x="2673076" y="3349013"/>
            <a:ext cx="1888388" cy="307777"/>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Drug Substance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DS)</a:t>
            </a:r>
          </a:p>
        </p:txBody>
      </p:sp>
      <p:sp>
        <p:nvSpPr>
          <p:cNvPr id="51" name="Rectangle 50">
            <a:extLst>
              <a:ext uri="{FF2B5EF4-FFF2-40B4-BE49-F238E27FC236}">
                <a16:creationId xmlns:a16="http://schemas.microsoft.com/office/drawing/2014/main" id="{DAD2FA6B-D8D6-434C-99B8-01E5496FA665}"/>
              </a:ext>
            </a:extLst>
          </p:cNvPr>
          <p:cNvSpPr>
            <a:spLocks/>
          </p:cNvSpPr>
          <p:nvPr/>
        </p:nvSpPr>
        <p:spPr bwMode="gray">
          <a:xfrm>
            <a:off x="4698189" y="3349013"/>
            <a:ext cx="1888388" cy="307777"/>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Drug Product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DP)</a:t>
            </a:r>
            <a:endParaRPr kumimoji="0" lang="en-US" sz="1400" b="0"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7CA59279-15AE-4812-BF56-C6AC1C1C68C3}"/>
              </a:ext>
            </a:extLst>
          </p:cNvPr>
          <p:cNvSpPr>
            <a:spLocks/>
          </p:cNvSpPr>
          <p:nvPr/>
        </p:nvSpPr>
        <p:spPr bwMode="gray">
          <a:xfrm>
            <a:off x="6723302" y="3349013"/>
            <a:ext cx="1888388" cy="307777"/>
          </a:xfrm>
          <a:prstGeom prst="rect">
            <a:avLst/>
          </a:prstGeom>
          <a:no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Fill &amp; Finish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F&amp;F)</a:t>
            </a:r>
            <a:endParaRPr kumimoji="0" lang="en-US" sz="1400" b="0" i="0" u="none" strike="noStrike" kern="1200" cap="none" spc="0" normalizeH="0" baseline="30000" noProof="0" dirty="0">
              <a:ln>
                <a:noFill/>
              </a:ln>
              <a:solidFill>
                <a:srgbClr val="000000"/>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96243231-8A28-49EA-AA07-9B2E5D902603}"/>
              </a:ext>
            </a:extLst>
          </p:cNvPr>
          <p:cNvSpPr txBox="1">
            <a:spLocks/>
          </p:cNvSpPr>
          <p:nvPr/>
        </p:nvSpPr>
        <p:spPr>
          <a:xfrm>
            <a:off x="554737" y="3225158"/>
            <a:ext cx="2187652"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rocess steps</a:t>
            </a:r>
          </a:p>
        </p:txBody>
      </p:sp>
      <p:cxnSp>
        <p:nvCxnSpPr>
          <p:cNvPr id="94" name="LineContentSeparatorDefault 94">
            <a:extLst>
              <a:ext uri="{FF2B5EF4-FFF2-40B4-BE49-F238E27FC236}">
                <a16:creationId xmlns:a16="http://schemas.microsoft.com/office/drawing/2014/main" id="{2A04601D-FA13-4CF1-A067-BC0F346A54C5}"/>
              </a:ext>
            </a:extLst>
          </p:cNvPr>
          <p:cNvCxnSpPr>
            <a:cxnSpLocks/>
          </p:cNvCxnSpPr>
          <p:nvPr>
            <p:custDataLst>
              <p:tags r:id="rId8"/>
            </p:custDataLst>
          </p:nvPr>
        </p:nvCxnSpPr>
        <p:spPr>
          <a:xfrm>
            <a:off x="574374" y="3927247"/>
            <a:ext cx="8074326"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LineContentSeparatorDefault 94">
            <a:extLst>
              <a:ext uri="{FF2B5EF4-FFF2-40B4-BE49-F238E27FC236}">
                <a16:creationId xmlns:a16="http://schemas.microsoft.com/office/drawing/2014/main" id="{3909692C-E46A-4B25-ADD6-6DBA5B7A5B39}"/>
              </a:ext>
            </a:extLst>
          </p:cNvPr>
          <p:cNvCxnSpPr>
            <a:cxnSpLocks/>
          </p:cNvCxnSpPr>
          <p:nvPr>
            <p:custDataLst>
              <p:tags r:id="rId9"/>
            </p:custDataLst>
          </p:nvPr>
        </p:nvCxnSpPr>
        <p:spPr>
          <a:xfrm>
            <a:off x="1541695" y="5018099"/>
            <a:ext cx="710700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LineContentSeparatorDefault 94">
            <a:extLst>
              <a:ext uri="{FF2B5EF4-FFF2-40B4-BE49-F238E27FC236}">
                <a16:creationId xmlns:a16="http://schemas.microsoft.com/office/drawing/2014/main" id="{EAB85954-5544-443D-AF95-0D3F93685F73}"/>
              </a:ext>
            </a:extLst>
          </p:cNvPr>
          <p:cNvCxnSpPr>
            <a:cxnSpLocks/>
          </p:cNvCxnSpPr>
          <p:nvPr>
            <p:custDataLst>
              <p:tags r:id="rId10"/>
            </p:custDataLst>
          </p:nvPr>
        </p:nvCxnSpPr>
        <p:spPr>
          <a:xfrm>
            <a:off x="554737" y="3077786"/>
            <a:ext cx="8074326"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6347760A-EFF8-4681-8BBD-D1B6CD9EC249}"/>
              </a:ext>
            </a:extLst>
          </p:cNvPr>
          <p:cNvSpPr txBox="1">
            <a:spLocks/>
          </p:cNvSpPr>
          <p:nvPr/>
        </p:nvSpPr>
        <p:spPr>
          <a:xfrm>
            <a:off x="554737" y="1957230"/>
            <a:ext cx="2187652"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rocess visualization</a:t>
            </a:r>
          </a:p>
        </p:txBody>
      </p:sp>
      <p:pic>
        <p:nvPicPr>
          <p:cNvPr id="5" name="CustomIcon">
            <a:extLst>
              <a:ext uri="{FF2B5EF4-FFF2-40B4-BE49-F238E27FC236}">
                <a16:creationId xmlns:a16="http://schemas.microsoft.com/office/drawing/2014/main" id="{6A158D79-2EF0-4225-B400-B4C17075CA29}"/>
              </a:ext>
            </a:extLst>
          </p:cNvPr>
          <p:cNvPicPr>
            <a:picLocks/>
          </p:cNvPicPr>
          <p:nvPr>
            <p:custDataLst>
              <p:tags r:id="rId11"/>
            </p:custDataLst>
          </p:nvPr>
        </p:nvPicPr>
        <p:blipFill>
          <a:blip r:embed="rId30">
            <a:extLst>
              <a:ext uri="{96DAC541-7B7A-43D3-8B79-37D633B846F1}">
                <asvg:svgBlip xmlns:asvg="http://schemas.microsoft.com/office/drawing/2016/SVG/main" r:embed="rId31"/>
              </a:ext>
            </a:extLst>
          </a:blip>
          <a:stretch>
            <a:fillRect/>
          </a:stretch>
        </p:blipFill>
        <p:spPr>
          <a:xfrm>
            <a:off x="597313" y="2337150"/>
            <a:ext cx="371517" cy="366775"/>
          </a:xfrm>
          <a:prstGeom prst="rect">
            <a:avLst/>
          </a:prstGeom>
        </p:spPr>
      </p:pic>
      <p:pic>
        <p:nvPicPr>
          <p:cNvPr id="65" name="Grafik 35">
            <a:extLst>
              <a:ext uri="{FF2B5EF4-FFF2-40B4-BE49-F238E27FC236}">
                <a16:creationId xmlns:a16="http://schemas.microsoft.com/office/drawing/2014/main" id="{E2900F52-D56E-4639-A73F-CA235F9C5075}"/>
              </a:ext>
            </a:extLst>
          </p:cNvPr>
          <p:cNvPicPr>
            <a:picLocks noChangeAspect="1"/>
          </p:cNvPicPr>
          <p:nvPr/>
        </p:nvPicPr>
        <p:blipFill rotWithShape="1">
          <a:blip r:embed="rId20"/>
          <a:srcRect l="18800" t="48769" r="19518" b="12638"/>
          <a:stretch/>
        </p:blipFill>
        <p:spPr bwMode="gray">
          <a:xfrm rot="16200000">
            <a:off x="4666579" y="2216628"/>
            <a:ext cx="255118" cy="410468"/>
          </a:xfrm>
          <a:prstGeom prst="rect">
            <a:avLst/>
          </a:prstGeom>
        </p:spPr>
      </p:pic>
      <p:cxnSp>
        <p:nvCxnSpPr>
          <p:cNvPr id="73" name="LineContentSeparatorDefault 94">
            <a:extLst>
              <a:ext uri="{FF2B5EF4-FFF2-40B4-BE49-F238E27FC236}">
                <a16:creationId xmlns:a16="http://schemas.microsoft.com/office/drawing/2014/main" id="{6912BC8B-9679-DA4A-C932-D3E56202BB6C}"/>
              </a:ext>
            </a:extLst>
          </p:cNvPr>
          <p:cNvCxnSpPr>
            <a:cxnSpLocks/>
          </p:cNvCxnSpPr>
          <p:nvPr>
            <p:custDataLst>
              <p:tags r:id="rId12"/>
            </p:custDataLst>
          </p:nvPr>
        </p:nvCxnSpPr>
        <p:spPr>
          <a:xfrm>
            <a:off x="550809" y="6091940"/>
            <a:ext cx="8074326"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93C9D9F-002D-4A7A-A1EA-FA2F23532208}"/>
              </a:ext>
            </a:extLst>
          </p:cNvPr>
          <p:cNvCxnSpPr>
            <a:cxnSpLocks/>
          </p:cNvCxnSpPr>
          <p:nvPr/>
        </p:nvCxnSpPr>
        <p:spPr bwMode="gray">
          <a:xfrm>
            <a:off x="550809" y="1775080"/>
            <a:ext cx="8074326" cy="0"/>
          </a:xfrm>
          <a:prstGeom prst="line">
            <a:avLst/>
          </a:prstGeom>
          <a:noFill/>
          <a:ln w="12700" cap="flat" cmpd="sng" algn="ctr">
            <a:solidFill>
              <a:srgbClr val="7F7F7F"/>
            </a:solidFill>
            <a:prstDash val="solid"/>
            <a:miter lim="800000"/>
            <a:tailEnd type="none"/>
          </a:ln>
          <a:effectLst/>
        </p:spPr>
      </p:cxnSp>
      <p:sp>
        <p:nvSpPr>
          <p:cNvPr id="57" name="TextBox 56">
            <a:extLst>
              <a:ext uri="{FF2B5EF4-FFF2-40B4-BE49-F238E27FC236}">
                <a16:creationId xmlns:a16="http://schemas.microsoft.com/office/drawing/2014/main" id="{D57BBF73-4C0A-45F8-8AA7-26964D282FC4}"/>
              </a:ext>
            </a:extLst>
          </p:cNvPr>
          <p:cNvSpPr txBox="1">
            <a:spLocks/>
          </p:cNvSpPr>
          <p:nvPr/>
        </p:nvSpPr>
        <p:spPr bwMode="gray">
          <a:xfrm>
            <a:off x="550809" y="1450456"/>
            <a:ext cx="8262991" cy="2769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Overview configurations </a:t>
            </a:r>
          </a:p>
        </p:txBody>
      </p:sp>
    </p:spTree>
    <p:extLst>
      <p:ext uri="{BB962C8B-B14F-4D97-AF65-F5344CB8AC3E}">
        <p14:creationId xmlns:p14="http://schemas.microsoft.com/office/powerpoint/2010/main" val="36703056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32AF550D-0CB8-4FF8-9A76-E80EE31F18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2" hidden="1">
                        <a:extLst>
                          <a:ext uri="{FF2B5EF4-FFF2-40B4-BE49-F238E27FC236}">
                            <a16:creationId xmlns:a16="http://schemas.microsoft.com/office/drawing/2014/main" id="{32AF550D-0CB8-4FF8-9A76-E80EE31F18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3F632B9-6107-4792-BE16-456E202EE3A6}"/>
              </a:ext>
            </a:extLst>
          </p:cNvPr>
          <p:cNvSpPr>
            <a:spLocks noGrp="1"/>
          </p:cNvSpPr>
          <p:nvPr>
            <p:ph type="title"/>
          </p:nvPr>
        </p:nvSpPr>
        <p:spPr>
          <a:xfrm>
            <a:off x="554736" y="202989"/>
            <a:ext cx="7918704" cy="73866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dirty="0"/>
              <a:t>Capabilities are “building-blocks” that span platforms and can be flexibly applied to differing use cases </a:t>
            </a:r>
          </a:p>
        </p:txBody>
      </p:sp>
      <p:sp>
        <p:nvSpPr>
          <p:cNvPr id="8" name="Subtitle 7">
            <a:extLst>
              <a:ext uri="{FF2B5EF4-FFF2-40B4-BE49-F238E27FC236}">
                <a16:creationId xmlns:a16="http://schemas.microsoft.com/office/drawing/2014/main" id="{A9181FA6-91C1-79E1-8989-45F83A2B0D87}"/>
              </a:ext>
            </a:extLst>
          </p:cNvPr>
          <p:cNvSpPr>
            <a:spLocks noGrp="1"/>
          </p:cNvSpPr>
          <p:nvPr>
            <p:ph type="subTitle" idx="1"/>
          </p:nvPr>
        </p:nvSpPr>
        <p:spPr>
          <a:xfrm>
            <a:off x="554736" y="1122533"/>
            <a:ext cx="7918704"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kumimoji="0" lang="en-US" strike="noStrike" kern="1200" spc="0" normalizeH="0" noProof="0" dirty="0">
                <a:ln>
                  <a:noFill/>
                </a:ln>
                <a:effectLst/>
                <a:uLnTx/>
                <a:uFillTx/>
                <a:ea typeface="+mn-ea"/>
                <a:cs typeface="Arial" panose="020B0604020202020204" pitchFamily="34" charset="0"/>
              </a:rPr>
              <a:t>"Building blocks" include processes, equipment, software and facilities</a:t>
            </a:r>
          </a:p>
        </p:txBody>
      </p:sp>
      <p:grpSp>
        <p:nvGrpSpPr>
          <p:cNvPr id="234" name="Group 233">
            <a:extLst>
              <a:ext uri="{FF2B5EF4-FFF2-40B4-BE49-F238E27FC236}">
                <a16:creationId xmlns:a16="http://schemas.microsoft.com/office/drawing/2014/main" id="{CDADAFB2-59D3-BA65-3FD3-E56B7D79FBAE}"/>
              </a:ext>
            </a:extLst>
          </p:cNvPr>
          <p:cNvGrpSpPr/>
          <p:nvPr/>
        </p:nvGrpSpPr>
        <p:grpSpPr>
          <a:xfrm>
            <a:off x="3188691" y="1722274"/>
            <a:ext cx="5231877" cy="196597"/>
            <a:chOff x="1604848" y="1610514"/>
            <a:chExt cx="5231877" cy="196597"/>
          </a:xfrm>
        </p:grpSpPr>
        <p:grpSp>
          <p:nvGrpSpPr>
            <p:cNvPr id="277" name="Group 276">
              <a:extLst>
                <a:ext uri="{FF2B5EF4-FFF2-40B4-BE49-F238E27FC236}">
                  <a16:creationId xmlns:a16="http://schemas.microsoft.com/office/drawing/2014/main" id="{5B5EA110-B607-385E-D3A2-1C6508B529BD}"/>
                </a:ext>
              </a:extLst>
            </p:cNvPr>
            <p:cNvGrpSpPr/>
            <p:nvPr/>
          </p:nvGrpSpPr>
          <p:grpSpPr>
            <a:xfrm>
              <a:off x="2746838" y="1611943"/>
              <a:ext cx="2009740" cy="193738"/>
              <a:chOff x="4453006" y="-631887"/>
              <a:chExt cx="2009740" cy="193738"/>
            </a:xfrm>
          </p:grpSpPr>
          <p:sp>
            <p:nvSpPr>
              <p:cNvPr id="33" name="Legend4">
                <a:extLst>
                  <a:ext uri="{FF2B5EF4-FFF2-40B4-BE49-F238E27FC236}">
                    <a16:creationId xmlns:a16="http://schemas.microsoft.com/office/drawing/2014/main" id="{BAE71955-9A0A-4DD2-89D3-6C280057B707}"/>
                  </a:ext>
                </a:extLst>
              </p:cNvPr>
              <p:cNvSpPr txBox="1">
                <a:spLocks/>
              </p:cNvSpPr>
              <p:nvPr/>
            </p:nvSpPr>
            <p:spPr>
              <a:xfrm>
                <a:off x="4731503" y="-627351"/>
                <a:ext cx="1731243" cy="184666"/>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Equipment for each scale</a:t>
                </a:r>
              </a:p>
            </p:txBody>
          </p:sp>
          <p:grpSp>
            <p:nvGrpSpPr>
              <p:cNvPr id="271" name="Group 270">
                <a:extLst>
                  <a:ext uri="{FF2B5EF4-FFF2-40B4-BE49-F238E27FC236}">
                    <a16:creationId xmlns:a16="http://schemas.microsoft.com/office/drawing/2014/main" id="{88669482-A8BC-5C44-5B88-A76AC17ADF12}"/>
                  </a:ext>
                </a:extLst>
              </p:cNvPr>
              <p:cNvGrpSpPr>
                <a:grpSpLocks noChangeAspect="1"/>
              </p:cNvGrpSpPr>
              <p:nvPr/>
            </p:nvGrpSpPr>
            <p:grpSpPr>
              <a:xfrm>
                <a:off x="4453006" y="-631887"/>
                <a:ext cx="193738" cy="193738"/>
                <a:chOff x="1660343" y="-866838"/>
                <a:chExt cx="345115" cy="268401"/>
              </a:xfrm>
            </p:grpSpPr>
            <p:sp>
              <p:nvSpPr>
                <p:cNvPr id="248" name="Freeform: Shape 247">
                  <a:extLst>
                    <a:ext uri="{FF2B5EF4-FFF2-40B4-BE49-F238E27FC236}">
                      <a16:creationId xmlns:a16="http://schemas.microsoft.com/office/drawing/2014/main" id="{B524E6C3-64DC-83CA-2F78-B165F53BC372}"/>
                    </a:ext>
                  </a:extLst>
                </p:cNvPr>
                <p:cNvSpPr/>
                <p:nvPr/>
              </p:nvSpPr>
              <p:spPr>
                <a:xfrm>
                  <a:off x="1660343" y="-866838"/>
                  <a:ext cx="345115" cy="268401"/>
                </a:xfrm>
                <a:custGeom>
                  <a:avLst/>
                  <a:gdLst>
                    <a:gd name="connsiteX0" fmla="*/ 0 w 345115"/>
                    <a:gd name="connsiteY0" fmla="*/ 0 h 268401"/>
                    <a:gd name="connsiteX1" fmla="*/ 345116 w 345115"/>
                    <a:gd name="connsiteY1" fmla="*/ 0 h 268401"/>
                    <a:gd name="connsiteX2" fmla="*/ 345116 w 345115"/>
                    <a:gd name="connsiteY2" fmla="*/ 268401 h 268401"/>
                    <a:gd name="connsiteX3" fmla="*/ 0 w 345115"/>
                    <a:gd name="connsiteY3" fmla="*/ 268401 h 268401"/>
                  </a:gdLst>
                  <a:ahLst/>
                  <a:cxnLst>
                    <a:cxn ang="0">
                      <a:pos x="connsiteX0" y="connsiteY0"/>
                    </a:cxn>
                    <a:cxn ang="0">
                      <a:pos x="connsiteX1" y="connsiteY1"/>
                    </a:cxn>
                    <a:cxn ang="0">
                      <a:pos x="connsiteX2" y="connsiteY2"/>
                    </a:cxn>
                    <a:cxn ang="0">
                      <a:pos x="connsiteX3" y="connsiteY3"/>
                    </a:cxn>
                  </a:cxnLst>
                  <a:rect l="l" t="t" r="r" b="b"/>
                  <a:pathLst>
                    <a:path w="345115" h="268401">
                      <a:moveTo>
                        <a:pt x="0" y="0"/>
                      </a:moveTo>
                      <a:lnTo>
                        <a:pt x="345116" y="0"/>
                      </a:lnTo>
                      <a:lnTo>
                        <a:pt x="345116" y="268401"/>
                      </a:lnTo>
                      <a:lnTo>
                        <a:pt x="0" y="268401"/>
                      </a:ln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9" name="Freeform: Shape 248">
                  <a:extLst>
                    <a:ext uri="{FF2B5EF4-FFF2-40B4-BE49-F238E27FC236}">
                      <a16:creationId xmlns:a16="http://schemas.microsoft.com/office/drawing/2014/main" id="{7D7A9833-57B8-120B-1153-AA321A898BF5}"/>
                    </a:ext>
                  </a:extLst>
                </p:cNvPr>
                <p:cNvSpPr/>
                <p:nvPr/>
              </p:nvSpPr>
              <p:spPr>
                <a:xfrm>
                  <a:off x="1869423" y="-866838"/>
                  <a:ext cx="109667" cy="268401"/>
                </a:xfrm>
                <a:custGeom>
                  <a:avLst/>
                  <a:gdLst>
                    <a:gd name="connsiteX0" fmla="*/ 0 w 109667"/>
                    <a:gd name="connsiteY0" fmla="*/ 0 h 268401"/>
                    <a:gd name="connsiteX1" fmla="*/ 8571 w 109667"/>
                    <a:gd name="connsiteY1" fmla="*/ 0 h 268401"/>
                    <a:gd name="connsiteX2" fmla="*/ 109668 w 109667"/>
                    <a:gd name="connsiteY2" fmla="*/ 268401 h 268401"/>
                    <a:gd name="connsiteX3" fmla="*/ 97804 w 109667"/>
                    <a:gd name="connsiteY3" fmla="*/ 268401 h 268401"/>
                    <a:gd name="connsiteX4" fmla="*/ 0 w 109667"/>
                    <a:gd name="connsiteY4" fmla="*/ 0 h 268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67" h="268401">
                      <a:moveTo>
                        <a:pt x="0" y="0"/>
                      </a:moveTo>
                      <a:lnTo>
                        <a:pt x="8571" y="0"/>
                      </a:lnTo>
                      <a:cubicBezTo>
                        <a:pt x="14051" y="88076"/>
                        <a:pt x="37427" y="195532"/>
                        <a:pt x="109668" y="268401"/>
                      </a:cubicBezTo>
                      <a:lnTo>
                        <a:pt x="97804" y="268401"/>
                      </a:lnTo>
                      <a:cubicBezTo>
                        <a:pt x="28102" y="193722"/>
                        <a:pt x="5354" y="87347"/>
                        <a:pt x="0" y="0"/>
                      </a:cubicBezTo>
                      <a:close/>
                    </a:path>
                  </a:pathLst>
                </a:custGeom>
                <a:solidFill>
                  <a:schemeClr val="tx1">
                    <a:alpha val="30000"/>
                  </a:schemeClr>
                </a:solidFill>
                <a:ln w="25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0" name="Freeform: Shape 249">
                  <a:extLst>
                    <a:ext uri="{FF2B5EF4-FFF2-40B4-BE49-F238E27FC236}">
                      <a16:creationId xmlns:a16="http://schemas.microsoft.com/office/drawing/2014/main" id="{8D7A37F1-8EBA-1B80-4D1D-0674BA653DA8}"/>
                    </a:ext>
                  </a:extLst>
                </p:cNvPr>
                <p:cNvSpPr/>
                <p:nvPr/>
              </p:nvSpPr>
              <p:spPr>
                <a:xfrm>
                  <a:off x="1660343" y="-813298"/>
                  <a:ext cx="230596" cy="214836"/>
                </a:xfrm>
                <a:custGeom>
                  <a:avLst/>
                  <a:gdLst>
                    <a:gd name="connsiteX0" fmla="*/ 0 w 230596"/>
                    <a:gd name="connsiteY0" fmla="*/ 8697 h 214836"/>
                    <a:gd name="connsiteX1" fmla="*/ 0 w 230596"/>
                    <a:gd name="connsiteY1" fmla="*/ 0 h 214836"/>
                    <a:gd name="connsiteX2" fmla="*/ 170120 w 230596"/>
                    <a:gd name="connsiteY2" fmla="*/ 80736 h 214836"/>
                    <a:gd name="connsiteX3" fmla="*/ 230597 w 230596"/>
                    <a:gd name="connsiteY3" fmla="*/ 214836 h 214836"/>
                    <a:gd name="connsiteX4" fmla="*/ 221950 w 230596"/>
                    <a:gd name="connsiteY4" fmla="*/ 214836 h 214836"/>
                    <a:gd name="connsiteX5" fmla="*/ 163710 w 230596"/>
                    <a:gd name="connsiteY5" fmla="*/ 86417 h 214836"/>
                    <a:gd name="connsiteX6" fmla="*/ 0 w 230596"/>
                    <a:gd name="connsiteY6" fmla="*/ 8697 h 21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596" h="214836">
                      <a:moveTo>
                        <a:pt x="0" y="8697"/>
                      </a:moveTo>
                      <a:lnTo>
                        <a:pt x="0" y="0"/>
                      </a:lnTo>
                      <a:cubicBezTo>
                        <a:pt x="72768" y="9426"/>
                        <a:pt x="129877" y="36472"/>
                        <a:pt x="170120" y="80736"/>
                      </a:cubicBezTo>
                      <a:cubicBezTo>
                        <a:pt x="209809" y="124448"/>
                        <a:pt x="224941" y="176831"/>
                        <a:pt x="230597" y="214836"/>
                      </a:cubicBezTo>
                      <a:lnTo>
                        <a:pt x="221950" y="214836"/>
                      </a:lnTo>
                      <a:cubicBezTo>
                        <a:pt x="216420" y="178188"/>
                        <a:pt x="201665" y="128168"/>
                        <a:pt x="163710" y="86417"/>
                      </a:cubicBezTo>
                      <a:cubicBezTo>
                        <a:pt x="125101" y="43963"/>
                        <a:pt x="70154" y="17897"/>
                        <a:pt x="0" y="8697"/>
                      </a:cubicBezTo>
                      <a:close/>
                    </a:path>
                  </a:pathLst>
                </a:custGeom>
                <a:solidFill>
                  <a:schemeClr val="tx1">
                    <a:alpha val="30000"/>
                  </a:schemeClr>
                </a:solidFill>
                <a:ln w="25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1" name="Freeform: Shape 250">
                  <a:extLst>
                    <a:ext uri="{FF2B5EF4-FFF2-40B4-BE49-F238E27FC236}">
                      <a16:creationId xmlns:a16="http://schemas.microsoft.com/office/drawing/2014/main" id="{51A9B5C0-26A2-61F9-D141-3049577969E9}"/>
                    </a:ext>
                  </a:extLst>
                </p:cNvPr>
                <p:cNvSpPr/>
                <p:nvPr/>
              </p:nvSpPr>
              <p:spPr>
                <a:xfrm>
                  <a:off x="1660343" y="-702503"/>
                  <a:ext cx="154475" cy="104016"/>
                </a:xfrm>
                <a:custGeom>
                  <a:avLst/>
                  <a:gdLst>
                    <a:gd name="connsiteX0" fmla="*/ 0 w 154475"/>
                    <a:gd name="connsiteY0" fmla="*/ 35948 h 104016"/>
                    <a:gd name="connsiteX1" fmla="*/ 0 w 154475"/>
                    <a:gd name="connsiteY1" fmla="*/ 26422 h 104016"/>
                    <a:gd name="connsiteX2" fmla="*/ 27901 w 154475"/>
                    <a:gd name="connsiteY2" fmla="*/ 33661 h 104016"/>
                    <a:gd name="connsiteX3" fmla="*/ 61583 w 154475"/>
                    <a:gd name="connsiteY3" fmla="*/ 16945 h 104016"/>
                    <a:gd name="connsiteX4" fmla="*/ 119446 w 154475"/>
                    <a:gd name="connsiteY4" fmla="*/ 5886 h 104016"/>
                    <a:gd name="connsiteX5" fmla="*/ 153304 w 154475"/>
                    <a:gd name="connsiteY5" fmla="*/ 48994 h 104016"/>
                    <a:gd name="connsiteX6" fmla="*/ 144079 w 154475"/>
                    <a:gd name="connsiteY6" fmla="*/ 104016 h 104016"/>
                    <a:gd name="connsiteX7" fmla="*/ 134578 w 154475"/>
                    <a:gd name="connsiteY7" fmla="*/ 104016 h 104016"/>
                    <a:gd name="connsiteX8" fmla="*/ 144908 w 154475"/>
                    <a:gd name="connsiteY8" fmla="*/ 50602 h 104016"/>
                    <a:gd name="connsiteX9" fmla="*/ 115550 w 154475"/>
                    <a:gd name="connsiteY9" fmla="*/ 13477 h 104016"/>
                    <a:gd name="connsiteX10" fmla="*/ 66862 w 154475"/>
                    <a:gd name="connsiteY10" fmla="*/ 23632 h 104016"/>
                    <a:gd name="connsiteX11" fmla="*/ 28429 w 154475"/>
                    <a:gd name="connsiteY11" fmla="*/ 42182 h 104016"/>
                    <a:gd name="connsiteX12" fmla="*/ 0 w 154475"/>
                    <a:gd name="connsiteY12" fmla="*/ 35948 h 10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475" h="104016">
                      <a:moveTo>
                        <a:pt x="0" y="35948"/>
                      </a:moveTo>
                      <a:lnTo>
                        <a:pt x="0" y="26422"/>
                      </a:lnTo>
                      <a:cubicBezTo>
                        <a:pt x="9552" y="31399"/>
                        <a:pt x="18978" y="34214"/>
                        <a:pt x="27901" y="33661"/>
                      </a:cubicBezTo>
                      <a:cubicBezTo>
                        <a:pt x="41399" y="32856"/>
                        <a:pt x="51177" y="25140"/>
                        <a:pt x="61583" y="16945"/>
                      </a:cubicBezTo>
                      <a:cubicBezTo>
                        <a:pt x="76916" y="4855"/>
                        <a:pt x="92827" y="-7688"/>
                        <a:pt x="119446" y="5886"/>
                      </a:cubicBezTo>
                      <a:cubicBezTo>
                        <a:pt x="137996" y="15312"/>
                        <a:pt x="149709" y="30242"/>
                        <a:pt x="153304" y="48994"/>
                      </a:cubicBezTo>
                      <a:cubicBezTo>
                        <a:pt x="156521" y="65759"/>
                        <a:pt x="153002" y="85466"/>
                        <a:pt x="144079" y="104016"/>
                      </a:cubicBezTo>
                      <a:lnTo>
                        <a:pt x="134578" y="104016"/>
                      </a:lnTo>
                      <a:cubicBezTo>
                        <a:pt x="144054" y="86019"/>
                        <a:pt x="148000" y="66740"/>
                        <a:pt x="144908" y="50602"/>
                      </a:cubicBezTo>
                      <a:cubicBezTo>
                        <a:pt x="141792" y="34264"/>
                        <a:pt x="131913" y="21797"/>
                        <a:pt x="115550" y="13477"/>
                      </a:cubicBezTo>
                      <a:cubicBezTo>
                        <a:pt x="93807" y="2417"/>
                        <a:pt x="81340" y="12245"/>
                        <a:pt x="66862" y="23632"/>
                      </a:cubicBezTo>
                      <a:cubicBezTo>
                        <a:pt x="56455" y="31851"/>
                        <a:pt x="44566" y="41202"/>
                        <a:pt x="28429" y="42182"/>
                      </a:cubicBezTo>
                      <a:cubicBezTo>
                        <a:pt x="19154" y="42861"/>
                        <a:pt x="9552" y="40372"/>
                        <a:pt x="0" y="35948"/>
                      </a:cubicBezTo>
                      <a:close/>
                    </a:path>
                  </a:pathLst>
                </a:custGeom>
                <a:solidFill>
                  <a:schemeClr val="tx1">
                    <a:alpha val="30000"/>
                  </a:schemeClr>
                </a:solidFill>
                <a:ln w="25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278" name="Group 277">
              <a:extLst>
                <a:ext uri="{FF2B5EF4-FFF2-40B4-BE49-F238E27FC236}">
                  <a16:creationId xmlns:a16="http://schemas.microsoft.com/office/drawing/2014/main" id="{AF62949A-45E9-395E-D5BB-DB337AF57C42}"/>
                </a:ext>
              </a:extLst>
            </p:cNvPr>
            <p:cNvGrpSpPr/>
            <p:nvPr/>
          </p:nvGrpSpPr>
          <p:grpSpPr>
            <a:xfrm>
              <a:off x="1604848" y="1611943"/>
              <a:ext cx="995040" cy="193738"/>
              <a:chOff x="4453006" y="-888970"/>
              <a:chExt cx="995040" cy="193738"/>
            </a:xfrm>
          </p:grpSpPr>
          <p:sp>
            <p:nvSpPr>
              <p:cNvPr id="32" name="Legend3">
                <a:extLst>
                  <a:ext uri="{FF2B5EF4-FFF2-40B4-BE49-F238E27FC236}">
                    <a16:creationId xmlns:a16="http://schemas.microsoft.com/office/drawing/2014/main" id="{3CA5E6E7-CB98-4EED-AEF8-8BE735211964}"/>
                  </a:ext>
                </a:extLst>
              </p:cNvPr>
              <p:cNvSpPr txBox="1">
                <a:spLocks/>
              </p:cNvSpPr>
              <p:nvPr/>
            </p:nvSpPr>
            <p:spPr>
              <a:xfrm>
                <a:off x="4731503" y="-884434"/>
                <a:ext cx="716543" cy="184666"/>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Processes</a:t>
                </a:r>
              </a:p>
            </p:txBody>
          </p:sp>
          <p:grpSp>
            <p:nvGrpSpPr>
              <p:cNvPr id="270" name="Group 269">
                <a:extLst>
                  <a:ext uri="{FF2B5EF4-FFF2-40B4-BE49-F238E27FC236}">
                    <a16:creationId xmlns:a16="http://schemas.microsoft.com/office/drawing/2014/main" id="{31833820-8EB0-326D-F258-3329B94D0DAC}"/>
                  </a:ext>
                </a:extLst>
              </p:cNvPr>
              <p:cNvGrpSpPr>
                <a:grpSpLocks noChangeAspect="1"/>
              </p:cNvGrpSpPr>
              <p:nvPr/>
            </p:nvGrpSpPr>
            <p:grpSpPr>
              <a:xfrm>
                <a:off x="4453006" y="-888970"/>
                <a:ext cx="193738" cy="193738"/>
                <a:chOff x="2355627" y="-866838"/>
                <a:chExt cx="345140" cy="268401"/>
              </a:xfrm>
            </p:grpSpPr>
            <p:sp>
              <p:nvSpPr>
                <p:cNvPr id="255" name="Freeform: Shape 254">
                  <a:extLst>
                    <a:ext uri="{FF2B5EF4-FFF2-40B4-BE49-F238E27FC236}">
                      <a16:creationId xmlns:a16="http://schemas.microsoft.com/office/drawing/2014/main" id="{63EA9898-C806-3319-CE61-6091512BE3C6}"/>
                    </a:ext>
                  </a:extLst>
                </p:cNvPr>
                <p:cNvSpPr/>
                <p:nvPr/>
              </p:nvSpPr>
              <p:spPr>
                <a:xfrm>
                  <a:off x="2355652" y="-866838"/>
                  <a:ext cx="345115" cy="268401"/>
                </a:xfrm>
                <a:custGeom>
                  <a:avLst/>
                  <a:gdLst>
                    <a:gd name="connsiteX0" fmla="*/ 0 w 345115"/>
                    <a:gd name="connsiteY0" fmla="*/ 0 h 268401"/>
                    <a:gd name="connsiteX1" fmla="*/ 345116 w 345115"/>
                    <a:gd name="connsiteY1" fmla="*/ 0 h 268401"/>
                    <a:gd name="connsiteX2" fmla="*/ 345116 w 345115"/>
                    <a:gd name="connsiteY2" fmla="*/ 268401 h 268401"/>
                    <a:gd name="connsiteX3" fmla="*/ 0 w 345115"/>
                    <a:gd name="connsiteY3" fmla="*/ 268401 h 268401"/>
                  </a:gdLst>
                  <a:ahLst/>
                  <a:cxnLst>
                    <a:cxn ang="0">
                      <a:pos x="connsiteX0" y="connsiteY0"/>
                    </a:cxn>
                    <a:cxn ang="0">
                      <a:pos x="connsiteX1" y="connsiteY1"/>
                    </a:cxn>
                    <a:cxn ang="0">
                      <a:pos x="connsiteX2" y="connsiteY2"/>
                    </a:cxn>
                    <a:cxn ang="0">
                      <a:pos x="connsiteX3" y="connsiteY3"/>
                    </a:cxn>
                  </a:cxnLst>
                  <a:rect l="l" t="t" r="r" b="b"/>
                  <a:pathLst>
                    <a:path w="345115" h="268401">
                      <a:moveTo>
                        <a:pt x="0" y="0"/>
                      </a:moveTo>
                      <a:lnTo>
                        <a:pt x="345116" y="0"/>
                      </a:lnTo>
                      <a:lnTo>
                        <a:pt x="345116" y="268401"/>
                      </a:lnTo>
                      <a:lnTo>
                        <a:pt x="0" y="268401"/>
                      </a:lnTo>
                      <a:close/>
                    </a:path>
                  </a:pathLst>
                </a:cu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C9673"/>
                    </a:solidFill>
                    <a:effectLst/>
                    <a:uLnTx/>
                    <a:uFillTx/>
                    <a:latin typeface="Arial" panose="020B0604020202020204"/>
                    <a:ea typeface="+mn-ea"/>
                    <a:cs typeface="+mn-cs"/>
                  </a:endParaRPr>
                </a:p>
              </p:txBody>
            </p:sp>
            <p:sp>
              <p:nvSpPr>
                <p:cNvPr id="256" name="Freeform: Shape 255">
                  <a:extLst>
                    <a:ext uri="{FF2B5EF4-FFF2-40B4-BE49-F238E27FC236}">
                      <a16:creationId xmlns:a16="http://schemas.microsoft.com/office/drawing/2014/main" id="{042ED5EE-8E97-1996-5C6B-E2FF2BB8294D}"/>
                    </a:ext>
                  </a:extLst>
                </p:cNvPr>
                <p:cNvSpPr/>
                <p:nvPr/>
              </p:nvSpPr>
              <p:spPr>
                <a:xfrm>
                  <a:off x="2355627" y="-839917"/>
                  <a:ext cx="345115" cy="209950"/>
                </a:xfrm>
                <a:custGeom>
                  <a:avLst/>
                  <a:gdLst>
                    <a:gd name="connsiteX0" fmla="*/ 345116 w 345115"/>
                    <a:gd name="connsiteY0" fmla="*/ 10080 h 209950"/>
                    <a:gd name="connsiteX1" fmla="*/ 345116 w 345115"/>
                    <a:gd name="connsiteY1" fmla="*/ 0 h 209950"/>
                    <a:gd name="connsiteX2" fmla="*/ 303063 w 345115"/>
                    <a:gd name="connsiteY2" fmla="*/ 71361 h 209950"/>
                    <a:gd name="connsiteX3" fmla="*/ 160945 w 345115"/>
                    <a:gd name="connsiteY3" fmla="*/ 200333 h 209950"/>
                    <a:gd name="connsiteX4" fmla="*/ 101549 w 345115"/>
                    <a:gd name="connsiteY4" fmla="*/ 158105 h 209950"/>
                    <a:gd name="connsiteX5" fmla="*/ 89886 w 345115"/>
                    <a:gd name="connsiteY5" fmla="*/ 144004 h 209950"/>
                    <a:gd name="connsiteX6" fmla="*/ 0 w 345115"/>
                    <a:gd name="connsiteY6" fmla="*/ 94813 h 209950"/>
                    <a:gd name="connsiteX7" fmla="*/ 0 w 345115"/>
                    <a:gd name="connsiteY7" fmla="*/ 103434 h 209950"/>
                    <a:gd name="connsiteX8" fmla="*/ 83401 w 345115"/>
                    <a:gd name="connsiteY8" fmla="*/ 149634 h 209950"/>
                    <a:gd name="connsiteX9" fmla="*/ 94888 w 345115"/>
                    <a:gd name="connsiteY9" fmla="*/ 163509 h 209950"/>
                    <a:gd name="connsiteX10" fmla="*/ 159688 w 345115"/>
                    <a:gd name="connsiteY10" fmla="*/ 208804 h 209950"/>
                    <a:gd name="connsiteX11" fmla="*/ 311409 w 345115"/>
                    <a:gd name="connsiteY11" fmla="*/ 73271 h 209950"/>
                    <a:gd name="connsiteX12" fmla="*/ 345116 w 345115"/>
                    <a:gd name="connsiteY12" fmla="*/ 10080 h 20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5115" h="209950">
                      <a:moveTo>
                        <a:pt x="345116" y="10080"/>
                      </a:moveTo>
                      <a:lnTo>
                        <a:pt x="345116" y="0"/>
                      </a:lnTo>
                      <a:cubicBezTo>
                        <a:pt x="323398" y="13624"/>
                        <a:pt x="311082" y="36120"/>
                        <a:pt x="303063" y="71361"/>
                      </a:cubicBezTo>
                      <a:cubicBezTo>
                        <a:pt x="290345" y="127288"/>
                        <a:pt x="240475" y="211770"/>
                        <a:pt x="160945" y="200333"/>
                      </a:cubicBezTo>
                      <a:cubicBezTo>
                        <a:pt x="132139" y="196186"/>
                        <a:pt x="117963" y="178565"/>
                        <a:pt x="101549" y="158105"/>
                      </a:cubicBezTo>
                      <a:cubicBezTo>
                        <a:pt x="97854" y="153530"/>
                        <a:pt x="94008" y="148729"/>
                        <a:pt x="89886" y="144004"/>
                      </a:cubicBezTo>
                      <a:cubicBezTo>
                        <a:pt x="65152" y="115575"/>
                        <a:pt x="33431" y="98482"/>
                        <a:pt x="0" y="94813"/>
                      </a:cubicBezTo>
                      <a:lnTo>
                        <a:pt x="0" y="103434"/>
                      </a:lnTo>
                      <a:cubicBezTo>
                        <a:pt x="30892" y="107079"/>
                        <a:pt x="60351" y="123141"/>
                        <a:pt x="83401" y="149634"/>
                      </a:cubicBezTo>
                      <a:cubicBezTo>
                        <a:pt x="87398" y="154209"/>
                        <a:pt x="91193" y="158934"/>
                        <a:pt x="94888" y="163509"/>
                      </a:cubicBezTo>
                      <a:cubicBezTo>
                        <a:pt x="111679" y="184422"/>
                        <a:pt x="127590" y="204179"/>
                        <a:pt x="159688" y="208804"/>
                      </a:cubicBezTo>
                      <a:cubicBezTo>
                        <a:pt x="244974" y="221070"/>
                        <a:pt x="298011" y="132164"/>
                        <a:pt x="311409" y="73271"/>
                      </a:cubicBezTo>
                      <a:cubicBezTo>
                        <a:pt x="318422" y="42681"/>
                        <a:pt x="328099" y="22723"/>
                        <a:pt x="345116" y="10080"/>
                      </a:cubicBezTo>
                      <a:close/>
                    </a:path>
                  </a:pathLst>
                </a:custGeom>
                <a:solidFill>
                  <a:schemeClr val="tx1">
                    <a:alpha val="30000"/>
                  </a:schemeClr>
                </a:solidFill>
                <a:ln w="25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7" name="Freeform: Shape 256">
                  <a:extLst>
                    <a:ext uri="{FF2B5EF4-FFF2-40B4-BE49-F238E27FC236}">
                      <a16:creationId xmlns:a16="http://schemas.microsoft.com/office/drawing/2014/main" id="{0A344AB8-F848-671D-FC89-FCAAAF3E1976}"/>
                    </a:ext>
                  </a:extLst>
                </p:cNvPr>
                <p:cNvSpPr/>
                <p:nvPr/>
              </p:nvSpPr>
              <p:spPr>
                <a:xfrm>
                  <a:off x="2355652" y="-866838"/>
                  <a:ext cx="270688" cy="126074"/>
                </a:xfrm>
                <a:custGeom>
                  <a:avLst/>
                  <a:gdLst>
                    <a:gd name="connsiteX0" fmla="*/ 270688 w 270688"/>
                    <a:gd name="connsiteY0" fmla="*/ 0 h 126074"/>
                    <a:gd name="connsiteX1" fmla="*/ 261991 w 270688"/>
                    <a:gd name="connsiteY1" fmla="*/ 0 h 126074"/>
                    <a:gd name="connsiteX2" fmla="*/ 194627 w 270688"/>
                    <a:gd name="connsiteY2" fmla="*/ 104138 h 126074"/>
                    <a:gd name="connsiteX3" fmla="*/ 0 w 270688"/>
                    <a:gd name="connsiteY3" fmla="*/ 85035 h 126074"/>
                    <a:gd name="connsiteX4" fmla="*/ 0 w 270688"/>
                    <a:gd name="connsiteY4" fmla="*/ 94461 h 126074"/>
                    <a:gd name="connsiteX5" fmla="*/ 42907 w 270688"/>
                    <a:gd name="connsiteY5" fmla="*/ 110673 h 126074"/>
                    <a:gd name="connsiteX6" fmla="*/ 198498 w 270688"/>
                    <a:gd name="connsiteY6" fmla="*/ 111830 h 126074"/>
                    <a:gd name="connsiteX7" fmla="*/ 270688 w 270688"/>
                    <a:gd name="connsiteY7" fmla="*/ 0 h 1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688" h="126074">
                      <a:moveTo>
                        <a:pt x="270688" y="0"/>
                      </a:moveTo>
                      <a:lnTo>
                        <a:pt x="261991" y="0"/>
                      </a:lnTo>
                      <a:cubicBezTo>
                        <a:pt x="252214" y="51604"/>
                        <a:pt x="229642" y="86568"/>
                        <a:pt x="194627" y="104138"/>
                      </a:cubicBezTo>
                      <a:cubicBezTo>
                        <a:pt x="133723" y="134703"/>
                        <a:pt x="48211" y="106249"/>
                        <a:pt x="0" y="85035"/>
                      </a:cubicBezTo>
                      <a:lnTo>
                        <a:pt x="0" y="94461"/>
                      </a:lnTo>
                      <a:cubicBezTo>
                        <a:pt x="12417" y="99865"/>
                        <a:pt x="27097" y="105596"/>
                        <a:pt x="42907" y="110673"/>
                      </a:cubicBezTo>
                      <a:cubicBezTo>
                        <a:pt x="106048" y="130807"/>
                        <a:pt x="159839" y="131209"/>
                        <a:pt x="198498" y="111830"/>
                      </a:cubicBezTo>
                      <a:cubicBezTo>
                        <a:pt x="236328" y="92802"/>
                        <a:pt x="260584" y="55249"/>
                        <a:pt x="270688" y="0"/>
                      </a:cubicBezTo>
                      <a:close/>
                    </a:path>
                  </a:pathLst>
                </a:custGeom>
                <a:solidFill>
                  <a:schemeClr val="tx1">
                    <a:alpha val="30000"/>
                  </a:schemeClr>
                </a:solidFill>
                <a:ln w="25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231" name="Group 230">
              <a:extLst>
                <a:ext uri="{FF2B5EF4-FFF2-40B4-BE49-F238E27FC236}">
                  <a16:creationId xmlns:a16="http://schemas.microsoft.com/office/drawing/2014/main" id="{D9717E9C-231E-9FB4-72CA-0BCC2A294054}"/>
                </a:ext>
              </a:extLst>
            </p:cNvPr>
            <p:cNvGrpSpPr/>
            <p:nvPr/>
          </p:nvGrpSpPr>
          <p:grpSpPr>
            <a:xfrm>
              <a:off x="4903528" y="1610514"/>
              <a:ext cx="901496" cy="196597"/>
              <a:chOff x="4772656" y="1605401"/>
              <a:chExt cx="901496" cy="196597"/>
            </a:xfrm>
          </p:grpSpPr>
          <p:sp>
            <p:nvSpPr>
              <p:cNvPr id="31" name="Legend2">
                <a:extLst>
                  <a:ext uri="{FF2B5EF4-FFF2-40B4-BE49-F238E27FC236}">
                    <a16:creationId xmlns:a16="http://schemas.microsoft.com/office/drawing/2014/main" id="{7B003E94-C67A-4365-A034-F7AC3DE2FE41}"/>
                  </a:ext>
                </a:extLst>
              </p:cNvPr>
              <p:cNvSpPr txBox="1">
                <a:spLocks/>
              </p:cNvSpPr>
              <p:nvPr/>
            </p:nvSpPr>
            <p:spPr>
              <a:xfrm>
                <a:off x="5053789" y="1617332"/>
                <a:ext cx="620363" cy="184666"/>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Buildings</a:t>
                </a:r>
              </a:p>
            </p:txBody>
          </p:sp>
          <p:grpSp>
            <p:nvGrpSpPr>
              <p:cNvPr id="269" name="Group 268">
                <a:extLst>
                  <a:ext uri="{FF2B5EF4-FFF2-40B4-BE49-F238E27FC236}">
                    <a16:creationId xmlns:a16="http://schemas.microsoft.com/office/drawing/2014/main" id="{0F0C4D84-3B62-7D62-D749-D53F02754605}"/>
                  </a:ext>
                </a:extLst>
              </p:cNvPr>
              <p:cNvGrpSpPr>
                <a:grpSpLocks noChangeAspect="1"/>
              </p:cNvGrpSpPr>
              <p:nvPr/>
            </p:nvGrpSpPr>
            <p:grpSpPr>
              <a:xfrm>
                <a:off x="4772656" y="1605401"/>
                <a:ext cx="193741" cy="193738"/>
                <a:chOff x="2355648" y="-1403135"/>
                <a:chExt cx="345119" cy="268400"/>
              </a:xfrm>
            </p:grpSpPr>
            <p:sp>
              <p:nvSpPr>
                <p:cNvPr id="260" name="Freeform: Shape 259">
                  <a:extLst>
                    <a:ext uri="{FF2B5EF4-FFF2-40B4-BE49-F238E27FC236}">
                      <a16:creationId xmlns:a16="http://schemas.microsoft.com/office/drawing/2014/main" id="{0B9540D4-45DC-44F6-72DE-716A105423C4}"/>
                    </a:ext>
                  </a:extLst>
                </p:cNvPr>
                <p:cNvSpPr/>
                <p:nvPr/>
              </p:nvSpPr>
              <p:spPr>
                <a:xfrm>
                  <a:off x="2355648" y="-1403135"/>
                  <a:ext cx="345114" cy="268400"/>
                </a:xfrm>
                <a:custGeom>
                  <a:avLst/>
                  <a:gdLst>
                    <a:gd name="connsiteX0" fmla="*/ 0 w 345115"/>
                    <a:gd name="connsiteY0" fmla="*/ 0 h 268401"/>
                    <a:gd name="connsiteX1" fmla="*/ 345116 w 345115"/>
                    <a:gd name="connsiteY1" fmla="*/ 0 h 268401"/>
                    <a:gd name="connsiteX2" fmla="*/ 345116 w 345115"/>
                    <a:gd name="connsiteY2" fmla="*/ 268401 h 268401"/>
                    <a:gd name="connsiteX3" fmla="*/ 0 w 345115"/>
                    <a:gd name="connsiteY3" fmla="*/ 268401 h 268401"/>
                  </a:gdLst>
                  <a:ahLst/>
                  <a:cxnLst>
                    <a:cxn ang="0">
                      <a:pos x="connsiteX0" y="connsiteY0"/>
                    </a:cxn>
                    <a:cxn ang="0">
                      <a:pos x="connsiteX1" y="connsiteY1"/>
                    </a:cxn>
                    <a:cxn ang="0">
                      <a:pos x="connsiteX2" y="connsiteY2"/>
                    </a:cxn>
                    <a:cxn ang="0">
                      <a:pos x="connsiteX3" y="connsiteY3"/>
                    </a:cxn>
                  </a:cxnLst>
                  <a:rect l="l" t="t" r="r" b="b"/>
                  <a:pathLst>
                    <a:path w="345115" h="268401">
                      <a:moveTo>
                        <a:pt x="0" y="0"/>
                      </a:moveTo>
                      <a:lnTo>
                        <a:pt x="345116" y="0"/>
                      </a:lnTo>
                      <a:lnTo>
                        <a:pt x="345116" y="268401"/>
                      </a:lnTo>
                      <a:lnTo>
                        <a:pt x="0" y="268401"/>
                      </a:lnTo>
                      <a:close/>
                    </a:path>
                  </a:pathLst>
                </a:cu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C9673"/>
                    </a:solidFill>
                    <a:effectLst/>
                    <a:uLnTx/>
                    <a:uFillTx/>
                    <a:latin typeface="Arial" panose="020B0604020202020204"/>
                    <a:ea typeface="+mn-ea"/>
                    <a:cs typeface="+mn-cs"/>
                  </a:endParaRPr>
                </a:p>
              </p:txBody>
            </p:sp>
            <p:sp>
              <p:nvSpPr>
                <p:cNvPr id="261" name="Freeform: Shape 260">
                  <a:extLst>
                    <a:ext uri="{FF2B5EF4-FFF2-40B4-BE49-F238E27FC236}">
                      <a16:creationId xmlns:a16="http://schemas.microsoft.com/office/drawing/2014/main" id="{C09731B6-2B69-4637-8FD4-9DDCCEB2535D}"/>
                    </a:ext>
                  </a:extLst>
                </p:cNvPr>
                <p:cNvSpPr/>
                <p:nvPr/>
              </p:nvSpPr>
              <p:spPr>
                <a:xfrm>
                  <a:off x="2355652" y="-1371607"/>
                  <a:ext cx="345115" cy="209950"/>
                </a:xfrm>
                <a:custGeom>
                  <a:avLst/>
                  <a:gdLst>
                    <a:gd name="connsiteX0" fmla="*/ 0 w 345115"/>
                    <a:gd name="connsiteY0" fmla="*/ 199871 h 209950"/>
                    <a:gd name="connsiteX1" fmla="*/ 0 w 345115"/>
                    <a:gd name="connsiteY1" fmla="*/ 209950 h 209950"/>
                    <a:gd name="connsiteX2" fmla="*/ 42052 w 345115"/>
                    <a:gd name="connsiteY2" fmla="*/ 138590 h 209950"/>
                    <a:gd name="connsiteX3" fmla="*/ 184171 w 345115"/>
                    <a:gd name="connsiteY3" fmla="*/ 9617 h 209950"/>
                    <a:gd name="connsiteX4" fmla="*/ 243567 w 345115"/>
                    <a:gd name="connsiteY4" fmla="*/ 51846 h 209950"/>
                    <a:gd name="connsiteX5" fmla="*/ 255230 w 345115"/>
                    <a:gd name="connsiteY5" fmla="*/ 65947 h 209950"/>
                    <a:gd name="connsiteX6" fmla="*/ 345116 w 345115"/>
                    <a:gd name="connsiteY6" fmla="*/ 115138 h 209950"/>
                    <a:gd name="connsiteX7" fmla="*/ 345116 w 345115"/>
                    <a:gd name="connsiteY7" fmla="*/ 106516 h 209950"/>
                    <a:gd name="connsiteX8" fmla="*/ 261715 w 345115"/>
                    <a:gd name="connsiteY8" fmla="*/ 60316 h 209950"/>
                    <a:gd name="connsiteX9" fmla="*/ 250228 w 345115"/>
                    <a:gd name="connsiteY9" fmla="*/ 46441 h 209950"/>
                    <a:gd name="connsiteX10" fmla="*/ 185427 w 345115"/>
                    <a:gd name="connsiteY10" fmla="*/ 1146 h 209950"/>
                    <a:gd name="connsiteX11" fmla="*/ 33707 w 345115"/>
                    <a:gd name="connsiteY11" fmla="*/ 136679 h 209950"/>
                    <a:gd name="connsiteX12" fmla="*/ 0 w 345115"/>
                    <a:gd name="connsiteY12" fmla="*/ 199871 h 20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5115" h="209950">
                      <a:moveTo>
                        <a:pt x="0" y="199871"/>
                      </a:moveTo>
                      <a:lnTo>
                        <a:pt x="0" y="209950"/>
                      </a:lnTo>
                      <a:cubicBezTo>
                        <a:pt x="21717" y="196327"/>
                        <a:pt x="34034" y="173830"/>
                        <a:pt x="42052" y="138590"/>
                      </a:cubicBezTo>
                      <a:cubicBezTo>
                        <a:pt x="54771" y="82662"/>
                        <a:pt x="104641" y="-1820"/>
                        <a:pt x="184171" y="9617"/>
                      </a:cubicBezTo>
                      <a:cubicBezTo>
                        <a:pt x="212976" y="13765"/>
                        <a:pt x="227153" y="31385"/>
                        <a:pt x="243567" y="51846"/>
                      </a:cubicBezTo>
                      <a:cubicBezTo>
                        <a:pt x="247262" y="56420"/>
                        <a:pt x="251108" y="61221"/>
                        <a:pt x="255230" y="65947"/>
                      </a:cubicBezTo>
                      <a:cubicBezTo>
                        <a:pt x="279964" y="94376"/>
                        <a:pt x="311685" y="111468"/>
                        <a:pt x="345116" y="115138"/>
                      </a:cubicBezTo>
                      <a:lnTo>
                        <a:pt x="345116" y="106516"/>
                      </a:lnTo>
                      <a:cubicBezTo>
                        <a:pt x="314224" y="102871"/>
                        <a:pt x="284765" y="86810"/>
                        <a:pt x="261715" y="60316"/>
                      </a:cubicBezTo>
                      <a:cubicBezTo>
                        <a:pt x="257718" y="55742"/>
                        <a:pt x="253923" y="51016"/>
                        <a:pt x="250228" y="46441"/>
                      </a:cubicBezTo>
                      <a:cubicBezTo>
                        <a:pt x="233437" y="25528"/>
                        <a:pt x="217526" y="5771"/>
                        <a:pt x="185427" y="1146"/>
                      </a:cubicBezTo>
                      <a:cubicBezTo>
                        <a:pt x="100141" y="-11120"/>
                        <a:pt x="47105" y="77786"/>
                        <a:pt x="33707" y="136679"/>
                      </a:cubicBezTo>
                      <a:cubicBezTo>
                        <a:pt x="26694" y="167270"/>
                        <a:pt x="17017" y="187228"/>
                        <a:pt x="0" y="199871"/>
                      </a:cubicBezTo>
                      <a:close/>
                    </a:path>
                  </a:pathLst>
                </a:custGeom>
                <a:solidFill>
                  <a:schemeClr val="tx1">
                    <a:alpha val="30000"/>
                  </a:schemeClr>
                </a:solidFill>
                <a:ln w="25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2" name="Freeform: Shape 261">
                  <a:extLst>
                    <a:ext uri="{FF2B5EF4-FFF2-40B4-BE49-F238E27FC236}">
                      <a16:creationId xmlns:a16="http://schemas.microsoft.com/office/drawing/2014/main" id="{E9636CDD-A60A-8786-34C2-FAB4807E7827}"/>
                    </a:ext>
                  </a:extLst>
                </p:cNvPr>
                <p:cNvSpPr/>
                <p:nvPr/>
              </p:nvSpPr>
              <p:spPr>
                <a:xfrm>
                  <a:off x="2430054" y="-1260811"/>
                  <a:ext cx="270688" cy="126074"/>
                </a:xfrm>
                <a:custGeom>
                  <a:avLst/>
                  <a:gdLst>
                    <a:gd name="connsiteX0" fmla="*/ 0 w 270688"/>
                    <a:gd name="connsiteY0" fmla="*/ 126075 h 126074"/>
                    <a:gd name="connsiteX1" fmla="*/ 8697 w 270688"/>
                    <a:gd name="connsiteY1" fmla="*/ 126075 h 126074"/>
                    <a:gd name="connsiteX2" fmla="*/ 76061 w 270688"/>
                    <a:gd name="connsiteY2" fmla="*/ 21937 h 126074"/>
                    <a:gd name="connsiteX3" fmla="*/ 270688 w 270688"/>
                    <a:gd name="connsiteY3" fmla="*/ 41040 h 126074"/>
                    <a:gd name="connsiteX4" fmla="*/ 270688 w 270688"/>
                    <a:gd name="connsiteY4" fmla="*/ 31614 h 126074"/>
                    <a:gd name="connsiteX5" fmla="*/ 227781 w 270688"/>
                    <a:gd name="connsiteY5" fmla="*/ 15401 h 126074"/>
                    <a:gd name="connsiteX6" fmla="*/ 72190 w 270688"/>
                    <a:gd name="connsiteY6" fmla="*/ 14245 h 126074"/>
                    <a:gd name="connsiteX7" fmla="*/ 0 w 270688"/>
                    <a:gd name="connsiteY7" fmla="*/ 126075 h 1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688" h="126074">
                      <a:moveTo>
                        <a:pt x="0" y="126075"/>
                      </a:moveTo>
                      <a:lnTo>
                        <a:pt x="8697" y="126075"/>
                      </a:lnTo>
                      <a:cubicBezTo>
                        <a:pt x="18475" y="74471"/>
                        <a:pt x="41047" y="39507"/>
                        <a:pt x="76061" y="21937"/>
                      </a:cubicBezTo>
                      <a:cubicBezTo>
                        <a:pt x="136965" y="-8628"/>
                        <a:pt x="222478" y="19825"/>
                        <a:pt x="270688" y="41040"/>
                      </a:cubicBezTo>
                      <a:lnTo>
                        <a:pt x="270688" y="31614"/>
                      </a:lnTo>
                      <a:cubicBezTo>
                        <a:pt x="258271" y="26210"/>
                        <a:pt x="243592" y="20479"/>
                        <a:pt x="227781" y="15401"/>
                      </a:cubicBezTo>
                      <a:cubicBezTo>
                        <a:pt x="164640" y="-4732"/>
                        <a:pt x="110849" y="-5135"/>
                        <a:pt x="72190" y="14245"/>
                      </a:cubicBezTo>
                      <a:cubicBezTo>
                        <a:pt x="34361" y="33273"/>
                        <a:pt x="10105" y="70826"/>
                        <a:pt x="0" y="126075"/>
                      </a:cubicBezTo>
                      <a:close/>
                    </a:path>
                  </a:pathLst>
                </a:custGeom>
                <a:solidFill>
                  <a:schemeClr val="tx1">
                    <a:alpha val="30000"/>
                  </a:schemeClr>
                </a:solidFill>
                <a:ln w="25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233" name="Group 232">
              <a:extLst>
                <a:ext uri="{FF2B5EF4-FFF2-40B4-BE49-F238E27FC236}">
                  <a16:creationId xmlns:a16="http://schemas.microsoft.com/office/drawing/2014/main" id="{AE16D309-00E2-EFDD-3A9C-D8A0AE53BE7F}"/>
                </a:ext>
              </a:extLst>
            </p:cNvPr>
            <p:cNvGrpSpPr/>
            <p:nvPr/>
          </p:nvGrpSpPr>
          <p:grpSpPr>
            <a:xfrm>
              <a:off x="5951974" y="1611943"/>
              <a:ext cx="884751" cy="193738"/>
              <a:chOff x="5951974" y="1618486"/>
              <a:chExt cx="884751" cy="193738"/>
            </a:xfrm>
          </p:grpSpPr>
          <p:grpSp>
            <p:nvGrpSpPr>
              <p:cNvPr id="232" name="Group 231">
                <a:extLst>
                  <a:ext uri="{FF2B5EF4-FFF2-40B4-BE49-F238E27FC236}">
                    <a16:creationId xmlns:a16="http://schemas.microsoft.com/office/drawing/2014/main" id="{0C29C954-B69F-CAE5-A36D-841EC14E468B}"/>
                  </a:ext>
                </a:extLst>
              </p:cNvPr>
              <p:cNvGrpSpPr/>
              <p:nvPr/>
            </p:nvGrpSpPr>
            <p:grpSpPr>
              <a:xfrm>
                <a:off x="5951974" y="1618486"/>
                <a:ext cx="884751" cy="193738"/>
                <a:chOff x="5654260" y="1618486"/>
                <a:chExt cx="884751" cy="193738"/>
              </a:xfrm>
            </p:grpSpPr>
            <p:sp>
              <p:nvSpPr>
                <p:cNvPr id="30" name="Legend1">
                  <a:extLst>
                    <a:ext uri="{FF2B5EF4-FFF2-40B4-BE49-F238E27FC236}">
                      <a16:creationId xmlns:a16="http://schemas.microsoft.com/office/drawing/2014/main" id="{F7167918-8999-4A03-A4AC-1092EA66D72E}"/>
                    </a:ext>
                  </a:extLst>
                </p:cNvPr>
                <p:cNvSpPr txBox="1">
                  <a:spLocks/>
                </p:cNvSpPr>
                <p:nvPr/>
              </p:nvSpPr>
              <p:spPr>
                <a:xfrm>
                  <a:off x="5933076" y="1623022"/>
                  <a:ext cx="605935" cy="184666"/>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oftware</a:t>
                  </a:r>
                </a:p>
              </p:txBody>
            </p:sp>
            <p:sp>
              <p:nvSpPr>
                <p:cNvPr id="264" name="Freeform: Shape 263">
                  <a:extLst>
                    <a:ext uri="{FF2B5EF4-FFF2-40B4-BE49-F238E27FC236}">
                      <a16:creationId xmlns:a16="http://schemas.microsoft.com/office/drawing/2014/main" id="{D78649C9-A503-EC5F-921F-CB345D6F5A05}"/>
                    </a:ext>
                  </a:extLst>
                </p:cNvPr>
                <p:cNvSpPr/>
                <p:nvPr/>
              </p:nvSpPr>
              <p:spPr>
                <a:xfrm>
                  <a:off x="5654260" y="1618486"/>
                  <a:ext cx="193738" cy="193738"/>
                </a:xfrm>
                <a:custGeom>
                  <a:avLst/>
                  <a:gdLst>
                    <a:gd name="connsiteX0" fmla="*/ 0 w 345115"/>
                    <a:gd name="connsiteY0" fmla="*/ 0 h 268401"/>
                    <a:gd name="connsiteX1" fmla="*/ 345116 w 345115"/>
                    <a:gd name="connsiteY1" fmla="*/ 0 h 268401"/>
                    <a:gd name="connsiteX2" fmla="*/ 345116 w 345115"/>
                    <a:gd name="connsiteY2" fmla="*/ 268401 h 268401"/>
                    <a:gd name="connsiteX3" fmla="*/ 0 w 345115"/>
                    <a:gd name="connsiteY3" fmla="*/ 268401 h 268401"/>
                  </a:gdLst>
                  <a:ahLst/>
                  <a:cxnLst>
                    <a:cxn ang="0">
                      <a:pos x="connsiteX0" y="connsiteY0"/>
                    </a:cxn>
                    <a:cxn ang="0">
                      <a:pos x="connsiteX1" y="connsiteY1"/>
                    </a:cxn>
                    <a:cxn ang="0">
                      <a:pos x="connsiteX2" y="connsiteY2"/>
                    </a:cxn>
                    <a:cxn ang="0">
                      <a:pos x="connsiteX3" y="connsiteY3"/>
                    </a:cxn>
                  </a:cxnLst>
                  <a:rect l="l" t="t" r="r" b="b"/>
                  <a:pathLst>
                    <a:path w="345115" h="268401">
                      <a:moveTo>
                        <a:pt x="0" y="0"/>
                      </a:moveTo>
                      <a:lnTo>
                        <a:pt x="345116" y="0"/>
                      </a:lnTo>
                      <a:lnTo>
                        <a:pt x="345116" y="268401"/>
                      </a:lnTo>
                      <a:lnTo>
                        <a:pt x="0" y="268401"/>
                      </a:lnTo>
                      <a:close/>
                    </a:path>
                  </a:pathLst>
                </a:cu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268" name="Group 267">
                <a:extLst>
                  <a:ext uri="{FF2B5EF4-FFF2-40B4-BE49-F238E27FC236}">
                    <a16:creationId xmlns:a16="http://schemas.microsoft.com/office/drawing/2014/main" id="{7A5DC1AA-4CF2-1875-9669-A137D765BACA}"/>
                  </a:ext>
                </a:extLst>
              </p:cNvPr>
              <p:cNvGrpSpPr/>
              <p:nvPr/>
            </p:nvGrpSpPr>
            <p:grpSpPr>
              <a:xfrm>
                <a:off x="5951974" y="1631020"/>
                <a:ext cx="193738" cy="170978"/>
                <a:chOff x="2889052" y="-1371607"/>
                <a:chExt cx="345115" cy="236870"/>
              </a:xfrm>
            </p:grpSpPr>
            <p:sp>
              <p:nvSpPr>
                <p:cNvPr id="265" name="Freeform: Shape 264">
                  <a:extLst>
                    <a:ext uri="{FF2B5EF4-FFF2-40B4-BE49-F238E27FC236}">
                      <a16:creationId xmlns:a16="http://schemas.microsoft.com/office/drawing/2014/main" id="{4828141C-9A4F-CB40-0DC4-E55BC17D2B7B}"/>
                    </a:ext>
                  </a:extLst>
                </p:cNvPr>
                <p:cNvSpPr/>
                <p:nvPr/>
              </p:nvSpPr>
              <p:spPr>
                <a:xfrm flipV="1">
                  <a:off x="2889052" y="-1344687"/>
                  <a:ext cx="345115" cy="209950"/>
                </a:xfrm>
                <a:custGeom>
                  <a:avLst/>
                  <a:gdLst>
                    <a:gd name="connsiteX0" fmla="*/ 0 w 345115"/>
                    <a:gd name="connsiteY0" fmla="*/ 199871 h 209950"/>
                    <a:gd name="connsiteX1" fmla="*/ 0 w 345115"/>
                    <a:gd name="connsiteY1" fmla="*/ 209950 h 209950"/>
                    <a:gd name="connsiteX2" fmla="*/ 42052 w 345115"/>
                    <a:gd name="connsiteY2" fmla="*/ 138590 h 209950"/>
                    <a:gd name="connsiteX3" fmla="*/ 184171 w 345115"/>
                    <a:gd name="connsiteY3" fmla="*/ 9617 h 209950"/>
                    <a:gd name="connsiteX4" fmla="*/ 243567 w 345115"/>
                    <a:gd name="connsiteY4" fmla="*/ 51846 h 209950"/>
                    <a:gd name="connsiteX5" fmla="*/ 255230 w 345115"/>
                    <a:gd name="connsiteY5" fmla="*/ 65947 h 209950"/>
                    <a:gd name="connsiteX6" fmla="*/ 345116 w 345115"/>
                    <a:gd name="connsiteY6" fmla="*/ 115138 h 209950"/>
                    <a:gd name="connsiteX7" fmla="*/ 345116 w 345115"/>
                    <a:gd name="connsiteY7" fmla="*/ 106516 h 209950"/>
                    <a:gd name="connsiteX8" fmla="*/ 261715 w 345115"/>
                    <a:gd name="connsiteY8" fmla="*/ 60316 h 209950"/>
                    <a:gd name="connsiteX9" fmla="*/ 250228 w 345115"/>
                    <a:gd name="connsiteY9" fmla="*/ 46441 h 209950"/>
                    <a:gd name="connsiteX10" fmla="*/ 185427 w 345115"/>
                    <a:gd name="connsiteY10" fmla="*/ 1146 h 209950"/>
                    <a:gd name="connsiteX11" fmla="*/ 33707 w 345115"/>
                    <a:gd name="connsiteY11" fmla="*/ 136679 h 209950"/>
                    <a:gd name="connsiteX12" fmla="*/ 0 w 345115"/>
                    <a:gd name="connsiteY12" fmla="*/ 199871 h 20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5115" h="209950">
                      <a:moveTo>
                        <a:pt x="0" y="199871"/>
                      </a:moveTo>
                      <a:lnTo>
                        <a:pt x="0" y="209950"/>
                      </a:lnTo>
                      <a:cubicBezTo>
                        <a:pt x="21717" y="196327"/>
                        <a:pt x="34034" y="173830"/>
                        <a:pt x="42052" y="138590"/>
                      </a:cubicBezTo>
                      <a:cubicBezTo>
                        <a:pt x="54771" y="82662"/>
                        <a:pt x="104641" y="-1820"/>
                        <a:pt x="184171" y="9617"/>
                      </a:cubicBezTo>
                      <a:cubicBezTo>
                        <a:pt x="212976" y="13765"/>
                        <a:pt x="227153" y="31385"/>
                        <a:pt x="243567" y="51846"/>
                      </a:cubicBezTo>
                      <a:cubicBezTo>
                        <a:pt x="247262" y="56420"/>
                        <a:pt x="251108" y="61221"/>
                        <a:pt x="255230" y="65947"/>
                      </a:cubicBezTo>
                      <a:cubicBezTo>
                        <a:pt x="279964" y="94376"/>
                        <a:pt x="311685" y="111468"/>
                        <a:pt x="345116" y="115138"/>
                      </a:cubicBezTo>
                      <a:lnTo>
                        <a:pt x="345116" y="106516"/>
                      </a:lnTo>
                      <a:cubicBezTo>
                        <a:pt x="314224" y="102871"/>
                        <a:pt x="284765" y="86810"/>
                        <a:pt x="261715" y="60316"/>
                      </a:cubicBezTo>
                      <a:cubicBezTo>
                        <a:pt x="257718" y="55742"/>
                        <a:pt x="253923" y="51016"/>
                        <a:pt x="250228" y="46441"/>
                      </a:cubicBezTo>
                      <a:cubicBezTo>
                        <a:pt x="233437" y="25528"/>
                        <a:pt x="217526" y="5771"/>
                        <a:pt x="185427" y="1146"/>
                      </a:cubicBezTo>
                      <a:cubicBezTo>
                        <a:pt x="100141" y="-11120"/>
                        <a:pt x="47105" y="77786"/>
                        <a:pt x="33707" y="136679"/>
                      </a:cubicBezTo>
                      <a:cubicBezTo>
                        <a:pt x="26694" y="167270"/>
                        <a:pt x="17017" y="187228"/>
                        <a:pt x="0" y="199871"/>
                      </a:cubicBezTo>
                      <a:close/>
                    </a:path>
                  </a:pathLst>
                </a:custGeom>
                <a:solidFill>
                  <a:schemeClr val="tx1">
                    <a:alpha val="30000"/>
                  </a:schemeClr>
                </a:solidFill>
                <a:ln w="25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6" name="Freeform: Shape 265">
                  <a:extLst>
                    <a:ext uri="{FF2B5EF4-FFF2-40B4-BE49-F238E27FC236}">
                      <a16:creationId xmlns:a16="http://schemas.microsoft.com/office/drawing/2014/main" id="{A324BADD-2772-2281-F12E-63F00D5DD67D}"/>
                    </a:ext>
                  </a:extLst>
                </p:cNvPr>
                <p:cNvSpPr/>
                <p:nvPr/>
              </p:nvSpPr>
              <p:spPr>
                <a:xfrm flipV="1">
                  <a:off x="2963454" y="-1371607"/>
                  <a:ext cx="270688" cy="126074"/>
                </a:xfrm>
                <a:custGeom>
                  <a:avLst/>
                  <a:gdLst>
                    <a:gd name="connsiteX0" fmla="*/ 0 w 270688"/>
                    <a:gd name="connsiteY0" fmla="*/ 126075 h 126074"/>
                    <a:gd name="connsiteX1" fmla="*/ 8697 w 270688"/>
                    <a:gd name="connsiteY1" fmla="*/ 126075 h 126074"/>
                    <a:gd name="connsiteX2" fmla="*/ 76061 w 270688"/>
                    <a:gd name="connsiteY2" fmla="*/ 21937 h 126074"/>
                    <a:gd name="connsiteX3" fmla="*/ 270688 w 270688"/>
                    <a:gd name="connsiteY3" fmla="*/ 41040 h 126074"/>
                    <a:gd name="connsiteX4" fmla="*/ 270688 w 270688"/>
                    <a:gd name="connsiteY4" fmla="*/ 31614 h 126074"/>
                    <a:gd name="connsiteX5" fmla="*/ 227781 w 270688"/>
                    <a:gd name="connsiteY5" fmla="*/ 15401 h 126074"/>
                    <a:gd name="connsiteX6" fmla="*/ 72190 w 270688"/>
                    <a:gd name="connsiteY6" fmla="*/ 14245 h 126074"/>
                    <a:gd name="connsiteX7" fmla="*/ 0 w 270688"/>
                    <a:gd name="connsiteY7" fmla="*/ 126075 h 1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688" h="126074">
                      <a:moveTo>
                        <a:pt x="0" y="126075"/>
                      </a:moveTo>
                      <a:lnTo>
                        <a:pt x="8697" y="126075"/>
                      </a:lnTo>
                      <a:cubicBezTo>
                        <a:pt x="18475" y="74471"/>
                        <a:pt x="41047" y="39507"/>
                        <a:pt x="76061" y="21937"/>
                      </a:cubicBezTo>
                      <a:cubicBezTo>
                        <a:pt x="136965" y="-8628"/>
                        <a:pt x="222478" y="19825"/>
                        <a:pt x="270688" y="41040"/>
                      </a:cubicBezTo>
                      <a:lnTo>
                        <a:pt x="270688" y="31614"/>
                      </a:lnTo>
                      <a:cubicBezTo>
                        <a:pt x="258271" y="26210"/>
                        <a:pt x="243592" y="20479"/>
                        <a:pt x="227781" y="15401"/>
                      </a:cubicBezTo>
                      <a:cubicBezTo>
                        <a:pt x="164640" y="-4732"/>
                        <a:pt x="110849" y="-5135"/>
                        <a:pt x="72190" y="14245"/>
                      </a:cubicBezTo>
                      <a:cubicBezTo>
                        <a:pt x="34361" y="33273"/>
                        <a:pt x="10105" y="70826"/>
                        <a:pt x="0" y="126075"/>
                      </a:cubicBezTo>
                      <a:close/>
                    </a:path>
                  </a:pathLst>
                </a:custGeom>
                <a:solidFill>
                  <a:schemeClr val="tx1">
                    <a:alpha val="30000"/>
                  </a:schemeClr>
                </a:solidFill>
                <a:ln w="25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sp>
        <p:nvSpPr>
          <p:cNvPr id="450" name="Freeform: Shape 449">
            <a:extLst>
              <a:ext uri="{FF2B5EF4-FFF2-40B4-BE49-F238E27FC236}">
                <a16:creationId xmlns:a16="http://schemas.microsoft.com/office/drawing/2014/main" id="{2B32565E-811F-BD34-C21F-AAC636D3256F}"/>
              </a:ext>
            </a:extLst>
          </p:cNvPr>
          <p:cNvSpPr/>
          <p:nvPr/>
        </p:nvSpPr>
        <p:spPr>
          <a:xfrm>
            <a:off x="311304" y="1788893"/>
            <a:ext cx="8066668" cy="5694894"/>
          </a:xfrm>
          <a:custGeom>
            <a:avLst/>
            <a:gdLst>
              <a:gd name="connsiteX0" fmla="*/ 0 w 8066668"/>
              <a:gd name="connsiteY0" fmla="*/ 2168129 h 5386621"/>
              <a:gd name="connsiteX1" fmla="*/ 195166 w 8066668"/>
              <a:gd name="connsiteY1" fmla="*/ 2137927 h 5386621"/>
              <a:gd name="connsiteX2" fmla="*/ 197232 w 8066668"/>
              <a:gd name="connsiteY2" fmla="*/ 2132824 h 5386621"/>
              <a:gd name="connsiteX3" fmla="*/ 0 w 8066668"/>
              <a:gd name="connsiteY3" fmla="*/ 2168129 h 5386621"/>
              <a:gd name="connsiteX4" fmla="*/ 5457464 w 8066668"/>
              <a:gd name="connsiteY4" fmla="*/ 3798165 h 5386621"/>
              <a:gd name="connsiteX5" fmla="*/ 5791727 w 8066668"/>
              <a:gd name="connsiteY5" fmla="*/ 3704456 h 5386621"/>
              <a:gd name="connsiteX6" fmla="*/ 5457464 w 8066668"/>
              <a:gd name="connsiteY6" fmla="*/ 3798165 h 5386621"/>
              <a:gd name="connsiteX7" fmla="*/ 7908521 w 8066668"/>
              <a:gd name="connsiteY7" fmla="*/ 3112957 h 5386621"/>
              <a:gd name="connsiteX8" fmla="*/ 8066669 w 8066668"/>
              <a:gd name="connsiteY8" fmla="*/ 3218492 h 5386621"/>
              <a:gd name="connsiteX9" fmla="*/ 7908521 w 8066668"/>
              <a:gd name="connsiteY9" fmla="*/ 3112957 h 538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6668" h="5386621">
                <a:moveTo>
                  <a:pt x="0" y="2168129"/>
                </a:moveTo>
                <a:lnTo>
                  <a:pt x="195166" y="2137927"/>
                </a:lnTo>
                <a:lnTo>
                  <a:pt x="197232" y="2132824"/>
                </a:lnTo>
                <a:lnTo>
                  <a:pt x="0" y="2168129"/>
                </a:lnTo>
                <a:close/>
                <a:moveTo>
                  <a:pt x="5457464" y="3798165"/>
                </a:moveTo>
                <a:cubicBezTo>
                  <a:pt x="5641478" y="3765274"/>
                  <a:pt x="5740147" y="3738898"/>
                  <a:pt x="5791727" y="3704456"/>
                </a:cubicBezTo>
                <a:cubicBezTo>
                  <a:pt x="5740147" y="3738898"/>
                  <a:pt x="5641530" y="3765240"/>
                  <a:pt x="5457464" y="3798165"/>
                </a:cubicBezTo>
                <a:close/>
                <a:moveTo>
                  <a:pt x="7908521" y="3112957"/>
                </a:moveTo>
                <a:lnTo>
                  <a:pt x="8066669" y="3218492"/>
                </a:lnTo>
                <a:lnTo>
                  <a:pt x="7908521" y="3112957"/>
                </a:lnTo>
                <a:close/>
              </a:path>
            </a:pathLst>
          </a:custGeom>
          <a:solidFill>
            <a:srgbClr val="FEEBD7"/>
          </a:solidFill>
          <a:ln w="57536"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2" name="Freeform: Shape 451">
            <a:extLst>
              <a:ext uri="{FF2B5EF4-FFF2-40B4-BE49-F238E27FC236}">
                <a16:creationId xmlns:a16="http://schemas.microsoft.com/office/drawing/2014/main" id="{233A99C1-AF92-7B96-1F35-4D2C4DD81B0D}"/>
              </a:ext>
            </a:extLst>
          </p:cNvPr>
          <p:cNvSpPr/>
          <p:nvPr/>
        </p:nvSpPr>
        <p:spPr>
          <a:xfrm>
            <a:off x="3257353" y="3868231"/>
            <a:ext cx="5120619" cy="3615047"/>
          </a:xfrm>
          <a:custGeom>
            <a:avLst/>
            <a:gdLst>
              <a:gd name="connsiteX0" fmla="*/ 0 w 5120619"/>
              <a:gd name="connsiteY0" fmla="*/ 2167647 h 3419359"/>
              <a:gd name="connsiteX1" fmla="*/ 2157377 w 5120619"/>
              <a:gd name="connsiteY1" fmla="*/ 1781773 h 3419359"/>
              <a:gd name="connsiteX2" fmla="*/ 2194035 w 5120619"/>
              <a:gd name="connsiteY2" fmla="*/ 1785772 h 3419359"/>
              <a:gd name="connsiteX3" fmla="*/ 2157377 w 5120619"/>
              <a:gd name="connsiteY3" fmla="*/ 1781773 h 3419359"/>
              <a:gd name="connsiteX4" fmla="*/ 0 w 5120619"/>
              <a:gd name="connsiteY4" fmla="*/ 2167647 h 3419359"/>
              <a:gd name="connsiteX5" fmla="*/ 2206479 w 5120619"/>
              <a:gd name="connsiteY5" fmla="*/ 1851934 h 3419359"/>
              <a:gd name="connsiteX6" fmla="*/ 2511416 w 5120619"/>
              <a:gd name="connsiteY6" fmla="*/ 1831385 h 3419359"/>
              <a:gd name="connsiteX7" fmla="*/ 2206479 w 5120619"/>
              <a:gd name="connsiteY7" fmla="*/ 1851934 h 3419359"/>
              <a:gd name="connsiteX8" fmla="*/ 2511416 w 5120619"/>
              <a:gd name="connsiteY8" fmla="*/ 1831385 h 3419359"/>
              <a:gd name="connsiteX9" fmla="*/ 2845678 w 5120619"/>
              <a:gd name="connsiteY9" fmla="*/ 1737676 h 3419359"/>
              <a:gd name="connsiteX10" fmla="*/ 2880221 w 5120619"/>
              <a:gd name="connsiteY10" fmla="*/ 1704335 h 3419359"/>
              <a:gd name="connsiteX11" fmla="*/ 2845678 w 5120619"/>
              <a:gd name="connsiteY11" fmla="*/ 1737676 h 3419359"/>
              <a:gd name="connsiteX12" fmla="*/ 2511416 w 5120619"/>
              <a:gd name="connsiteY12" fmla="*/ 1831385 h 3419359"/>
              <a:gd name="connsiteX13" fmla="*/ 2963193 w 5120619"/>
              <a:gd name="connsiteY13" fmla="*/ 1637621 h 3419359"/>
              <a:gd name="connsiteX14" fmla="*/ 5120620 w 5120619"/>
              <a:gd name="connsiteY14" fmla="*/ 1251713 h 3419359"/>
              <a:gd name="connsiteX15" fmla="*/ 2963193 w 5120619"/>
              <a:gd name="connsiteY15" fmla="*/ 1637621 h 3419359"/>
              <a:gd name="connsiteX16" fmla="*/ 2888120 w 5120619"/>
              <a:gd name="connsiteY16" fmla="*/ 1689820 h 3419359"/>
              <a:gd name="connsiteX17" fmla="*/ 2887861 w 5120619"/>
              <a:gd name="connsiteY17" fmla="*/ 1690407 h 3419359"/>
              <a:gd name="connsiteX18" fmla="*/ 2888120 w 5120619"/>
              <a:gd name="connsiteY18" fmla="*/ 1689820 h 3419359"/>
              <a:gd name="connsiteX19" fmla="*/ 2882338 w 5120619"/>
              <a:gd name="connsiteY19" fmla="*/ 1701060 h 3419359"/>
              <a:gd name="connsiteX20" fmla="*/ 2881975 w 5120619"/>
              <a:gd name="connsiteY20" fmla="*/ 1701578 h 3419359"/>
              <a:gd name="connsiteX21" fmla="*/ 2882338 w 5120619"/>
              <a:gd name="connsiteY21" fmla="*/ 1701060 h 3419359"/>
              <a:gd name="connsiteX22" fmla="*/ 2881150 w 5120619"/>
              <a:gd name="connsiteY22" fmla="*/ 1702956 h 3419359"/>
              <a:gd name="connsiteX23" fmla="*/ 2880582 w 5120619"/>
              <a:gd name="connsiteY23" fmla="*/ 1703749 h 3419359"/>
              <a:gd name="connsiteX24" fmla="*/ 2881150 w 5120619"/>
              <a:gd name="connsiteY24" fmla="*/ 1702956 h 3419359"/>
              <a:gd name="connsiteX25" fmla="*/ 2880634 w 5120619"/>
              <a:gd name="connsiteY25" fmla="*/ 1703784 h 3419359"/>
              <a:gd name="connsiteX26" fmla="*/ 2880530 w 5120619"/>
              <a:gd name="connsiteY26" fmla="*/ 1703853 h 3419359"/>
              <a:gd name="connsiteX27" fmla="*/ 2880634 w 5120619"/>
              <a:gd name="connsiteY27" fmla="*/ 1703784 h 3419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120619" h="3419359">
                <a:moveTo>
                  <a:pt x="0" y="2167647"/>
                </a:moveTo>
                <a:lnTo>
                  <a:pt x="2157377" y="1781773"/>
                </a:lnTo>
                <a:cubicBezTo>
                  <a:pt x="2173486" y="1778876"/>
                  <a:pt x="2186291" y="1780600"/>
                  <a:pt x="2194035" y="1785772"/>
                </a:cubicBezTo>
                <a:cubicBezTo>
                  <a:pt x="2186291" y="1780600"/>
                  <a:pt x="2173486" y="1778876"/>
                  <a:pt x="2157377" y="1781773"/>
                </a:cubicBezTo>
                <a:lnTo>
                  <a:pt x="0" y="2167647"/>
                </a:lnTo>
                <a:close/>
                <a:moveTo>
                  <a:pt x="2206479" y="1851934"/>
                </a:moveTo>
                <a:cubicBezTo>
                  <a:pt x="2236166" y="1871897"/>
                  <a:pt x="2327297" y="1864347"/>
                  <a:pt x="2511416" y="1831385"/>
                </a:cubicBezTo>
                <a:cubicBezTo>
                  <a:pt x="2327245" y="1864312"/>
                  <a:pt x="2236166" y="1871897"/>
                  <a:pt x="2206479" y="1851934"/>
                </a:cubicBezTo>
                <a:close/>
                <a:moveTo>
                  <a:pt x="2511416" y="1831385"/>
                </a:moveTo>
                <a:cubicBezTo>
                  <a:pt x="2695482" y="1798460"/>
                  <a:pt x="2794099" y="1772119"/>
                  <a:pt x="2845678" y="1737676"/>
                </a:cubicBezTo>
                <a:cubicBezTo>
                  <a:pt x="2861065" y="1727401"/>
                  <a:pt x="2872217" y="1716438"/>
                  <a:pt x="2880221" y="1704335"/>
                </a:cubicBezTo>
                <a:cubicBezTo>
                  <a:pt x="2872217" y="1716438"/>
                  <a:pt x="2861065" y="1727401"/>
                  <a:pt x="2845678" y="1737676"/>
                </a:cubicBezTo>
                <a:cubicBezTo>
                  <a:pt x="2794099" y="1772119"/>
                  <a:pt x="2695430" y="1798495"/>
                  <a:pt x="2511416" y="1831385"/>
                </a:cubicBezTo>
                <a:close/>
                <a:moveTo>
                  <a:pt x="2963193" y="1637621"/>
                </a:moveTo>
                <a:lnTo>
                  <a:pt x="5120620" y="1251713"/>
                </a:lnTo>
                <a:lnTo>
                  <a:pt x="2963193" y="1637621"/>
                </a:lnTo>
                <a:close/>
                <a:moveTo>
                  <a:pt x="2888120" y="1689820"/>
                </a:moveTo>
                <a:cubicBezTo>
                  <a:pt x="2888016" y="1690027"/>
                  <a:pt x="2887913" y="1690234"/>
                  <a:pt x="2887861" y="1690407"/>
                </a:cubicBezTo>
                <a:cubicBezTo>
                  <a:pt x="2887913" y="1690234"/>
                  <a:pt x="2888016" y="1690027"/>
                  <a:pt x="2888120" y="1689820"/>
                </a:cubicBezTo>
                <a:close/>
                <a:moveTo>
                  <a:pt x="2882338" y="1701060"/>
                </a:moveTo>
                <a:cubicBezTo>
                  <a:pt x="2882183" y="1701232"/>
                  <a:pt x="2882079" y="1701439"/>
                  <a:pt x="2881975" y="1701578"/>
                </a:cubicBezTo>
                <a:cubicBezTo>
                  <a:pt x="2882079" y="1701439"/>
                  <a:pt x="2882183" y="1701232"/>
                  <a:pt x="2882338" y="1701060"/>
                </a:cubicBezTo>
                <a:close/>
                <a:moveTo>
                  <a:pt x="2881150" y="1702956"/>
                </a:moveTo>
                <a:cubicBezTo>
                  <a:pt x="2880943" y="1703232"/>
                  <a:pt x="2880787" y="1703474"/>
                  <a:pt x="2880582" y="1703749"/>
                </a:cubicBezTo>
                <a:cubicBezTo>
                  <a:pt x="2880787" y="1703474"/>
                  <a:pt x="2880943" y="1703232"/>
                  <a:pt x="2881150" y="1702956"/>
                </a:cubicBezTo>
                <a:close/>
                <a:moveTo>
                  <a:pt x="2880634" y="1703784"/>
                </a:moveTo>
                <a:lnTo>
                  <a:pt x="2880530" y="1703853"/>
                </a:lnTo>
                <a:lnTo>
                  <a:pt x="2880634" y="1703784"/>
                </a:lnTo>
                <a:close/>
              </a:path>
            </a:pathLst>
          </a:custGeom>
          <a:solidFill>
            <a:srgbClr val="D75F49"/>
          </a:solidFill>
          <a:ln w="57536"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Sticker">
            <a:extLst>
              <a:ext uri="{FF2B5EF4-FFF2-40B4-BE49-F238E27FC236}">
                <a16:creationId xmlns:a16="http://schemas.microsoft.com/office/drawing/2014/main" id="{86210011-213A-C6E0-9F61-AC3F0D271749}"/>
              </a:ext>
            </a:extLst>
          </p:cNvPr>
          <p:cNvSpPr txBox="1"/>
          <p:nvPr/>
        </p:nvSpPr>
        <p:spPr>
          <a:xfrm>
            <a:off x="554736" y="1448419"/>
            <a:ext cx="4958089"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000000"/>
                </a:solidFill>
                <a:effectLst/>
                <a:uLnTx/>
                <a:uFillTx/>
                <a:latin typeface="Arial" panose="020B0604020202020204"/>
                <a:ea typeface="+mn-ea"/>
                <a:cs typeface="+mn-cs"/>
              </a:rPr>
              <a:t>Illustrative Example of Building Blocks In Development or on innovation roadmap</a:t>
            </a:r>
          </a:p>
        </p:txBody>
      </p:sp>
      <p:grpSp>
        <p:nvGrpSpPr>
          <p:cNvPr id="43" name="Group 42">
            <a:extLst>
              <a:ext uri="{FF2B5EF4-FFF2-40B4-BE49-F238E27FC236}">
                <a16:creationId xmlns:a16="http://schemas.microsoft.com/office/drawing/2014/main" id="{EB3E34B8-E81A-709A-A970-F8B8361E222D}"/>
              </a:ext>
            </a:extLst>
          </p:cNvPr>
          <p:cNvGrpSpPr/>
          <p:nvPr/>
        </p:nvGrpSpPr>
        <p:grpSpPr>
          <a:xfrm>
            <a:off x="525069" y="2324066"/>
            <a:ext cx="8066669" cy="3615047"/>
            <a:chOff x="295861" y="2324066"/>
            <a:chExt cx="8295878" cy="3615047"/>
          </a:xfrm>
        </p:grpSpPr>
        <p:sp>
          <p:nvSpPr>
            <p:cNvPr id="1344" name="Freeform: Shape 1343">
              <a:extLst>
                <a:ext uri="{FF2B5EF4-FFF2-40B4-BE49-F238E27FC236}">
                  <a16:creationId xmlns:a16="http://schemas.microsoft.com/office/drawing/2014/main" id="{99725756-D629-9DA0-8494-9353208C63F1}"/>
                </a:ext>
              </a:extLst>
            </p:cNvPr>
            <p:cNvSpPr/>
            <p:nvPr/>
          </p:nvSpPr>
          <p:spPr>
            <a:xfrm>
              <a:off x="3312708" y="4777042"/>
              <a:ext cx="5278632" cy="1162071"/>
            </a:xfrm>
            <a:custGeom>
              <a:avLst/>
              <a:gdLst>
                <a:gd name="connsiteX0" fmla="*/ 2442703 w 5039149"/>
                <a:gd name="connsiteY0" fmla="*/ 668023 h 1022660"/>
                <a:gd name="connsiteX1" fmla="*/ 2935945 w 5039149"/>
                <a:gd name="connsiteY1" fmla="*/ 459154 h 1022660"/>
                <a:gd name="connsiteX2" fmla="*/ 4995059 w 5039149"/>
                <a:gd name="connsiteY2" fmla="*/ 71471 h 1022660"/>
                <a:gd name="connsiteX3" fmla="*/ 5025553 w 5039149"/>
                <a:gd name="connsiteY3" fmla="*/ -8805 h 1022660"/>
                <a:gd name="connsiteX4" fmla="*/ 2915361 w 5039149"/>
                <a:gd name="connsiteY4" fmla="*/ 388770 h 1022660"/>
                <a:gd name="connsiteX5" fmla="*/ 2842938 w 5039149"/>
                <a:gd name="connsiteY5" fmla="*/ 438990 h 1022660"/>
                <a:gd name="connsiteX6" fmla="*/ 2473197 w 5039149"/>
                <a:gd name="connsiteY6" fmla="*/ 587748 h 1022660"/>
                <a:gd name="connsiteX7" fmla="*/ 2169018 w 5039149"/>
                <a:gd name="connsiteY7" fmla="*/ 566442 h 1022660"/>
                <a:gd name="connsiteX8" fmla="*/ 2127089 w 5039149"/>
                <a:gd name="connsiteY8" fmla="*/ 536767 h 1022660"/>
                <a:gd name="connsiteX9" fmla="*/ 16897 w 5039149"/>
                <a:gd name="connsiteY9" fmla="*/ 933961 h 1022660"/>
                <a:gd name="connsiteX10" fmla="*/ -13597 w 5039149"/>
                <a:gd name="connsiteY10" fmla="*/ 1013856 h 1022660"/>
                <a:gd name="connsiteX11" fmla="*/ 2045517 w 5039149"/>
                <a:gd name="connsiteY11" fmla="*/ 626173 h 1022660"/>
                <a:gd name="connsiteX12" fmla="*/ 2442703 w 5039149"/>
                <a:gd name="connsiteY12" fmla="*/ 668023 h 1022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9149" h="1022660">
                  <a:moveTo>
                    <a:pt x="2442703" y="668023"/>
                  </a:moveTo>
                  <a:cubicBezTo>
                    <a:pt x="2616519" y="635304"/>
                    <a:pt x="2848655" y="591552"/>
                    <a:pt x="2935945" y="459154"/>
                  </a:cubicBezTo>
                  <a:lnTo>
                    <a:pt x="4995059" y="71471"/>
                  </a:lnTo>
                  <a:lnTo>
                    <a:pt x="5025553" y="-8805"/>
                  </a:lnTo>
                  <a:lnTo>
                    <a:pt x="2915361" y="388770"/>
                  </a:lnTo>
                  <a:cubicBezTo>
                    <a:pt x="2883723" y="394477"/>
                    <a:pt x="2851705" y="417304"/>
                    <a:pt x="2842938" y="438990"/>
                  </a:cubicBezTo>
                  <a:cubicBezTo>
                    <a:pt x="2818161" y="504809"/>
                    <a:pt x="2731634" y="539049"/>
                    <a:pt x="2473197" y="587748"/>
                  </a:cubicBezTo>
                  <a:cubicBezTo>
                    <a:pt x="2215140" y="636446"/>
                    <a:pt x="2143860" y="631500"/>
                    <a:pt x="2169018" y="566442"/>
                  </a:cubicBezTo>
                  <a:cubicBezTo>
                    <a:pt x="2177023" y="543995"/>
                    <a:pt x="2158345" y="531060"/>
                    <a:pt x="2127089" y="536767"/>
                  </a:cubicBezTo>
                  <a:lnTo>
                    <a:pt x="16897" y="933961"/>
                  </a:lnTo>
                  <a:lnTo>
                    <a:pt x="-13597" y="1013856"/>
                  </a:lnTo>
                  <a:lnTo>
                    <a:pt x="2045517" y="626173"/>
                  </a:lnTo>
                  <a:cubicBezTo>
                    <a:pt x="2037512" y="744495"/>
                    <a:pt x="2269649" y="700362"/>
                    <a:pt x="2442703" y="668023"/>
                  </a:cubicBezTo>
                  <a:close/>
                </a:path>
              </a:pathLst>
            </a:custGeom>
            <a:solidFill>
              <a:srgbClr val="005C67"/>
            </a:solidFill>
            <a:ln w="381"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5" name="Freeform: Shape 1344">
              <a:extLst>
                <a:ext uri="{FF2B5EF4-FFF2-40B4-BE49-F238E27FC236}">
                  <a16:creationId xmlns:a16="http://schemas.microsoft.com/office/drawing/2014/main" id="{C3EE44DA-88E9-F2DD-0A81-617D2A80273D}"/>
                </a:ext>
              </a:extLst>
            </p:cNvPr>
            <p:cNvSpPr/>
            <p:nvPr/>
          </p:nvSpPr>
          <p:spPr>
            <a:xfrm>
              <a:off x="326407" y="2594697"/>
              <a:ext cx="8265332" cy="3256224"/>
            </a:xfrm>
            <a:custGeom>
              <a:avLst/>
              <a:gdLst>
                <a:gd name="connsiteX0" fmla="*/ 5146163 w 7890347"/>
                <a:gd name="connsiteY0" fmla="*/ -6284 h 2865581"/>
                <a:gd name="connsiteX1" fmla="*/ 7880340 w 7890347"/>
                <a:gd name="connsiteY1" fmla="*/ 1915771 h 2865581"/>
                <a:gd name="connsiteX2" fmla="*/ 5770530 w 7890347"/>
                <a:gd name="connsiteY2" fmla="*/ 2313346 h 2865581"/>
                <a:gd name="connsiteX3" fmla="*/ 5698106 w 7890347"/>
                <a:gd name="connsiteY3" fmla="*/ 2364327 h 2865581"/>
                <a:gd name="connsiteX4" fmla="*/ 5328365 w 7890347"/>
                <a:gd name="connsiteY4" fmla="*/ 2513084 h 2865581"/>
                <a:gd name="connsiteX5" fmla="*/ 5023806 w 7890347"/>
                <a:gd name="connsiteY5" fmla="*/ 2491018 h 2865581"/>
                <a:gd name="connsiteX6" fmla="*/ 4982257 w 7890347"/>
                <a:gd name="connsiteY6" fmla="*/ 2461723 h 2865581"/>
                <a:gd name="connsiteX7" fmla="*/ 2872066 w 7890347"/>
                <a:gd name="connsiteY7" fmla="*/ 2859298 h 2865581"/>
                <a:gd name="connsiteX8" fmla="*/ -10008 w 7890347"/>
                <a:gd name="connsiteY8" fmla="*/ 833759 h 2865581"/>
                <a:gd name="connsiteX9" fmla="*/ 5146163 w 7890347"/>
                <a:gd name="connsiteY9" fmla="*/ -6284 h 286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0347" h="2865581">
                  <a:moveTo>
                    <a:pt x="5146163" y="-6284"/>
                  </a:moveTo>
                  <a:lnTo>
                    <a:pt x="7880340" y="1915771"/>
                  </a:lnTo>
                  <a:lnTo>
                    <a:pt x="5770530" y="2313346"/>
                  </a:lnTo>
                  <a:cubicBezTo>
                    <a:pt x="5739273" y="2319433"/>
                    <a:pt x="5706492" y="2341880"/>
                    <a:pt x="5698106" y="2364327"/>
                  </a:cubicBezTo>
                  <a:cubicBezTo>
                    <a:pt x="5673330" y="2429384"/>
                    <a:pt x="5587184" y="2464006"/>
                    <a:pt x="5328365" y="2513084"/>
                  </a:cubicBezTo>
                  <a:cubicBezTo>
                    <a:pt x="5070309" y="2561783"/>
                    <a:pt x="4999029" y="2556456"/>
                    <a:pt x="5023806" y="2491018"/>
                  </a:cubicBezTo>
                  <a:cubicBezTo>
                    <a:pt x="5032573" y="2468952"/>
                    <a:pt x="5013895" y="2456016"/>
                    <a:pt x="4982257" y="2461723"/>
                  </a:cubicBezTo>
                  <a:lnTo>
                    <a:pt x="2872066" y="2859298"/>
                  </a:lnTo>
                  <a:lnTo>
                    <a:pt x="-10008" y="833759"/>
                  </a:lnTo>
                  <a:lnTo>
                    <a:pt x="5146163" y="-6284"/>
                  </a:lnTo>
                  <a:close/>
                </a:path>
              </a:pathLst>
            </a:custGeom>
            <a:solidFill>
              <a:srgbClr val="0D3D3F"/>
            </a:solidFill>
            <a:ln w="381"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6" name="Freeform: Shape 1345">
              <a:extLst>
                <a:ext uri="{FF2B5EF4-FFF2-40B4-BE49-F238E27FC236}">
                  <a16:creationId xmlns:a16="http://schemas.microsoft.com/office/drawing/2014/main" id="{261BB92F-2471-5E75-02F9-C6D81AE504AA}"/>
                </a:ext>
              </a:extLst>
            </p:cNvPr>
            <p:cNvSpPr/>
            <p:nvPr/>
          </p:nvSpPr>
          <p:spPr>
            <a:xfrm>
              <a:off x="577163" y="2789636"/>
              <a:ext cx="5451140" cy="2754782"/>
            </a:xfrm>
            <a:custGeom>
              <a:avLst/>
              <a:gdLst>
                <a:gd name="connsiteX0" fmla="*/ 1207679 w 5203830"/>
                <a:gd name="connsiteY0" fmla="*/ 75431 h 2424296"/>
                <a:gd name="connsiteX1" fmla="*/ 2453747 w 5203830"/>
                <a:gd name="connsiteY1" fmla="*/ 134782 h 2424296"/>
                <a:gd name="connsiteX2" fmla="*/ 5189074 w 5203830"/>
                <a:gd name="connsiteY2" fmla="*/ 2057032 h 2424296"/>
                <a:gd name="connsiteX3" fmla="*/ 4243374 w 5203830"/>
                <a:gd name="connsiteY3" fmla="*/ 2020699 h 2424296"/>
                <a:gd name="connsiteX4" fmla="*/ 2720571 w 5203830"/>
                <a:gd name="connsiteY4" fmla="*/ 2411807 h 2424296"/>
                <a:gd name="connsiteX5" fmla="*/ -14757 w 5203830"/>
                <a:gd name="connsiteY5" fmla="*/ 489557 h 2424296"/>
                <a:gd name="connsiteX6" fmla="*/ 1207679 w 5203830"/>
                <a:gd name="connsiteY6" fmla="*/ 75431 h 242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03830" h="2424296">
                  <a:moveTo>
                    <a:pt x="1207679" y="75431"/>
                  </a:moveTo>
                  <a:cubicBezTo>
                    <a:pt x="1609058" y="-60201"/>
                    <a:pt x="2082290" y="-37754"/>
                    <a:pt x="2453747" y="134782"/>
                  </a:cubicBezTo>
                  <a:lnTo>
                    <a:pt x="5189074" y="2057032"/>
                  </a:lnTo>
                  <a:cubicBezTo>
                    <a:pt x="4918057" y="1931101"/>
                    <a:pt x="4568518" y="1949173"/>
                    <a:pt x="4243374" y="2020699"/>
                  </a:cubicBezTo>
                  <a:cubicBezTo>
                    <a:pt x="4122922" y="2047330"/>
                    <a:pt x="2720571" y="2411807"/>
                    <a:pt x="2720571" y="2411807"/>
                  </a:cubicBezTo>
                  <a:lnTo>
                    <a:pt x="-14757" y="489557"/>
                  </a:lnTo>
                  <a:lnTo>
                    <a:pt x="1207679" y="75431"/>
                  </a:lnTo>
                  <a:close/>
                </a:path>
              </a:pathLst>
            </a:custGeom>
            <a:solidFill>
              <a:srgbClr val="F2F2F2"/>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7" name="Freeform: Shape 1346">
              <a:extLst>
                <a:ext uri="{FF2B5EF4-FFF2-40B4-BE49-F238E27FC236}">
                  <a16:creationId xmlns:a16="http://schemas.microsoft.com/office/drawing/2014/main" id="{48230654-37AA-900F-40A2-D5713AEBADD0}"/>
                </a:ext>
              </a:extLst>
            </p:cNvPr>
            <p:cNvSpPr/>
            <p:nvPr/>
          </p:nvSpPr>
          <p:spPr>
            <a:xfrm>
              <a:off x="3365415" y="4505979"/>
              <a:ext cx="5099750" cy="1255453"/>
            </a:xfrm>
            <a:custGeom>
              <a:avLst/>
              <a:gdLst>
                <a:gd name="connsiteX0" fmla="*/ 63870 w 4868382"/>
                <a:gd name="connsiteY0" fmla="*/ 895272 h 1104839"/>
                <a:gd name="connsiteX1" fmla="*/ 1586288 w 4868382"/>
                <a:gd name="connsiteY1" fmla="*/ 504546 h 1104839"/>
                <a:gd name="connsiteX2" fmla="*/ 2532367 w 4868382"/>
                <a:gd name="connsiteY2" fmla="*/ 540689 h 1104839"/>
                <a:gd name="connsiteX3" fmla="*/ 3196757 w 4868382"/>
                <a:gd name="connsiteY3" fmla="*/ 224912 h 1104839"/>
                <a:gd name="connsiteX4" fmla="*/ 4854874 w 4868382"/>
                <a:gd name="connsiteY4" fmla="*/ -8306 h 1104839"/>
                <a:gd name="connsiteX5" fmla="*/ 4778258 w 4868382"/>
                <a:gd name="connsiteY5" fmla="*/ 192954 h 1104839"/>
                <a:gd name="connsiteX6" fmla="*/ 2918880 w 4868382"/>
                <a:gd name="connsiteY6" fmla="*/ 543733 h 1104839"/>
                <a:gd name="connsiteX7" fmla="*/ 2468711 w 4868382"/>
                <a:gd name="connsiteY7" fmla="*/ 706948 h 1104839"/>
                <a:gd name="connsiteX8" fmla="*/ 2374560 w 4868382"/>
                <a:gd name="connsiteY8" fmla="*/ 700860 h 1104839"/>
                <a:gd name="connsiteX9" fmla="*/ 1953742 w 4868382"/>
                <a:gd name="connsiteY9" fmla="*/ 725590 h 1104839"/>
                <a:gd name="connsiteX10" fmla="*/ -13509 w 4868382"/>
                <a:gd name="connsiteY10" fmla="*/ 1096533 h 1104839"/>
                <a:gd name="connsiteX11" fmla="*/ 63870 w 4868382"/>
                <a:gd name="connsiteY11" fmla="*/ 895272 h 1104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68382" h="1104839">
                  <a:moveTo>
                    <a:pt x="63870" y="895272"/>
                  </a:moveTo>
                  <a:cubicBezTo>
                    <a:pt x="63870" y="895272"/>
                    <a:pt x="1465836" y="531178"/>
                    <a:pt x="1586288" y="504546"/>
                  </a:cubicBezTo>
                  <a:cubicBezTo>
                    <a:pt x="1911431" y="432640"/>
                    <a:pt x="2260970" y="414759"/>
                    <a:pt x="2532367" y="540689"/>
                  </a:cubicBezTo>
                  <a:cubicBezTo>
                    <a:pt x="2676833" y="371006"/>
                    <a:pt x="2924979" y="276273"/>
                    <a:pt x="3196757" y="224912"/>
                  </a:cubicBezTo>
                  <a:cubicBezTo>
                    <a:pt x="3287477" y="207411"/>
                    <a:pt x="4854874" y="-8306"/>
                    <a:pt x="4854874" y="-8306"/>
                  </a:cubicBezTo>
                  <a:lnTo>
                    <a:pt x="4778258" y="192954"/>
                  </a:lnTo>
                  <a:lnTo>
                    <a:pt x="2918880" y="543733"/>
                  </a:lnTo>
                  <a:cubicBezTo>
                    <a:pt x="2753831" y="574549"/>
                    <a:pt x="2600217" y="630476"/>
                    <a:pt x="2468711" y="706948"/>
                  </a:cubicBezTo>
                  <a:lnTo>
                    <a:pt x="2374560" y="700860"/>
                  </a:lnTo>
                  <a:cubicBezTo>
                    <a:pt x="2233144" y="691349"/>
                    <a:pt x="2090584" y="699719"/>
                    <a:pt x="1953742" y="725590"/>
                  </a:cubicBezTo>
                  <a:lnTo>
                    <a:pt x="-13509" y="1096533"/>
                  </a:lnTo>
                  <a:lnTo>
                    <a:pt x="63870" y="895272"/>
                  </a:lnTo>
                  <a:close/>
                </a:path>
              </a:pathLst>
            </a:custGeom>
            <a:solidFill>
              <a:srgbClr val="D6E8EE"/>
            </a:solidFill>
            <a:ln w="381"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8" name="Freeform: Shape 1347">
              <a:extLst>
                <a:ext uri="{FF2B5EF4-FFF2-40B4-BE49-F238E27FC236}">
                  <a16:creationId xmlns:a16="http://schemas.microsoft.com/office/drawing/2014/main" id="{59EC359B-A3AA-F8AF-DF06-00E67EBD4351}"/>
                </a:ext>
              </a:extLst>
            </p:cNvPr>
            <p:cNvSpPr/>
            <p:nvPr/>
          </p:nvSpPr>
          <p:spPr>
            <a:xfrm>
              <a:off x="3167765" y="2324066"/>
              <a:ext cx="5296201" cy="2808341"/>
            </a:xfrm>
            <a:custGeom>
              <a:avLst/>
              <a:gdLst>
                <a:gd name="connsiteX0" fmla="*/ -13270 w 5055921"/>
                <a:gd name="connsiteY0" fmla="*/ 543810 h 2471430"/>
                <a:gd name="connsiteX1" fmla="*/ 927473 w 5055921"/>
                <a:gd name="connsiteY1" fmla="*/ 189227 h 2471430"/>
                <a:gd name="connsiteX2" fmla="*/ 2308475 w 5055921"/>
                <a:gd name="connsiteY2" fmla="*/ -5185 h 2471430"/>
                <a:gd name="connsiteX3" fmla="*/ 5042652 w 5055921"/>
                <a:gd name="connsiteY3" fmla="*/ 1916870 h 2471430"/>
                <a:gd name="connsiteX4" fmla="*/ 3384916 w 5055921"/>
                <a:gd name="connsiteY4" fmla="*/ 2150088 h 2471430"/>
                <a:gd name="connsiteX5" fmla="*/ 2720907 w 5055921"/>
                <a:gd name="connsiteY5" fmla="*/ 2466245 h 2471430"/>
                <a:gd name="connsiteX6" fmla="*/ -13270 w 5055921"/>
                <a:gd name="connsiteY6" fmla="*/ 543810 h 247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55921" h="2471430">
                  <a:moveTo>
                    <a:pt x="-13270" y="543810"/>
                  </a:moveTo>
                  <a:cubicBezTo>
                    <a:pt x="179605" y="317820"/>
                    <a:pt x="556589" y="224609"/>
                    <a:pt x="927473" y="189227"/>
                  </a:cubicBezTo>
                  <a:lnTo>
                    <a:pt x="2308475" y="-5185"/>
                  </a:lnTo>
                  <a:lnTo>
                    <a:pt x="5042652" y="1916870"/>
                  </a:lnTo>
                  <a:cubicBezTo>
                    <a:pt x="5042652" y="1916870"/>
                    <a:pt x="3475636" y="2132968"/>
                    <a:pt x="3384916" y="2150088"/>
                  </a:cubicBezTo>
                  <a:cubicBezTo>
                    <a:pt x="3113519" y="2201830"/>
                    <a:pt x="2865373" y="2296943"/>
                    <a:pt x="2720907" y="2466245"/>
                  </a:cubicBezTo>
                  <a:lnTo>
                    <a:pt x="-13270" y="543810"/>
                  </a:lnTo>
                  <a:close/>
                </a:path>
              </a:pathLst>
            </a:custGeom>
            <a:solidFill>
              <a:srgbClr val="F2F2F2"/>
            </a:solidFill>
            <a:ln w="381"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49" name="Freeform: Shape 1348">
              <a:extLst>
                <a:ext uri="{FF2B5EF4-FFF2-40B4-BE49-F238E27FC236}">
                  <a16:creationId xmlns:a16="http://schemas.microsoft.com/office/drawing/2014/main" id="{7D72ABEC-524C-54BD-B3C4-CB7E6F4BF765}"/>
                </a:ext>
              </a:extLst>
            </p:cNvPr>
            <p:cNvSpPr/>
            <p:nvPr/>
          </p:nvSpPr>
          <p:spPr>
            <a:xfrm>
              <a:off x="295861" y="3539535"/>
              <a:ext cx="3048996" cy="2391593"/>
            </a:xfrm>
            <a:custGeom>
              <a:avLst/>
              <a:gdLst>
                <a:gd name="connsiteX0" fmla="*/ 23014 w 2910668"/>
                <a:gd name="connsiteY0" fmla="*/ -15066 h 2104678"/>
                <a:gd name="connsiteX1" fmla="*/ 2903189 w 2910668"/>
                <a:gd name="connsiteY1" fmla="*/ 2009336 h 2104678"/>
                <a:gd name="connsiteX2" fmla="*/ 2872695 w 2910668"/>
                <a:gd name="connsiteY2" fmla="*/ 2089612 h 2104678"/>
                <a:gd name="connsiteX3" fmla="*/ -7480 w 2910668"/>
                <a:gd name="connsiteY3" fmla="*/ 65020 h 2104678"/>
                <a:gd name="connsiteX4" fmla="*/ 23014 w 2910668"/>
                <a:gd name="connsiteY4" fmla="*/ -15066 h 2104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0668" h="2104678">
                  <a:moveTo>
                    <a:pt x="23014" y="-15066"/>
                  </a:moveTo>
                  <a:lnTo>
                    <a:pt x="2903189" y="2009336"/>
                  </a:lnTo>
                  <a:lnTo>
                    <a:pt x="2872695" y="2089612"/>
                  </a:lnTo>
                  <a:lnTo>
                    <a:pt x="-7480" y="65020"/>
                  </a:lnTo>
                  <a:lnTo>
                    <a:pt x="23014" y="-15066"/>
                  </a:lnTo>
                  <a:close/>
                </a:path>
              </a:pathLst>
            </a:custGeom>
            <a:solidFill>
              <a:srgbClr val="007476"/>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0" name="Freeform: Shape 1349">
              <a:extLst>
                <a:ext uri="{FF2B5EF4-FFF2-40B4-BE49-F238E27FC236}">
                  <a16:creationId xmlns:a16="http://schemas.microsoft.com/office/drawing/2014/main" id="{05C67F3D-3717-AB93-523C-1639832DF004}"/>
                </a:ext>
              </a:extLst>
            </p:cNvPr>
            <p:cNvSpPr/>
            <p:nvPr/>
          </p:nvSpPr>
          <p:spPr>
            <a:xfrm>
              <a:off x="502895" y="3341532"/>
              <a:ext cx="2945180" cy="2412343"/>
            </a:xfrm>
            <a:custGeom>
              <a:avLst/>
              <a:gdLst>
                <a:gd name="connsiteX0" fmla="*/ 68756 w 2811562"/>
                <a:gd name="connsiteY0" fmla="*/ -14216 h 2122939"/>
                <a:gd name="connsiteX1" fmla="*/ 2803321 w 2811562"/>
                <a:gd name="connsiteY1" fmla="*/ 1907464 h 2122939"/>
                <a:gd name="connsiteX2" fmla="*/ 2725942 w 2811562"/>
                <a:gd name="connsiteY2" fmla="*/ 2108724 h 2122939"/>
                <a:gd name="connsiteX3" fmla="*/ -8242 w 2811562"/>
                <a:gd name="connsiteY3" fmla="*/ 187616 h 2122939"/>
                <a:gd name="connsiteX4" fmla="*/ 68756 w 2811562"/>
                <a:gd name="connsiteY4" fmla="*/ -14216 h 212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562" h="2122939">
                  <a:moveTo>
                    <a:pt x="68756" y="-14216"/>
                  </a:moveTo>
                  <a:lnTo>
                    <a:pt x="2803321" y="1907464"/>
                  </a:lnTo>
                  <a:lnTo>
                    <a:pt x="2725942" y="2108724"/>
                  </a:lnTo>
                  <a:lnTo>
                    <a:pt x="-8242" y="187616"/>
                  </a:lnTo>
                  <a:lnTo>
                    <a:pt x="68756" y="-14216"/>
                  </a:lnTo>
                  <a:close/>
                </a:path>
              </a:pathLst>
            </a:custGeom>
            <a:solidFill>
              <a:srgbClr val="86B7C9"/>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1" name="Freeform: Shape 1350">
              <a:extLst>
                <a:ext uri="{FF2B5EF4-FFF2-40B4-BE49-F238E27FC236}">
                  <a16:creationId xmlns:a16="http://schemas.microsoft.com/office/drawing/2014/main" id="{30A98D56-89DB-BED1-661F-A3E53B11AEA9}"/>
                </a:ext>
              </a:extLst>
            </p:cNvPr>
            <p:cNvSpPr/>
            <p:nvPr/>
          </p:nvSpPr>
          <p:spPr>
            <a:xfrm>
              <a:off x="503094" y="3496736"/>
              <a:ext cx="2863725" cy="2256708"/>
            </a:xfrm>
            <a:custGeom>
              <a:avLst/>
              <a:gdLst>
                <a:gd name="connsiteX0" fmla="*/ 16162 w 2733802"/>
                <a:gd name="connsiteY0" fmla="*/ -14566 h 1985975"/>
                <a:gd name="connsiteX1" fmla="*/ 14066 w 2733802"/>
                <a:gd name="connsiteY1" fmla="*/ -9240 h 1985975"/>
                <a:gd name="connsiteX2" fmla="*/ -8043 w 2733802"/>
                <a:gd name="connsiteY2" fmla="*/ 48779 h 1985975"/>
                <a:gd name="connsiteX3" fmla="*/ 16162 w 2733802"/>
                <a:gd name="connsiteY3" fmla="*/ -14566 h 1985975"/>
                <a:gd name="connsiteX4" fmla="*/ -8043 w 2733802"/>
                <a:gd name="connsiteY4" fmla="*/ 48779 h 1985975"/>
                <a:gd name="connsiteX5" fmla="*/ 2725760 w 2733802"/>
                <a:gd name="connsiteY5" fmla="*/ 1971410 h 1985975"/>
                <a:gd name="connsiteX6" fmla="*/ -8043 w 2733802"/>
                <a:gd name="connsiteY6" fmla="*/ 48779 h 198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3802" h="1985975">
                  <a:moveTo>
                    <a:pt x="16162" y="-14566"/>
                  </a:moveTo>
                  <a:lnTo>
                    <a:pt x="14066" y="-9240"/>
                  </a:lnTo>
                  <a:lnTo>
                    <a:pt x="-8043" y="48779"/>
                  </a:lnTo>
                  <a:lnTo>
                    <a:pt x="16162" y="-14566"/>
                  </a:lnTo>
                  <a:close/>
                  <a:moveTo>
                    <a:pt x="-8043" y="48779"/>
                  </a:moveTo>
                  <a:lnTo>
                    <a:pt x="2725760" y="1971410"/>
                  </a:lnTo>
                  <a:lnTo>
                    <a:pt x="-8043" y="48779"/>
                  </a:lnTo>
                  <a:close/>
                </a:path>
              </a:pathLst>
            </a:custGeom>
            <a:solidFill>
              <a:srgbClr val="8CAAAA"/>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2" name="Freeform: Shape 1351">
              <a:extLst>
                <a:ext uri="{FF2B5EF4-FFF2-40B4-BE49-F238E27FC236}">
                  <a16:creationId xmlns:a16="http://schemas.microsoft.com/office/drawing/2014/main" id="{9F3226AD-C872-041A-4E05-EE1A63F3301A}"/>
                </a:ext>
              </a:extLst>
            </p:cNvPr>
            <p:cNvSpPr/>
            <p:nvPr/>
          </p:nvSpPr>
          <p:spPr>
            <a:xfrm>
              <a:off x="1229485" y="3303822"/>
              <a:ext cx="1102041" cy="541262"/>
            </a:xfrm>
            <a:custGeom>
              <a:avLst/>
              <a:gdLst>
                <a:gd name="connsiteX0" fmla="*/ 729333 w 1052043"/>
                <a:gd name="connsiteY0" fmla="*/ 2924 h 476328"/>
                <a:gd name="connsiteX1" fmla="*/ 697981 w 1052043"/>
                <a:gd name="connsiteY1" fmla="*/ -18761 h 476328"/>
                <a:gd name="connsiteX2" fmla="*/ 549132 w 1052043"/>
                <a:gd name="connsiteY2" fmla="*/ 33171 h 476328"/>
                <a:gd name="connsiteX3" fmla="*/ 580008 w 1052043"/>
                <a:gd name="connsiteY3" fmla="*/ 55332 h 476328"/>
                <a:gd name="connsiteX4" fmla="*/ 547894 w 1052043"/>
                <a:gd name="connsiteY4" fmla="*/ 66555 h 476328"/>
                <a:gd name="connsiteX5" fmla="*/ 516447 w 1052043"/>
                <a:gd name="connsiteY5" fmla="*/ 44394 h 476328"/>
                <a:gd name="connsiteX6" fmla="*/ 366549 w 1052043"/>
                <a:gd name="connsiteY6" fmla="*/ 97372 h 476328"/>
                <a:gd name="connsiteX7" fmla="*/ 397711 w 1052043"/>
                <a:gd name="connsiteY7" fmla="*/ 119248 h 476328"/>
                <a:gd name="connsiteX8" fmla="*/ 363786 w 1052043"/>
                <a:gd name="connsiteY8" fmla="*/ 131138 h 476328"/>
                <a:gd name="connsiteX9" fmla="*/ 332815 w 1052043"/>
                <a:gd name="connsiteY9" fmla="*/ 108786 h 476328"/>
                <a:gd name="connsiteX10" fmla="*/ 181108 w 1052043"/>
                <a:gd name="connsiteY10" fmla="*/ 162049 h 476328"/>
                <a:gd name="connsiteX11" fmla="*/ 212650 w 1052043"/>
                <a:gd name="connsiteY11" fmla="*/ 184211 h 476328"/>
                <a:gd name="connsiteX12" fmla="*/ 178630 w 1052043"/>
                <a:gd name="connsiteY12" fmla="*/ 196100 h 476328"/>
                <a:gd name="connsiteX13" fmla="*/ 147660 w 1052043"/>
                <a:gd name="connsiteY13" fmla="*/ 173558 h 476328"/>
                <a:gd name="connsiteX14" fmla="*/ -5096 w 1052043"/>
                <a:gd name="connsiteY14" fmla="*/ 226537 h 476328"/>
                <a:gd name="connsiteX15" fmla="*/ 27303 w 1052043"/>
                <a:gd name="connsiteY15" fmla="*/ 249269 h 476328"/>
                <a:gd name="connsiteX16" fmla="*/ -14435 w 1052043"/>
                <a:gd name="connsiteY16" fmla="*/ 263916 h 476328"/>
                <a:gd name="connsiteX17" fmla="*/ 261917 w 1052043"/>
                <a:gd name="connsiteY17" fmla="*/ 457567 h 476328"/>
                <a:gd name="connsiteX18" fmla="*/ 1037609 w 1052043"/>
                <a:gd name="connsiteY18" fmla="*/ 185257 h 476328"/>
                <a:gd name="connsiteX19" fmla="*/ 761352 w 1052043"/>
                <a:gd name="connsiteY19" fmla="*/ -8394 h 476328"/>
                <a:gd name="connsiteX20" fmla="*/ 729333 w 1052043"/>
                <a:gd name="connsiteY20" fmla="*/ 2924 h 47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2043" h="476328">
                  <a:moveTo>
                    <a:pt x="729333" y="2924"/>
                  </a:moveTo>
                  <a:lnTo>
                    <a:pt x="697981" y="-18761"/>
                  </a:lnTo>
                  <a:lnTo>
                    <a:pt x="549132" y="33171"/>
                  </a:lnTo>
                  <a:lnTo>
                    <a:pt x="580008" y="55332"/>
                  </a:lnTo>
                  <a:lnTo>
                    <a:pt x="547894" y="66555"/>
                  </a:lnTo>
                  <a:lnTo>
                    <a:pt x="516447" y="44394"/>
                  </a:lnTo>
                  <a:lnTo>
                    <a:pt x="366549" y="97372"/>
                  </a:lnTo>
                  <a:lnTo>
                    <a:pt x="397711" y="119248"/>
                  </a:lnTo>
                  <a:lnTo>
                    <a:pt x="363786" y="131138"/>
                  </a:lnTo>
                  <a:lnTo>
                    <a:pt x="332815" y="108786"/>
                  </a:lnTo>
                  <a:lnTo>
                    <a:pt x="181108" y="162049"/>
                  </a:lnTo>
                  <a:lnTo>
                    <a:pt x="212650" y="184211"/>
                  </a:lnTo>
                  <a:lnTo>
                    <a:pt x="178630" y="196100"/>
                  </a:lnTo>
                  <a:lnTo>
                    <a:pt x="147660" y="173558"/>
                  </a:lnTo>
                  <a:lnTo>
                    <a:pt x="-5096" y="226537"/>
                  </a:lnTo>
                  <a:lnTo>
                    <a:pt x="27303" y="249269"/>
                  </a:lnTo>
                  <a:lnTo>
                    <a:pt x="-14435" y="263916"/>
                  </a:lnTo>
                  <a:lnTo>
                    <a:pt x="261917" y="457567"/>
                  </a:lnTo>
                  <a:lnTo>
                    <a:pt x="1037609" y="185257"/>
                  </a:lnTo>
                  <a:lnTo>
                    <a:pt x="761352" y="-8394"/>
                  </a:lnTo>
                  <a:lnTo>
                    <a:pt x="729333" y="2924"/>
                  </a:lnTo>
                  <a:close/>
                </a:path>
              </a:pathLst>
            </a:custGeom>
            <a:solidFill>
              <a:srgbClr val="007476"/>
            </a:solidFill>
            <a:ln w="9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4" name="Freeform: Shape 1353">
              <a:extLst>
                <a:ext uri="{FF2B5EF4-FFF2-40B4-BE49-F238E27FC236}">
                  <a16:creationId xmlns:a16="http://schemas.microsoft.com/office/drawing/2014/main" id="{8EEC777D-5709-AF8D-F315-D228B46EAADB}"/>
                </a:ext>
              </a:extLst>
            </p:cNvPr>
            <p:cNvSpPr/>
            <p:nvPr/>
          </p:nvSpPr>
          <p:spPr>
            <a:xfrm>
              <a:off x="6667160" y="4003652"/>
              <a:ext cx="1191086" cy="428859"/>
            </a:xfrm>
            <a:custGeom>
              <a:avLst/>
              <a:gdLst>
                <a:gd name="connsiteX0" fmla="*/ 803193 w 1137048"/>
                <a:gd name="connsiteY0" fmla="*/ 18575 h 377410"/>
                <a:gd name="connsiteX1" fmla="*/ 779179 w 1137048"/>
                <a:gd name="connsiteY1" fmla="*/ -6155 h 377410"/>
                <a:gd name="connsiteX2" fmla="*/ 616416 w 1137048"/>
                <a:gd name="connsiteY2" fmla="*/ 29227 h 377410"/>
                <a:gd name="connsiteX3" fmla="*/ 639668 w 1137048"/>
                <a:gd name="connsiteY3" fmla="*/ 54337 h 377410"/>
                <a:gd name="connsiteX4" fmla="*/ 594689 w 1137048"/>
                <a:gd name="connsiteY4" fmla="*/ 61566 h 377410"/>
                <a:gd name="connsiteX5" fmla="*/ 570675 w 1137048"/>
                <a:gd name="connsiteY5" fmla="*/ 36456 h 377410"/>
                <a:gd name="connsiteX6" fmla="*/ 406388 w 1137048"/>
                <a:gd name="connsiteY6" fmla="*/ 72979 h 377410"/>
                <a:gd name="connsiteX7" fmla="*/ 430021 w 1137048"/>
                <a:gd name="connsiteY7" fmla="*/ 97709 h 377410"/>
                <a:gd name="connsiteX8" fmla="*/ 391141 w 1137048"/>
                <a:gd name="connsiteY8" fmla="*/ 105318 h 377410"/>
                <a:gd name="connsiteX9" fmla="*/ 367890 w 1137048"/>
                <a:gd name="connsiteY9" fmla="*/ 80208 h 377410"/>
                <a:gd name="connsiteX10" fmla="*/ 202078 w 1137048"/>
                <a:gd name="connsiteY10" fmla="*/ 116732 h 377410"/>
                <a:gd name="connsiteX11" fmla="*/ 225711 w 1137048"/>
                <a:gd name="connsiteY11" fmla="*/ 141842 h 377410"/>
                <a:gd name="connsiteX12" fmla="*/ 188737 w 1137048"/>
                <a:gd name="connsiteY12" fmla="*/ 149451 h 377410"/>
                <a:gd name="connsiteX13" fmla="*/ 165485 w 1137048"/>
                <a:gd name="connsiteY13" fmla="*/ 123960 h 377410"/>
                <a:gd name="connsiteX14" fmla="*/ -1470 w 1137048"/>
                <a:gd name="connsiteY14" fmla="*/ 160103 h 377410"/>
                <a:gd name="connsiteX15" fmla="*/ 23306 w 1137048"/>
                <a:gd name="connsiteY15" fmla="*/ 185974 h 377410"/>
                <a:gd name="connsiteX16" fmla="*/ -16717 w 1137048"/>
                <a:gd name="connsiteY16" fmla="*/ 192442 h 377410"/>
                <a:gd name="connsiteX17" fmla="*/ 225711 w 1137048"/>
                <a:gd name="connsiteY17" fmla="*/ 371256 h 377410"/>
                <a:gd name="connsiteX18" fmla="*/ 1120331 w 1137048"/>
                <a:gd name="connsiteY18" fmla="*/ 201193 h 377410"/>
                <a:gd name="connsiteX19" fmla="*/ 858845 w 1137048"/>
                <a:gd name="connsiteY19" fmla="*/ 6400 h 377410"/>
                <a:gd name="connsiteX20" fmla="*/ 803193 w 1137048"/>
                <a:gd name="connsiteY20" fmla="*/ 18575 h 37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7048" h="377410">
                  <a:moveTo>
                    <a:pt x="803193" y="18575"/>
                  </a:moveTo>
                  <a:lnTo>
                    <a:pt x="779179" y="-6155"/>
                  </a:lnTo>
                  <a:lnTo>
                    <a:pt x="616416" y="29227"/>
                  </a:lnTo>
                  <a:lnTo>
                    <a:pt x="639668" y="54337"/>
                  </a:lnTo>
                  <a:lnTo>
                    <a:pt x="594689" y="61566"/>
                  </a:lnTo>
                  <a:lnTo>
                    <a:pt x="570675" y="36456"/>
                  </a:lnTo>
                  <a:lnTo>
                    <a:pt x="406388" y="72979"/>
                  </a:lnTo>
                  <a:lnTo>
                    <a:pt x="430021" y="97709"/>
                  </a:lnTo>
                  <a:lnTo>
                    <a:pt x="391141" y="105318"/>
                  </a:lnTo>
                  <a:lnTo>
                    <a:pt x="367890" y="80208"/>
                  </a:lnTo>
                  <a:lnTo>
                    <a:pt x="202078" y="116732"/>
                  </a:lnTo>
                  <a:lnTo>
                    <a:pt x="225711" y="141842"/>
                  </a:lnTo>
                  <a:lnTo>
                    <a:pt x="188737" y="149451"/>
                  </a:lnTo>
                  <a:lnTo>
                    <a:pt x="165485" y="123960"/>
                  </a:lnTo>
                  <a:lnTo>
                    <a:pt x="-1470" y="160103"/>
                  </a:lnTo>
                  <a:lnTo>
                    <a:pt x="23306" y="185974"/>
                  </a:lnTo>
                  <a:lnTo>
                    <a:pt x="-16717" y="192442"/>
                  </a:lnTo>
                  <a:lnTo>
                    <a:pt x="225711" y="371256"/>
                  </a:lnTo>
                  <a:lnTo>
                    <a:pt x="1120331" y="201193"/>
                  </a:lnTo>
                  <a:lnTo>
                    <a:pt x="858845" y="6400"/>
                  </a:lnTo>
                  <a:lnTo>
                    <a:pt x="803193" y="18575"/>
                  </a:lnTo>
                  <a:close/>
                </a:path>
              </a:pathLst>
            </a:custGeom>
            <a:solidFill>
              <a:srgbClr val="C0D619"/>
            </a:solidFill>
            <a:ln w="381"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5" name="Freeform: Shape 1354">
              <a:extLst>
                <a:ext uri="{FF2B5EF4-FFF2-40B4-BE49-F238E27FC236}">
                  <a16:creationId xmlns:a16="http://schemas.microsoft.com/office/drawing/2014/main" id="{EFB26A10-F517-CB93-488E-28E3CC135B59}"/>
                </a:ext>
              </a:extLst>
            </p:cNvPr>
            <p:cNvSpPr/>
            <p:nvPr/>
          </p:nvSpPr>
          <p:spPr>
            <a:xfrm>
              <a:off x="6173773" y="3619478"/>
              <a:ext cx="1191086" cy="430156"/>
            </a:xfrm>
            <a:custGeom>
              <a:avLst/>
              <a:gdLst>
                <a:gd name="connsiteX0" fmla="*/ 804295 w 1137048"/>
                <a:gd name="connsiteY0" fmla="*/ 19378 h 378551"/>
                <a:gd name="connsiteX1" fmla="*/ 780281 w 1137048"/>
                <a:gd name="connsiteY1" fmla="*/ -5352 h 378551"/>
                <a:gd name="connsiteX2" fmla="*/ 617519 w 1137048"/>
                <a:gd name="connsiteY2" fmla="*/ 30411 h 378551"/>
                <a:gd name="connsiteX3" fmla="*/ 640771 w 1137048"/>
                <a:gd name="connsiteY3" fmla="*/ 55521 h 378551"/>
                <a:gd name="connsiteX4" fmla="*/ 595792 w 1137048"/>
                <a:gd name="connsiteY4" fmla="*/ 62749 h 378551"/>
                <a:gd name="connsiteX5" fmla="*/ 571778 w 1137048"/>
                <a:gd name="connsiteY5" fmla="*/ 37639 h 378551"/>
                <a:gd name="connsiteX6" fmla="*/ 407491 w 1137048"/>
                <a:gd name="connsiteY6" fmla="*/ 74163 h 378551"/>
                <a:gd name="connsiteX7" fmla="*/ 431124 w 1137048"/>
                <a:gd name="connsiteY7" fmla="*/ 98893 h 378551"/>
                <a:gd name="connsiteX8" fmla="*/ 392244 w 1137048"/>
                <a:gd name="connsiteY8" fmla="*/ 106882 h 378551"/>
                <a:gd name="connsiteX9" fmla="*/ 368992 w 1137048"/>
                <a:gd name="connsiteY9" fmla="*/ 81392 h 378551"/>
                <a:gd name="connsiteX10" fmla="*/ 203180 w 1137048"/>
                <a:gd name="connsiteY10" fmla="*/ 117915 h 378551"/>
                <a:gd name="connsiteX11" fmla="*/ 226813 w 1137048"/>
                <a:gd name="connsiteY11" fmla="*/ 143025 h 378551"/>
                <a:gd name="connsiteX12" fmla="*/ 189839 w 1137048"/>
                <a:gd name="connsiteY12" fmla="*/ 151015 h 378551"/>
                <a:gd name="connsiteX13" fmla="*/ 166588 w 1137048"/>
                <a:gd name="connsiteY13" fmla="*/ 125524 h 378551"/>
                <a:gd name="connsiteX14" fmla="*/ -368 w 1137048"/>
                <a:gd name="connsiteY14" fmla="*/ 161667 h 378551"/>
                <a:gd name="connsiteX15" fmla="*/ 24409 w 1137048"/>
                <a:gd name="connsiteY15" fmla="*/ 187538 h 378551"/>
                <a:gd name="connsiteX16" fmla="*/ -15615 w 1137048"/>
                <a:gd name="connsiteY16" fmla="*/ 194006 h 378551"/>
                <a:gd name="connsiteX17" fmla="*/ 226813 w 1137048"/>
                <a:gd name="connsiteY17" fmla="*/ 373200 h 378551"/>
                <a:gd name="connsiteX18" fmla="*/ 1121434 w 1137048"/>
                <a:gd name="connsiteY18" fmla="*/ 202757 h 378551"/>
                <a:gd name="connsiteX19" fmla="*/ 859947 w 1137048"/>
                <a:gd name="connsiteY19" fmla="*/ 7584 h 378551"/>
                <a:gd name="connsiteX20" fmla="*/ 804295 w 1137048"/>
                <a:gd name="connsiteY20" fmla="*/ 19378 h 37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7048" h="378551">
                  <a:moveTo>
                    <a:pt x="804295" y="19378"/>
                  </a:moveTo>
                  <a:lnTo>
                    <a:pt x="780281" y="-5352"/>
                  </a:lnTo>
                  <a:lnTo>
                    <a:pt x="617519" y="30411"/>
                  </a:lnTo>
                  <a:lnTo>
                    <a:pt x="640771" y="55521"/>
                  </a:lnTo>
                  <a:lnTo>
                    <a:pt x="595792" y="62749"/>
                  </a:lnTo>
                  <a:lnTo>
                    <a:pt x="571778" y="37639"/>
                  </a:lnTo>
                  <a:lnTo>
                    <a:pt x="407491" y="74163"/>
                  </a:lnTo>
                  <a:lnTo>
                    <a:pt x="431124" y="98893"/>
                  </a:lnTo>
                  <a:lnTo>
                    <a:pt x="392244" y="106882"/>
                  </a:lnTo>
                  <a:lnTo>
                    <a:pt x="368992" y="81392"/>
                  </a:lnTo>
                  <a:lnTo>
                    <a:pt x="203180" y="117915"/>
                  </a:lnTo>
                  <a:lnTo>
                    <a:pt x="226813" y="143025"/>
                  </a:lnTo>
                  <a:lnTo>
                    <a:pt x="189839" y="151015"/>
                  </a:lnTo>
                  <a:lnTo>
                    <a:pt x="166588" y="125524"/>
                  </a:lnTo>
                  <a:lnTo>
                    <a:pt x="-368" y="161667"/>
                  </a:lnTo>
                  <a:lnTo>
                    <a:pt x="24409" y="187538"/>
                  </a:lnTo>
                  <a:lnTo>
                    <a:pt x="-15615" y="194006"/>
                  </a:lnTo>
                  <a:lnTo>
                    <a:pt x="226813" y="373200"/>
                  </a:lnTo>
                  <a:lnTo>
                    <a:pt x="1121434" y="202757"/>
                  </a:lnTo>
                  <a:lnTo>
                    <a:pt x="859947" y="7584"/>
                  </a:lnTo>
                  <a:lnTo>
                    <a:pt x="804295" y="19378"/>
                  </a:lnTo>
                  <a:close/>
                </a:path>
              </a:pathLst>
            </a:custGeom>
            <a:solidFill>
              <a:srgbClr val="E0E0E0"/>
            </a:solidFill>
            <a:ln w="381"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6" name="Freeform: Shape 1355">
              <a:extLst>
                <a:ext uri="{FF2B5EF4-FFF2-40B4-BE49-F238E27FC236}">
                  <a16:creationId xmlns:a16="http://schemas.microsoft.com/office/drawing/2014/main" id="{466E1204-CEF5-DCB5-F437-E750EBC2A1F9}"/>
                </a:ext>
              </a:extLst>
            </p:cNvPr>
            <p:cNvSpPr/>
            <p:nvPr/>
          </p:nvSpPr>
          <p:spPr>
            <a:xfrm>
              <a:off x="5679188" y="3235305"/>
              <a:ext cx="1192284" cy="430156"/>
            </a:xfrm>
            <a:custGeom>
              <a:avLst/>
              <a:gdLst>
                <a:gd name="connsiteX0" fmla="*/ 806263 w 1138192"/>
                <a:gd name="connsiteY0" fmla="*/ 20250 h 378551"/>
                <a:gd name="connsiteX1" fmla="*/ 782630 w 1138192"/>
                <a:gd name="connsiteY1" fmla="*/ -4479 h 378551"/>
                <a:gd name="connsiteX2" fmla="*/ 619486 w 1138192"/>
                <a:gd name="connsiteY2" fmla="*/ 31283 h 378551"/>
                <a:gd name="connsiteX3" fmla="*/ 642738 w 1138192"/>
                <a:gd name="connsiteY3" fmla="*/ 56393 h 378551"/>
                <a:gd name="connsiteX4" fmla="*/ 597759 w 1138192"/>
                <a:gd name="connsiteY4" fmla="*/ 63622 h 378551"/>
                <a:gd name="connsiteX5" fmla="*/ 573745 w 1138192"/>
                <a:gd name="connsiteY5" fmla="*/ 38512 h 378551"/>
                <a:gd name="connsiteX6" fmla="*/ 409458 w 1138192"/>
                <a:gd name="connsiteY6" fmla="*/ 75035 h 378551"/>
                <a:gd name="connsiteX7" fmla="*/ 433091 w 1138192"/>
                <a:gd name="connsiteY7" fmla="*/ 99765 h 378551"/>
                <a:gd name="connsiteX8" fmla="*/ 394211 w 1138192"/>
                <a:gd name="connsiteY8" fmla="*/ 107755 h 378551"/>
                <a:gd name="connsiteX9" fmla="*/ 370578 w 1138192"/>
                <a:gd name="connsiteY9" fmla="*/ 82264 h 378551"/>
                <a:gd name="connsiteX10" fmla="*/ 204767 w 1138192"/>
                <a:gd name="connsiteY10" fmla="*/ 118788 h 378551"/>
                <a:gd name="connsiteX11" fmla="*/ 228400 w 1138192"/>
                <a:gd name="connsiteY11" fmla="*/ 143898 h 378551"/>
                <a:gd name="connsiteX12" fmla="*/ 191425 w 1138192"/>
                <a:gd name="connsiteY12" fmla="*/ 151887 h 378551"/>
                <a:gd name="connsiteX13" fmla="*/ 168174 w 1138192"/>
                <a:gd name="connsiteY13" fmla="*/ 126397 h 378551"/>
                <a:gd name="connsiteX14" fmla="*/ 837 w 1138192"/>
                <a:gd name="connsiteY14" fmla="*/ 162540 h 378551"/>
                <a:gd name="connsiteX15" fmla="*/ 25614 w 1138192"/>
                <a:gd name="connsiteY15" fmla="*/ 188411 h 378551"/>
                <a:gd name="connsiteX16" fmla="*/ -14410 w 1138192"/>
                <a:gd name="connsiteY16" fmla="*/ 194879 h 378551"/>
                <a:gd name="connsiteX17" fmla="*/ 228400 w 1138192"/>
                <a:gd name="connsiteY17" fmla="*/ 374073 h 378551"/>
                <a:gd name="connsiteX18" fmla="*/ 1123783 w 1138192"/>
                <a:gd name="connsiteY18" fmla="*/ 203629 h 378551"/>
                <a:gd name="connsiteX19" fmla="*/ 862296 w 1138192"/>
                <a:gd name="connsiteY19" fmla="*/ 8456 h 378551"/>
                <a:gd name="connsiteX20" fmla="*/ 806263 w 1138192"/>
                <a:gd name="connsiteY20" fmla="*/ 20250 h 37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8192" h="378551">
                  <a:moveTo>
                    <a:pt x="806263" y="20250"/>
                  </a:moveTo>
                  <a:lnTo>
                    <a:pt x="782630" y="-4479"/>
                  </a:lnTo>
                  <a:lnTo>
                    <a:pt x="619486" y="31283"/>
                  </a:lnTo>
                  <a:lnTo>
                    <a:pt x="642738" y="56393"/>
                  </a:lnTo>
                  <a:lnTo>
                    <a:pt x="597759" y="63622"/>
                  </a:lnTo>
                  <a:lnTo>
                    <a:pt x="573745" y="38512"/>
                  </a:lnTo>
                  <a:lnTo>
                    <a:pt x="409458" y="75035"/>
                  </a:lnTo>
                  <a:lnTo>
                    <a:pt x="433091" y="99765"/>
                  </a:lnTo>
                  <a:lnTo>
                    <a:pt x="394211" y="107755"/>
                  </a:lnTo>
                  <a:lnTo>
                    <a:pt x="370578" y="82264"/>
                  </a:lnTo>
                  <a:lnTo>
                    <a:pt x="204767" y="118788"/>
                  </a:lnTo>
                  <a:lnTo>
                    <a:pt x="228400" y="143898"/>
                  </a:lnTo>
                  <a:lnTo>
                    <a:pt x="191425" y="151887"/>
                  </a:lnTo>
                  <a:lnTo>
                    <a:pt x="168174" y="126397"/>
                  </a:lnTo>
                  <a:lnTo>
                    <a:pt x="837" y="162540"/>
                  </a:lnTo>
                  <a:lnTo>
                    <a:pt x="25614" y="188411"/>
                  </a:lnTo>
                  <a:lnTo>
                    <a:pt x="-14410" y="194879"/>
                  </a:lnTo>
                  <a:lnTo>
                    <a:pt x="228400" y="374073"/>
                  </a:lnTo>
                  <a:lnTo>
                    <a:pt x="1123783" y="203629"/>
                  </a:lnTo>
                  <a:lnTo>
                    <a:pt x="862296" y="8456"/>
                  </a:lnTo>
                  <a:lnTo>
                    <a:pt x="806263" y="20250"/>
                  </a:lnTo>
                  <a:close/>
                </a:path>
              </a:pathLst>
            </a:custGeom>
            <a:solidFill>
              <a:srgbClr val="E0E0E0"/>
            </a:solidFill>
            <a:ln w="381"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57" name="Freeform: Shape 1356">
              <a:extLst>
                <a:ext uri="{FF2B5EF4-FFF2-40B4-BE49-F238E27FC236}">
                  <a16:creationId xmlns:a16="http://schemas.microsoft.com/office/drawing/2014/main" id="{8FFEC9A1-45F2-97C9-AE03-D4D7C8082C9F}"/>
                </a:ext>
              </a:extLst>
            </p:cNvPr>
            <p:cNvSpPr/>
            <p:nvPr/>
          </p:nvSpPr>
          <p:spPr>
            <a:xfrm>
              <a:off x="5185813" y="2852432"/>
              <a:ext cx="1191089" cy="428860"/>
            </a:xfrm>
            <a:custGeom>
              <a:avLst/>
              <a:gdLst>
                <a:gd name="connsiteX0" fmla="*/ 792776 w 1137051"/>
                <a:gd name="connsiteY0" fmla="*/ 17259 h 377411"/>
                <a:gd name="connsiteX1" fmla="*/ 768762 w 1137051"/>
                <a:gd name="connsiteY1" fmla="*/ -7470 h 377411"/>
                <a:gd name="connsiteX2" fmla="*/ 605999 w 1137051"/>
                <a:gd name="connsiteY2" fmla="*/ 28102 h 377411"/>
                <a:gd name="connsiteX3" fmla="*/ 629251 w 1137051"/>
                <a:gd name="connsiteY3" fmla="*/ 53022 h 377411"/>
                <a:gd name="connsiteX4" fmla="*/ 584272 w 1137051"/>
                <a:gd name="connsiteY4" fmla="*/ 60441 h 377411"/>
                <a:gd name="connsiteX5" fmla="*/ 560258 w 1137051"/>
                <a:gd name="connsiteY5" fmla="*/ 35331 h 377411"/>
                <a:gd name="connsiteX6" fmla="*/ 396161 w 1137051"/>
                <a:gd name="connsiteY6" fmla="*/ 71664 h 377411"/>
                <a:gd name="connsiteX7" fmla="*/ 419794 w 1137051"/>
                <a:gd name="connsiteY7" fmla="*/ 96584 h 377411"/>
                <a:gd name="connsiteX8" fmla="*/ 380914 w 1137051"/>
                <a:gd name="connsiteY8" fmla="*/ 104193 h 377411"/>
                <a:gd name="connsiteX9" fmla="*/ 357662 w 1137051"/>
                <a:gd name="connsiteY9" fmla="*/ 78893 h 377411"/>
                <a:gd name="connsiteX10" fmla="*/ 191659 w 1137051"/>
                <a:gd name="connsiteY10" fmla="*/ 115417 h 377411"/>
                <a:gd name="connsiteX11" fmla="*/ 215483 w 1137051"/>
                <a:gd name="connsiteY11" fmla="*/ 140527 h 377411"/>
                <a:gd name="connsiteX12" fmla="*/ 178509 w 1137051"/>
                <a:gd name="connsiteY12" fmla="*/ 148326 h 377411"/>
                <a:gd name="connsiteX13" fmla="*/ 155257 w 1137051"/>
                <a:gd name="connsiteY13" fmla="*/ 122836 h 377411"/>
                <a:gd name="connsiteX14" fmla="*/ -11699 w 1137051"/>
                <a:gd name="connsiteY14" fmla="*/ 158979 h 377411"/>
                <a:gd name="connsiteX15" fmla="*/ 12887 w 1137051"/>
                <a:gd name="connsiteY15" fmla="*/ 184659 h 377411"/>
                <a:gd name="connsiteX16" fmla="*/ -27136 w 1137051"/>
                <a:gd name="connsiteY16" fmla="*/ 191127 h 377411"/>
                <a:gd name="connsiteX17" fmla="*/ 215483 w 1137051"/>
                <a:gd name="connsiteY17" fmla="*/ 369941 h 377411"/>
                <a:gd name="connsiteX18" fmla="*/ 1109915 w 1137051"/>
                <a:gd name="connsiteY18" fmla="*/ 199878 h 377411"/>
                <a:gd name="connsiteX19" fmla="*/ 848618 w 1137051"/>
                <a:gd name="connsiteY19" fmla="*/ 5275 h 377411"/>
                <a:gd name="connsiteX20" fmla="*/ 792776 w 1137051"/>
                <a:gd name="connsiteY20" fmla="*/ 17259 h 37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7051" h="377411">
                  <a:moveTo>
                    <a:pt x="792776" y="17259"/>
                  </a:moveTo>
                  <a:lnTo>
                    <a:pt x="768762" y="-7470"/>
                  </a:lnTo>
                  <a:lnTo>
                    <a:pt x="605999" y="28102"/>
                  </a:lnTo>
                  <a:lnTo>
                    <a:pt x="629251" y="53022"/>
                  </a:lnTo>
                  <a:lnTo>
                    <a:pt x="584272" y="60441"/>
                  </a:lnTo>
                  <a:lnTo>
                    <a:pt x="560258" y="35331"/>
                  </a:lnTo>
                  <a:lnTo>
                    <a:pt x="396161" y="71664"/>
                  </a:lnTo>
                  <a:lnTo>
                    <a:pt x="419794" y="96584"/>
                  </a:lnTo>
                  <a:lnTo>
                    <a:pt x="380914" y="104193"/>
                  </a:lnTo>
                  <a:lnTo>
                    <a:pt x="357662" y="78893"/>
                  </a:lnTo>
                  <a:lnTo>
                    <a:pt x="191659" y="115417"/>
                  </a:lnTo>
                  <a:lnTo>
                    <a:pt x="215483" y="140527"/>
                  </a:lnTo>
                  <a:lnTo>
                    <a:pt x="178509" y="148326"/>
                  </a:lnTo>
                  <a:lnTo>
                    <a:pt x="155257" y="122836"/>
                  </a:lnTo>
                  <a:lnTo>
                    <a:pt x="-11699" y="158979"/>
                  </a:lnTo>
                  <a:lnTo>
                    <a:pt x="12887" y="184659"/>
                  </a:lnTo>
                  <a:lnTo>
                    <a:pt x="-27136" y="191127"/>
                  </a:lnTo>
                  <a:lnTo>
                    <a:pt x="215483" y="369941"/>
                  </a:lnTo>
                  <a:lnTo>
                    <a:pt x="1109915" y="199878"/>
                  </a:lnTo>
                  <a:lnTo>
                    <a:pt x="848618" y="5275"/>
                  </a:lnTo>
                  <a:lnTo>
                    <a:pt x="792776" y="17259"/>
                  </a:lnTo>
                  <a:close/>
                </a:path>
              </a:pathLst>
            </a:custGeom>
            <a:solidFill>
              <a:srgbClr val="E0E0E0"/>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58" name="Freeform: Shape 1357">
              <a:extLst>
                <a:ext uri="{FF2B5EF4-FFF2-40B4-BE49-F238E27FC236}">
                  <a16:creationId xmlns:a16="http://schemas.microsoft.com/office/drawing/2014/main" id="{17AEF0C5-5163-A445-E440-5FCC0367B18E}"/>
                </a:ext>
              </a:extLst>
            </p:cNvPr>
            <p:cNvSpPr/>
            <p:nvPr/>
          </p:nvSpPr>
          <p:spPr>
            <a:xfrm>
              <a:off x="4691029" y="2469555"/>
              <a:ext cx="1192486" cy="428860"/>
            </a:xfrm>
            <a:custGeom>
              <a:avLst/>
              <a:gdLst>
                <a:gd name="connsiteX0" fmla="*/ 796044 w 1138385"/>
                <a:gd name="connsiteY0" fmla="*/ 18856 h 377411"/>
                <a:gd name="connsiteX1" fmla="*/ 772220 w 1138385"/>
                <a:gd name="connsiteY1" fmla="*/ -5874 h 377411"/>
                <a:gd name="connsiteX2" fmla="*/ 609267 w 1138385"/>
                <a:gd name="connsiteY2" fmla="*/ 29699 h 377411"/>
                <a:gd name="connsiteX3" fmla="*/ 632519 w 1138385"/>
                <a:gd name="connsiteY3" fmla="*/ 54619 h 377411"/>
                <a:gd name="connsiteX4" fmla="*/ 587349 w 1138385"/>
                <a:gd name="connsiteY4" fmla="*/ 62038 h 377411"/>
                <a:gd name="connsiteX5" fmla="*/ 563526 w 1138385"/>
                <a:gd name="connsiteY5" fmla="*/ 36927 h 377411"/>
                <a:gd name="connsiteX6" fmla="*/ 399238 w 1138385"/>
                <a:gd name="connsiteY6" fmla="*/ 73261 h 377411"/>
                <a:gd name="connsiteX7" fmla="*/ 422871 w 1138385"/>
                <a:gd name="connsiteY7" fmla="*/ 98181 h 377411"/>
                <a:gd name="connsiteX8" fmla="*/ 383801 w 1138385"/>
                <a:gd name="connsiteY8" fmla="*/ 105790 h 377411"/>
                <a:gd name="connsiteX9" fmla="*/ 360549 w 1138385"/>
                <a:gd name="connsiteY9" fmla="*/ 80490 h 377411"/>
                <a:gd name="connsiteX10" fmla="*/ 194356 w 1138385"/>
                <a:gd name="connsiteY10" fmla="*/ 117013 h 377411"/>
                <a:gd name="connsiteX11" fmla="*/ 218179 w 1138385"/>
                <a:gd name="connsiteY11" fmla="*/ 142123 h 377411"/>
                <a:gd name="connsiteX12" fmla="*/ 181014 w 1138385"/>
                <a:gd name="connsiteY12" fmla="*/ 149923 h 377411"/>
                <a:gd name="connsiteX13" fmla="*/ 157763 w 1138385"/>
                <a:gd name="connsiteY13" fmla="*/ 124432 h 377411"/>
                <a:gd name="connsiteX14" fmla="*/ -9384 w 1138385"/>
                <a:gd name="connsiteY14" fmla="*/ 160575 h 377411"/>
                <a:gd name="connsiteX15" fmla="*/ 15202 w 1138385"/>
                <a:gd name="connsiteY15" fmla="*/ 186256 h 377411"/>
                <a:gd name="connsiteX16" fmla="*/ -24821 w 1138385"/>
                <a:gd name="connsiteY16" fmla="*/ 192724 h 377411"/>
                <a:gd name="connsiteX17" fmla="*/ 218179 w 1138385"/>
                <a:gd name="connsiteY17" fmla="*/ 371538 h 377411"/>
                <a:gd name="connsiteX18" fmla="*/ 1113564 w 1138385"/>
                <a:gd name="connsiteY18" fmla="*/ 201474 h 377411"/>
                <a:gd name="connsiteX19" fmla="*/ 852077 w 1138385"/>
                <a:gd name="connsiteY19" fmla="*/ 6872 h 377411"/>
                <a:gd name="connsiteX20" fmla="*/ 796044 w 1138385"/>
                <a:gd name="connsiteY20" fmla="*/ 18856 h 37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8385" h="377411">
                  <a:moveTo>
                    <a:pt x="796044" y="18856"/>
                  </a:moveTo>
                  <a:lnTo>
                    <a:pt x="772220" y="-5874"/>
                  </a:lnTo>
                  <a:lnTo>
                    <a:pt x="609267" y="29699"/>
                  </a:lnTo>
                  <a:lnTo>
                    <a:pt x="632519" y="54619"/>
                  </a:lnTo>
                  <a:lnTo>
                    <a:pt x="587349" y="62038"/>
                  </a:lnTo>
                  <a:lnTo>
                    <a:pt x="563526" y="36927"/>
                  </a:lnTo>
                  <a:lnTo>
                    <a:pt x="399238" y="73261"/>
                  </a:lnTo>
                  <a:lnTo>
                    <a:pt x="422871" y="98181"/>
                  </a:lnTo>
                  <a:lnTo>
                    <a:pt x="383801" y="105790"/>
                  </a:lnTo>
                  <a:lnTo>
                    <a:pt x="360549" y="80490"/>
                  </a:lnTo>
                  <a:lnTo>
                    <a:pt x="194356" y="117013"/>
                  </a:lnTo>
                  <a:lnTo>
                    <a:pt x="218179" y="142123"/>
                  </a:lnTo>
                  <a:lnTo>
                    <a:pt x="181014" y="149923"/>
                  </a:lnTo>
                  <a:lnTo>
                    <a:pt x="157763" y="124432"/>
                  </a:lnTo>
                  <a:lnTo>
                    <a:pt x="-9384" y="160575"/>
                  </a:lnTo>
                  <a:lnTo>
                    <a:pt x="15202" y="186256"/>
                  </a:lnTo>
                  <a:lnTo>
                    <a:pt x="-24821" y="192724"/>
                  </a:lnTo>
                  <a:lnTo>
                    <a:pt x="218179" y="371538"/>
                  </a:lnTo>
                  <a:lnTo>
                    <a:pt x="1113564" y="201474"/>
                  </a:lnTo>
                  <a:lnTo>
                    <a:pt x="852077" y="6872"/>
                  </a:lnTo>
                  <a:lnTo>
                    <a:pt x="796044" y="18856"/>
                  </a:lnTo>
                  <a:close/>
                </a:path>
              </a:pathLst>
            </a:custGeom>
            <a:solidFill>
              <a:srgbClr val="E0E0E0"/>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59" name="Freeform: Shape 1358">
              <a:extLst>
                <a:ext uri="{FF2B5EF4-FFF2-40B4-BE49-F238E27FC236}">
                  <a16:creationId xmlns:a16="http://schemas.microsoft.com/office/drawing/2014/main" id="{D0E63F67-2CF7-6C2E-712D-E282D1EED84F}"/>
                </a:ext>
              </a:extLst>
            </p:cNvPr>
            <p:cNvSpPr/>
            <p:nvPr/>
          </p:nvSpPr>
          <p:spPr>
            <a:xfrm>
              <a:off x="1730521" y="3694875"/>
              <a:ext cx="1102041" cy="542991"/>
            </a:xfrm>
            <a:custGeom>
              <a:avLst/>
              <a:gdLst>
                <a:gd name="connsiteX0" fmla="*/ 724754 w 1052043"/>
                <a:gd name="connsiteY0" fmla="*/ -267 h 477850"/>
                <a:gd name="connsiteX1" fmla="*/ 693402 w 1052043"/>
                <a:gd name="connsiteY1" fmla="*/ -21953 h 477850"/>
                <a:gd name="connsiteX2" fmla="*/ 544553 w 1052043"/>
                <a:gd name="connsiteY2" fmla="*/ 30169 h 477850"/>
                <a:gd name="connsiteX3" fmla="*/ 575429 w 1052043"/>
                <a:gd name="connsiteY3" fmla="*/ 52330 h 477850"/>
                <a:gd name="connsiteX4" fmla="*/ 543410 w 1052043"/>
                <a:gd name="connsiteY4" fmla="*/ 63554 h 477850"/>
                <a:gd name="connsiteX5" fmla="*/ 511868 w 1052043"/>
                <a:gd name="connsiteY5" fmla="*/ 41392 h 477850"/>
                <a:gd name="connsiteX6" fmla="*/ 362066 w 1052043"/>
                <a:gd name="connsiteY6" fmla="*/ 94561 h 477850"/>
                <a:gd name="connsiteX7" fmla="*/ 393131 w 1052043"/>
                <a:gd name="connsiteY7" fmla="*/ 116532 h 477850"/>
                <a:gd name="connsiteX8" fmla="*/ 359207 w 1052043"/>
                <a:gd name="connsiteY8" fmla="*/ 128421 h 477850"/>
                <a:gd name="connsiteX9" fmla="*/ 328236 w 1052043"/>
                <a:gd name="connsiteY9" fmla="*/ 106070 h 477850"/>
                <a:gd name="connsiteX10" fmla="*/ 176624 w 1052043"/>
                <a:gd name="connsiteY10" fmla="*/ 159428 h 477850"/>
                <a:gd name="connsiteX11" fmla="*/ 208166 w 1052043"/>
                <a:gd name="connsiteY11" fmla="*/ 181685 h 477850"/>
                <a:gd name="connsiteX12" fmla="*/ 174146 w 1052043"/>
                <a:gd name="connsiteY12" fmla="*/ 193574 h 477850"/>
                <a:gd name="connsiteX13" fmla="*/ 143176 w 1052043"/>
                <a:gd name="connsiteY13" fmla="*/ 170937 h 477850"/>
                <a:gd name="connsiteX14" fmla="*/ -9675 w 1052043"/>
                <a:gd name="connsiteY14" fmla="*/ 224106 h 477850"/>
                <a:gd name="connsiteX15" fmla="*/ 22724 w 1052043"/>
                <a:gd name="connsiteY15" fmla="*/ 246933 h 477850"/>
                <a:gd name="connsiteX16" fmla="*/ -18919 w 1052043"/>
                <a:gd name="connsiteY16" fmla="*/ 261580 h 477850"/>
                <a:gd name="connsiteX17" fmla="*/ 257338 w 1052043"/>
                <a:gd name="connsiteY17" fmla="*/ 455897 h 477850"/>
                <a:gd name="connsiteX18" fmla="*/ 1033125 w 1052043"/>
                <a:gd name="connsiteY18" fmla="*/ 182731 h 477850"/>
                <a:gd name="connsiteX19" fmla="*/ 756868 w 1052043"/>
                <a:gd name="connsiteY19" fmla="*/ -11491 h 477850"/>
                <a:gd name="connsiteX20" fmla="*/ 724754 w 1052043"/>
                <a:gd name="connsiteY20" fmla="*/ -267 h 47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2043" h="477850">
                  <a:moveTo>
                    <a:pt x="724754" y="-267"/>
                  </a:moveTo>
                  <a:lnTo>
                    <a:pt x="693402" y="-21953"/>
                  </a:lnTo>
                  <a:lnTo>
                    <a:pt x="544553" y="30169"/>
                  </a:lnTo>
                  <a:lnTo>
                    <a:pt x="575429" y="52330"/>
                  </a:lnTo>
                  <a:lnTo>
                    <a:pt x="543410" y="63554"/>
                  </a:lnTo>
                  <a:lnTo>
                    <a:pt x="511868" y="41392"/>
                  </a:lnTo>
                  <a:lnTo>
                    <a:pt x="362066" y="94561"/>
                  </a:lnTo>
                  <a:lnTo>
                    <a:pt x="393131" y="116532"/>
                  </a:lnTo>
                  <a:lnTo>
                    <a:pt x="359207" y="128421"/>
                  </a:lnTo>
                  <a:lnTo>
                    <a:pt x="328236" y="106070"/>
                  </a:lnTo>
                  <a:lnTo>
                    <a:pt x="176624" y="159428"/>
                  </a:lnTo>
                  <a:lnTo>
                    <a:pt x="208166" y="181685"/>
                  </a:lnTo>
                  <a:lnTo>
                    <a:pt x="174146" y="193574"/>
                  </a:lnTo>
                  <a:lnTo>
                    <a:pt x="143176" y="170937"/>
                  </a:lnTo>
                  <a:lnTo>
                    <a:pt x="-9675" y="224106"/>
                  </a:lnTo>
                  <a:lnTo>
                    <a:pt x="22724" y="246933"/>
                  </a:lnTo>
                  <a:lnTo>
                    <a:pt x="-18919" y="261580"/>
                  </a:lnTo>
                  <a:lnTo>
                    <a:pt x="257338" y="455897"/>
                  </a:lnTo>
                  <a:lnTo>
                    <a:pt x="1033125" y="182731"/>
                  </a:lnTo>
                  <a:lnTo>
                    <a:pt x="756868" y="-11491"/>
                  </a:lnTo>
                  <a:lnTo>
                    <a:pt x="724754" y="-267"/>
                  </a:lnTo>
                  <a:close/>
                </a:path>
              </a:pathLst>
            </a:custGeom>
            <a:solidFill>
              <a:srgbClr val="007476"/>
            </a:solidFill>
            <a:ln w="9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0" name="Freeform: Shape 1359">
              <a:extLst>
                <a:ext uri="{FF2B5EF4-FFF2-40B4-BE49-F238E27FC236}">
                  <a16:creationId xmlns:a16="http://schemas.microsoft.com/office/drawing/2014/main" id="{0DCD5DC8-7D55-F8B5-3355-7E25F20C9EC4}"/>
                </a:ext>
              </a:extLst>
            </p:cNvPr>
            <p:cNvSpPr/>
            <p:nvPr/>
          </p:nvSpPr>
          <p:spPr>
            <a:xfrm>
              <a:off x="2221755" y="4079478"/>
              <a:ext cx="1100444" cy="542991"/>
            </a:xfrm>
            <a:custGeom>
              <a:avLst/>
              <a:gdLst>
                <a:gd name="connsiteX0" fmla="*/ 719165 w 1050519"/>
                <a:gd name="connsiteY0" fmla="*/ -3468 h 477850"/>
                <a:gd name="connsiteX1" fmla="*/ 687813 w 1050519"/>
                <a:gd name="connsiteY1" fmla="*/ -25154 h 477850"/>
                <a:gd name="connsiteX2" fmla="*/ 539250 w 1050519"/>
                <a:gd name="connsiteY2" fmla="*/ 26969 h 477850"/>
                <a:gd name="connsiteX3" fmla="*/ 570030 w 1050519"/>
                <a:gd name="connsiteY3" fmla="*/ 49130 h 477850"/>
                <a:gd name="connsiteX4" fmla="*/ 538011 w 1050519"/>
                <a:gd name="connsiteY4" fmla="*/ 60449 h 477850"/>
                <a:gd name="connsiteX5" fmla="*/ 506564 w 1050519"/>
                <a:gd name="connsiteY5" fmla="*/ 38192 h 477850"/>
                <a:gd name="connsiteX6" fmla="*/ 356953 w 1050519"/>
                <a:gd name="connsiteY6" fmla="*/ 91360 h 477850"/>
                <a:gd name="connsiteX7" fmla="*/ 388019 w 1050519"/>
                <a:gd name="connsiteY7" fmla="*/ 113332 h 477850"/>
                <a:gd name="connsiteX8" fmla="*/ 354094 w 1050519"/>
                <a:gd name="connsiteY8" fmla="*/ 125221 h 477850"/>
                <a:gd name="connsiteX9" fmla="*/ 323219 w 1050519"/>
                <a:gd name="connsiteY9" fmla="*/ 102869 h 477850"/>
                <a:gd name="connsiteX10" fmla="*/ 171797 w 1050519"/>
                <a:gd name="connsiteY10" fmla="*/ 156228 h 477850"/>
                <a:gd name="connsiteX11" fmla="*/ 203244 w 1050519"/>
                <a:gd name="connsiteY11" fmla="*/ 178484 h 477850"/>
                <a:gd name="connsiteX12" fmla="*/ 169320 w 1050519"/>
                <a:gd name="connsiteY12" fmla="*/ 190374 h 477850"/>
                <a:gd name="connsiteX13" fmla="*/ 138349 w 1050519"/>
                <a:gd name="connsiteY13" fmla="*/ 167737 h 477850"/>
                <a:gd name="connsiteX14" fmla="*/ -14216 w 1050519"/>
                <a:gd name="connsiteY14" fmla="*/ 220905 h 477850"/>
                <a:gd name="connsiteX15" fmla="*/ 18088 w 1050519"/>
                <a:gd name="connsiteY15" fmla="*/ 243732 h 477850"/>
                <a:gd name="connsiteX16" fmla="*/ -23460 w 1050519"/>
                <a:gd name="connsiteY16" fmla="*/ 258380 h 477850"/>
                <a:gd name="connsiteX17" fmla="*/ 252416 w 1050519"/>
                <a:gd name="connsiteY17" fmla="*/ 452697 h 477850"/>
                <a:gd name="connsiteX18" fmla="*/ 1027059 w 1050519"/>
                <a:gd name="connsiteY18" fmla="*/ 179531 h 477850"/>
                <a:gd name="connsiteX19" fmla="*/ 751184 w 1050519"/>
                <a:gd name="connsiteY19" fmla="*/ -14691 h 477850"/>
                <a:gd name="connsiteX20" fmla="*/ 719165 w 1050519"/>
                <a:gd name="connsiteY20" fmla="*/ -3468 h 47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0519" h="477850">
                  <a:moveTo>
                    <a:pt x="719165" y="-3468"/>
                  </a:moveTo>
                  <a:lnTo>
                    <a:pt x="687813" y="-25154"/>
                  </a:lnTo>
                  <a:lnTo>
                    <a:pt x="539250" y="26969"/>
                  </a:lnTo>
                  <a:lnTo>
                    <a:pt x="570030" y="49130"/>
                  </a:lnTo>
                  <a:lnTo>
                    <a:pt x="538011" y="60449"/>
                  </a:lnTo>
                  <a:lnTo>
                    <a:pt x="506564" y="38192"/>
                  </a:lnTo>
                  <a:lnTo>
                    <a:pt x="356953" y="91360"/>
                  </a:lnTo>
                  <a:lnTo>
                    <a:pt x="388019" y="113332"/>
                  </a:lnTo>
                  <a:lnTo>
                    <a:pt x="354094" y="125221"/>
                  </a:lnTo>
                  <a:lnTo>
                    <a:pt x="323219" y="102869"/>
                  </a:lnTo>
                  <a:lnTo>
                    <a:pt x="171797" y="156228"/>
                  </a:lnTo>
                  <a:lnTo>
                    <a:pt x="203244" y="178484"/>
                  </a:lnTo>
                  <a:lnTo>
                    <a:pt x="169320" y="190374"/>
                  </a:lnTo>
                  <a:lnTo>
                    <a:pt x="138349" y="167737"/>
                  </a:lnTo>
                  <a:lnTo>
                    <a:pt x="-14216" y="220905"/>
                  </a:lnTo>
                  <a:lnTo>
                    <a:pt x="18088" y="243732"/>
                  </a:lnTo>
                  <a:lnTo>
                    <a:pt x="-23460" y="258380"/>
                  </a:lnTo>
                  <a:lnTo>
                    <a:pt x="252416" y="452697"/>
                  </a:lnTo>
                  <a:lnTo>
                    <a:pt x="1027059" y="179531"/>
                  </a:lnTo>
                  <a:lnTo>
                    <a:pt x="751184" y="-14691"/>
                  </a:lnTo>
                  <a:lnTo>
                    <a:pt x="719165" y="-3468"/>
                  </a:lnTo>
                  <a:close/>
                </a:path>
              </a:pathLst>
            </a:custGeom>
            <a:solidFill>
              <a:srgbClr val="007476"/>
            </a:solidFill>
            <a:ln w="9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1" name="Freeform: Shape 1360">
              <a:extLst>
                <a:ext uri="{FF2B5EF4-FFF2-40B4-BE49-F238E27FC236}">
                  <a16:creationId xmlns:a16="http://schemas.microsoft.com/office/drawing/2014/main" id="{CA12580F-32D3-C2E6-312C-55CCF418B1A2}"/>
                </a:ext>
              </a:extLst>
            </p:cNvPr>
            <p:cNvSpPr/>
            <p:nvPr/>
          </p:nvSpPr>
          <p:spPr>
            <a:xfrm>
              <a:off x="2702472" y="4464968"/>
              <a:ext cx="1102046" cy="542993"/>
            </a:xfrm>
            <a:custGeom>
              <a:avLst/>
              <a:gdLst>
                <a:gd name="connsiteX0" fmla="*/ 729872 w 1052048"/>
                <a:gd name="connsiteY0" fmla="*/ 7644 h 477851"/>
                <a:gd name="connsiteX1" fmla="*/ 698616 w 1052048"/>
                <a:gd name="connsiteY1" fmla="*/ -14042 h 477851"/>
                <a:gd name="connsiteX2" fmla="*/ 549766 w 1052048"/>
                <a:gd name="connsiteY2" fmla="*/ 38080 h 477851"/>
                <a:gd name="connsiteX3" fmla="*/ 580641 w 1052048"/>
                <a:gd name="connsiteY3" fmla="*/ 60147 h 477851"/>
                <a:gd name="connsiteX4" fmla="*/ 548432 w 1052048"/>
                <a:gd name="connsiteY4" fmla="*/ 71370 h 477851"/>
                <a:gd name="connsiteX5" fmla="*/ 516985 w 1052048"/>
                <a:gd name="connsiteY5" fmla="*/ 49304 h 477851"/>
                <a:gd name="connsiteX6" fmla="*/ 367182 w 1052048"/>
                <a:gd name="connsiteY6" fmla="*/ 102377 h 477851"/>
                <a:gd name="connsiteX7" fmla="*/ 398248 w 1052048"/>
                <a:gd name="connsiteY7" fmla="*/ 124444 h 477851"/>
                <a:gd name="connsiteX8" fmla="*/ 364323 w 1052048"/>
                <a:gd name="connsiteY8" fmla="*/ 136238 h 477851"/>
                <a:gd name="connsiteX9" fmla="*/ 333448 w 1052048"/>
                <a:gd name="connsiteY9" fmla="*/ 113981 h 477851"/>
                <a:gd name="connsiteX10" fmla="*/ 181739 w 1052048"/>
                <a:gd name="connsiteY10" fmla="*/ 167245 h 477851"/>
                <a:gd name="connsiteX11" fmla="*/ 213186 w 1052048"/>
                <a:gd name="connsiteY11" fmla="*/ 189501 h 477851"/>
                <a:gd name="connsiteX12" fmla="*/ 179262 w 1052048"/>
                <a:gd name="connsiteY12" fmla="*/ 201486 h 477851"/>
                <a:gd name="connsiteX13" fmla="*/ 148196 w 1052048"/>
                <a:gd name="connsiteY13" fmla="*/ 178849 h 477851"/>
                <a:gd name="connsiteX14" fmla="*/ -4466 w 1052048"/>
                <a:gd name="connsiteY14" fmla="*/ 231922 h 477851"/>
                <a:gd name="connsiteX15" fmla="*/ 27934 w 1052048"/>
                <a:gd name="connsiteY15" fmla="*/ 254749 h 477851"/>
                <a:gd name="connsiteX16" fmla="*/ -13805 w 1052048"/>
                <a:gd name="connsiteY16" fmla="*/ 269397 h 477851"/>
                <a:gd name="connsiteX17" fmla="*/ 262549 w 1052048"/>
                <a:gd name="connsiteY17" fmla="*/ 463810 h 477851"/>
                <a:gd name="connsiteX18" fmla="*/ 1038244 w 1052048"/>
                <a:gd name="connsiteY18" fmla="*/ 190643 h 477851"/>
                <a:gd name="connsiteX19" fmla="*/ 761891 w 1052048"/>
                <a:gd name="connsiteY19" fmla="*/ -3770 h 477851"/>
                <a:gd name="connsiteX20" fmla="*/ 729872 w 1052048"/>
                <a:gd name="connsiteY20" fmla="*/ 7644 h 47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2048" h="477851">
                  <a:moveTo>
                    <a:pt x="729872" y="7644"/>
                  </a:moveTo>
                  <a:lnTo>
                    <a:pt x="698616" y="-14042"/>
                  </a:lnTo>
                  <a:lnTo>
                    <a:pt x="549766" y="38080"/>
                  </a:lnTo>
                  <a:lnTo>
                    <a:pt x="580641" y="60147"/>
                  </a:lnTo>
                  <a:lnTo>
                    <a:pt x="548432" y="71370"/>
                  </a:lnTo>
                  <a:lnTo>
                    <a:pt x="516985" y="49304"/>
                  </a:lnTo>
                  <a:lnTo>
                    <a:pt x="367182" y="102377"/>
                  </a:lnTo>
                  <a:lnTo>
                    <a:pt x="398248" y="124444"/>
                  </a:lnTo>
                  <a:lnTo>
                    <a:pt x="364323" y="136238"/>
                  </a:lnTo>
                  <a:lnTo>
                    <a:pt x="333448" y="113981"/>
                  </a:lnTo>
                  <a:lnTo>
                    <a:pt x="181739" y="167245"/>
                  </a:lnTo>
                  <a:lnTo>
                    <a:pt x="213186" y="189501"/>
                  </a:lnTo>
                  <a:lnTo>
                    <a:pt x="179262" y="201486"/>
                  </a:lnTo>
                  <a:lnTo>
                    <a:pt x="148196" y="178849"/>
                  </a:lnTo>
                  <a:lnTo>
                    <a:pt x="-4466" y="231922"/>
                  </a:lnTo>
                  <a:lnTo>
                    <a:pt x="27934" y="254749"/>
                  </a:lnTo>
                  <a:lnTo>
                    <a:pt x="-13805" y="269397"/>
                  </a:lnTo>
                  <a:lnTo>
                    <a:pt x="262549" y="463810"/>
                  </a:lnTo>
                  <a:lnTo>
                    <a:pt x="1038244" y="190643"/>
                  </a:lnTo>
                  <a:lnTo>
                    <a:pt x="761891" y="-3770"/>
                  </a:lnTo>
                  <a:lnTo>
                    <a:pt x="729872" y="7644"/>
                  </a:lnTo>
                  <a:close/>
                </a:path>
              </a:pathLst>
            </a:custGeom>
            <a:solidFill>
              <a:srgbClr val="007476"/>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2" name="Freeform: Shape 1361">
              <a:extLst>
                <a:ext uri="{FF2B5EF4-FFF2-40B4-BE49-F238E27FC236}">
                  <a16:creationId xmlns:a16="http://schemas.microsoft.com/office/drawing/2014/main" id="{FC921D3D-0BC0-5B6B-82DD-FCC3DD76F858}"/>
                </a:ext>
              </a:extLst>
            </p:cNvPr>
            <p:cNvSpPr/>
            <p:nvPr/>
          </p:nvSpPr>
          <p:spPr>
            <a:xfrm>
              <a:off x="3167772" y="4856238"/>
              <a:ext cx="1102046" cy="542993"/>
            </a:xfrm>
            <a:custGeom>
              <a:avLst/>
              <a:gdLst>
                <a:gd name="connsiteX0" fmla="*/ 727508 w 1052048"/>
                <a:gd name="connsiteY0" fmla="*/ 5966 h 477851"/>
                <a:gd name="connsiteX1" fmla="*/ 696251 w 1052048"/>
                <a:gd name="connsiteY1" fmla="*/ -15720 h 477851"/>
                <a:gd name="connsiteX2" fmla="*/ 547402 w 1052048"/>
                <a:gd name="connsiteY2" fmla="*/ 36402 h 477851"/>
                <a:gd name="connsiteX3" fmla="*/ 578277 w 1052048"/>
                <a:gd name="connsiteY3" fmla="*/ 58469 h 477851"/>
                <a:gd name="connsiteX4" fmla="*/ 546067 w 1052048"/>
                <a:gd name="connsiteY4" fmla="*/ 69882 h 477851"/>
                <a:gd name="connsiteX5" fmla="*/ 514620 w 1052048"/>
                <a:gd name="connsiteY5" fmla="*/ 47626 h 477851"/>
                <a:gd name="connsiteX6" fmla="*/ 364818 w 1052048"/>
                <a:gd name="connsiteY6" fmla="*/ 100699 h 477851"/>
                <a:gd name="connsiteX7" fmla="*/ 395884 w 1052048"/>
                <a:gd name="connsiteY7" fmla="*/ 122766 h 477851"/>
                <a:gd name="connsiteX8" fmla="*/ 361959 w 1052048"/>
                <a:gd name="connsiteY8" fmla="*/ 134560 h 477851"/>
                <a:gd name="connsiteX9" fmla="*/ 331083 w 1052048"/>
                <a:gd name="connsiteY9" fmla="*/ 112303 h 477851"/>
                <a:gd name="connsiteX10" fmla="*/ 179375 w 1052048"/>
                <a:gd name="connsiteY10" fmla="*/ 165567 h 477851"/>
                <a:gd name="connsiteX11" fmla="*/ 210822 w 1052048"/>
                <a:gd name="connsiteY11" fmla="*/ 187824 h 477851"/>
                <a:gd name="connsiteX12" fmla="*/ 176897 w 1052048"/>
                <a:gd name="connsiteY12" fmla="*/ 199808 h 477851"/>
                <a:gd name="connsiteX13" fmla="*/ 145831 w 1052048"/>
                <a:gd name="connsiteY13" fmla="*/ 177171 h 477851"/>
                <a:gd name="connsiteX14" fmla="*/ -6830 w 1052048"/>
                <a:gd name="connsiteY14" fmla="*/ 230244 h 477851"/>
                <a:gd name="connsiteX15" fmla="*/ 25570 w 1052048"/>
                <a:gd name="connsiteY15" fmla="*/ 253072 h 477851"/>
                <a:gd name="connsiteX16" fmla="*/ -16169 w 1052048"/>
                <a:gd name="connsiteY16" fmla="*/ 267719 h 477851"/>
                <a:gd name="connsiteX17" fmla="*/ 260185 w 1052048"/>
                <a:gd name="connsiteY17" fmla="*/ 462132 h 477851"/>
                <a:gd name="connsiteX18" fmla="*/ 1035880 w 1052048"/>
                <a:gd name="connsiteY18" fmla="*/ 188965 h 477851"/>
                <a:gd name="connsiteX19" fmla="*/ 759527 w 1052048"/>
                <a:gd name="connsiteY19" fmla="*/ -5257 h 477851"/>
                <a:gd name="connsiteX20" fmla="*/ 727508 w 1052048"/>
                <a:gd name="connsiteY20" fmla="*/ 5966 h 47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2048" h="477851">
                  <a:moveTo>
                    <a:pt x="727508" y="5966"/>
                  </a:moveTo>
                  <a:lnTo>
                    <a:pt x="696251" y="-15720"/>
                  </a:lnTo>
                  <a:lnTo>
                    <a:pt x="547402" y="36402"/>
                  </a:lnTo>
                  <a:lnTo>
                    <a:pt x="578277" y="58469"/>
                  </a:lnTo>
                  <a:lnTo>
                    <a:pt x="546067" y="69882"/>
                  </a:lnTo>
                  <a:lnTo>
                    <a:pt x="514620" y="47626"/>
                  </a:lnTo>
                  <a:lnTo>
                    <a:pt x="364818" y="100699"/>
                  </a:lnTo>
                  <a:lnTo>
                    <a:pt x="395884" y="122766"/>
                  </a:lnTo>
                  <a:lnTo>
                    <a:pt x="361959" y="134560"/>
                  </a:lnTo>
                  <a:lnTo>
                    <a:pt x="331083" y="112303"/>
                  </a:lnTo>
                  <a:lnTo>
                    <a:pt x="179375" y="165567"/>
                  </a:lnTo>
                  <a:lnTo>
                    <a:pt x="210822" y="187824"/>
                  </a:lnTo>
                  <a:lnTo>
                    <a:pt x="176897" y="199808"/>
                  </a:lnTo>
                  <a:lnTo>
                    <a:pt x="145831" y="177171"/>
                  </a:lnTo>
                  <a:lnTo>
                    <a:pt x="-6830" y="230244"/>
                  </a:lnTo>
                  <a:lnTo>
                    <a:pt x="25570" y="253072"/>
                  </a:lnTo>
                  <a:lnTo>
                    <a:pt x="-16169" y="267719"/>
                  </a:lnTo>
                  <a:lnTo>
                    <a:pt x="260185" y="462132"/>
                  </a:lnTo>
                  <a:lnTo>
                    <a:pt x="1035880" y="188965"/>
                  </a:lnTo>
                  <a:lnTo>
                    <a:pt x="759527" y="-5257"/>
                  </a:lnTo>
                  <a:lnTo>
                    <a:pt x="727508" y="5966"/>
                  </a:lnTo>
                  <a:close/>
                </a:path>
              </a:pathLst>
            </a:custGeom>
            <a:solidFill>
              <a:srgbClr val="007476"/>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3" name="Freeform: Shape 1362">
              <a:extLst>
                <a:ext uri="{FF2B5EF4-FFF2-40B4-BE49-F238E27FC236}">
                  <a16:creationId xmlns:a16="http://schemas.microsoft.com/office/drawing/2014/main" id="{CFA6D8B9-D5B4-10F4-8199-49EFD1FDCB8D}"/>
                </a:ext>
              </a:extLst>
            </p:cNvPr>
            <p:cNvSpPr/>
            <p:nvPr/>
          </p:nvSpPr>
          <p:spPr>
            <a:xfrm>
              <a:off x="2231899" y="3013712"/>
              <a:ext cx="1194677" cy="453070"/>
            </a:xfrm>
            <a:custGeom>
              <a:avLst/>
              <a:gdLst>
                <a:gd name="connsiteX0" fmla="*/ 806754 w 1140476"/>
                <a:gd name="connsiteY0" fmla="*/ 5193 h 398716"/>
                <a:gd name="connsiteX1" fmla="*/ 775402 w 1140476"/>
                <a:gd name="connsiteY1" fmla="*/ -16493 h 398716"/>
                <a:gd name="connsiteX2" fmla="*/ 587197 w 1140476"/>
                <a:gd name="connsiteY2" fmla="*/ 6429 h 398716"/>
                <a:gd name="connsiteX3" fmla="*/ 618072 w 1140476"/>
                <a:gd name="connsiteY3" fmla="*/ 28686 h 398716"/>
                <a:gd name="connsiteX4" fmla="*/ 582146 w 1140476"/>
                <a:gd name="connsiteY4" fmla="*/ 33727 h 398716"/>
                <a:gd name="connsiteX5" fmla="*/ 540789 w 1140476"/>
                <a:gd name="connsiteY5" fmla="*/ 9853 h 398716"/>
                <a:gd name="connsiteX6" fmla="*/ 358873 w 1140476"/>
                <a:gd name="connsiteY6" fmla="*/ 46187 h 398716"/>
                <a:gd name="connsiteX7" fmla="*/ 391082 w 1140476"/>
                <a:gd name="connsiteY7" fmla="*/ 64734 h 398716"/>
                <a:gd name="connsiteX8" fmla="*/ 352774 w 1140476"/>
                <a:gd name="connsiteY8" fmla="*/ 71582 h 398716"/>
                <a:gd name="connsiteX9" fmla="*/ 323328 w 1140476"/>
                <a:gd name="connsiteY9" fmla="*/ 54652 h 398716"/>
                <a:gd name="connsiteX10" fmla="*/ 170096 w 1140476"/>
                <a:gd name="connsiteY10" fmla="*/ 102589 h 398716"/>
                <a:gd name="connsiteX11" fmla="*/ 201638 w 1140476"/>
                <a:gd name="connsiteY11" fmla="*/ 124846 h 398716"/>
                <a:gd name="connsiteX12" fmla="*/ 167618 w 1140476"/>
                <a:gd name="connsiteY12" fmla="*/ 136830 h 398716"/>
                <a:gd name="connsiteX13" fmla="*/ 136648 w 1140476"/>
                <a:gd name="connsiteY13" fmla="*/ 114193 h 398716"/>
                <a:gd name="connsiteX14" fmla="*/ -16108 w 1140476"/>
                <a:gd name="connsiteY14" fmla="*/ 167266 h 398716"/>
                <a:gd name="connsiteX15" fmla="*/ 16292 w 1140476"/>
                <a:gd name="connsiteY15" fmla="*/ 190094 h 398716"/>
                <a:gd name="connsiteX16" fmla="*/ -25352 w 1140476"/>
                <a:gd name="connsiteY16" fmla="*/ 204836 h 398716"/>
                <a:gd name="connsiteX17" fmla="*/ 227749 w 1140476"/>
                <a:gd name="connsiteY17" fmla="*/ 382223 h 398716"/>
                <a:gd name="connsiteX18" fmla="*/ 1115125 w 1140476"/>
                <a:gd name="connsiteY18" fmla="*/ 188287 h 398716"/>
                <a:gd name="connsiteX19" fmla="*/ 842775 w 1140476"/>
                <a:gd name="connsiteY19" fmla="*/ -2131 h 398716"/>
                <a:gd name="connsiteX20" fmla="*/ 806754 w 1140476"/>
                <a:gd name="connsiteY20" fmla="*/ 5193 h 39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476" h="398716">
                  <a:moveTo>
                    <a:pt x="806754" y="5193"/>
                  </a:moveTo>
                  <a:lnTo>
                    <a:pt x="775402" y="-16493"/>
                  </a:lnTo>
                  <a:lnTo>
                    <a:pt x="587197" y="6429"/>
                  </a:lnTo>
                  <a:lnTo>
                    <a:pt x="618072" y="28686"/>
                  </a:lnTo>
                  <a:lnTo>
                    <a:pt x="582146" y="33727"/>
                  </a:lnTo>
                  <a:lnTo>
                    <a:pt x="540789" y="9853"/>
                  </a:lnTo>
                  <a:lnTo>
                    <a:pt x="358873" y="46187"/>
                  </a:lnTo>
                  <a:lnTo>
                    <a:pt x="391082" y="64734"/>
                  </a:lnTo>
                  <a:lnTo>
                    <a:pt x="352774" y="71582"/>
                  </a:lnTo>
                  <a:lnTo>
                    <a:pt x="323328" y="54652"/>
                  </a:lnTo>
                  <a:lnTo>
                    <a:pt x="170096" y="102589"/>
                  </a:lnTo>
                  <a:lnTo>
                    <a:pt x="201638" y="124846"/>
                  </a:lnTo>
                  <a:lnTo>
                    <a:pt x="167618" y="136830"/>
                  </a:lnTo>
                  <a:lnTo>
                    <a:pt x="136648" y="114193"/>
                  </a:lnTo>
                  <a:lnTo>
                    <a:pt x="-16108" y="167266"/>
                  </a:lnTo>
                  <a:lnTo>
                    <a:pt x="16292" y="190094"/>
                  </a:lnTo>
                  <a:lnTo>
                    <a:pt x="-25352" y="204836"/>
                  </a:lnTo>
                  <a:lnTo>
                    <a:pt x="227749" y="382223"/>
                  </a:lnTo>
                  <a:cubicBezTo>
                    <a:pt x="618072" y="224620"/>
                    <a:pt x="952172" y="195896"/>
                    <a:pt x="1115125" y="188287"/>
                  </a:cubicBezTo>
                  <a:lnTo>
                    <a:pt x="842775" y="-2131"/>
                  </a:lnTo>
                  <a:lnTo>
                    <a:pt x="806754" y="5193"/>
                  </a:lnTo>
                  <a:close/>
                </a:path>
              </a:pathLst>
            </a:custGeom>
            <a:solidFill>
              <a:srgbClr val="007476"/>
            </a:solidFill>
            <a:ln w="9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4" name="Freeform: Shape 1363">
              <a:extLst>
                <a:ext uri="{FF2B5EF4-FFF2-40B4-BE49-F238E27FC236}">
                  <a16:creationId xmlns:a16="http://schemas.microsoft.com/office/drawing/2014/main" id="{457B552F-0EFA-F64E-A46A-BA2989AE7A2E}"/>
                </a:ext>
              </a:extLst>
            </p:cNvPr>
            <p:cNvSpPr/>
            <p:nvPr/>
          </p:nvSpPr>
          <p:spPr>
            <a:xfrm>
              <a:off x="3506727" y="2733486"/>
              <a:ext cx="1194683" cy="451341"/>
            </a:xfrm>
            <a:custGeom>
              <a:avLst/>
              <a:gdLst>
                <a:gd name="connsiteX0" fmla="*/ 813096 w 1140482"/>
                <a:gd name="connsiteY0" fmla="*/ 14565 h 397195"/>
                <a:gd name="connsiteX1" fmla="*/ 781840 w 1140482"/>
                <a:gd name="connsiteY1" fmla="*/ -7121 h 397195"/>
                <a:gd name="connsiteX2" fmla="*/ 593538 w 1140482"/>
                <a:gd name="connsiteY2" fmla="*/ 15706 h 397195"/>
                <a:gd name="connsiteX3" fmla="*/ 624414 w 1140482"/>
                <a:gd name="connsiteY3" fmla="*/ 37772 h 397195"/>
                <a:gd name="connsiteX4" fmla="*/ 588583 w 1140482"/>
                <a:gd name="connsiteY4" fmla="*/ 42909 h 397195"/>
                <a:gd name="connsiteX5" fmla="*/ 547225 w 1140482"/>
                <a:gd name="connsiteY5" fmla="*/ 19130 h 397195"/>
                <a:gd name="connsiteX6" fmla="*/ 365404 w 1140482"/>
                <a:gd name="connsiteY6" fmla="*/ 55273 h 397195"/>
                <a:gd name="connsiteX7" fmla="*/ 397613 w 1140482"/>
                <a:gd name="connsiteY7" fmla="*/ 73725 h 397195"/>
                <a:gd name="connsiteX8" fmla="*/ 359114 w 1140482"/>
                <a:gd name="connsiteY8" fmla="*/ 80574 h 397195"/>
                <a:gd name="connsiteX9" fmla="*/ 329764 w 1140482"/>
                <a:gd name="connsiteY9" fmla="*/ 63834 h 397195"/>
                <a:gd name="connsiteX10" fmla="*/ 176531 w 1140482"/>
                <a:gd name="connsiteY10" fmla="*/ 111581 h 397195"/>
                <a:gd name="connsiteX11" fmla="*/ 207978 w 1140482"/>
                <a:gd name="connsiteY11" fmla="*/ 133647 h 397195"/>
                <a:gd name="connsiteX12" fmla="*/ 174053 w 1140482"/>
                <a:gd name="connsiteY12" fmla="*/ 145631 h 397195"/>
                <a:gd name="connsiteX13" fmla="*/ 142987 w 1140482"/>
                <a:gd name="connsiteY13" fmla="*/ 122994 h 397195"/>
                <a:gd name="connsiteX14" fmla="*/ -9674 w 1140482"/>
                <a:gd name="connsiteY14" fmla="*/ 175878 h 397195"/>
                <a:gd name="connsiteX15" fmla="*/ 22726 w 1140482"/>
                <a:gd name="connsiteY15" fmla="*/ 198705 h 397195"/>
                <a:gd name="connsiteX16" fmla="*/ -19013 w 1140482"/>
                <a:gd name="connsiteY16" fmla="*/ 213352 h 397195"/>
                <a:gd name="connsiteX17" fmla="*/ 234088 w 1140482"/>
                <a:gd name="connsiteY17" fmla="*/ 390074 h 397195"/>
                <a:gd name="connsiteX18" fmla="*/ 1121469 w 1140482"/>
                <a:gd name="connsiteY18" fmla="*/ 196803 h 397195"/>
                <a:gd name="connsiteX19" fmla="*/ 849118 w 1140482"/>
                <a:gd name="connsiteY19" fmla="*/ 7146 h 397195"/>
                <a:gd name="connsiteX20" fmla="*/ 813096 w 1140482"/>
                <a:gd name="connsiteY20" fmla="*/ 14565 h 39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482" h="397195">
                  <a:moveTo>
                    <a:pt x="813096" y="14565"/>
                  </a:moveTo>
                  <a:lnTo>
                    <a:pt x="781840" y="-7121"/>
                  </a:lnTo>
                  <a:lnTo>
                    <a:pt x="593538" y="15706"/>
                  </a:lnTo>
                  <a:lnTo>
                    <a:pt x="624414" y="37772"/>
                  </a:lnTo>
                  <a:lnTo>
                    <a:pt x="588583" y="42909"/>
                  </a:lnTo>
                  <a:lnTo>
                    <a:pt x="547225" y="19130"/>
                  </a:lnTo>
                  <a:lnTo>
                    <a:pt x="365404" y="55273"/>
                  </a:lnTo>
                  <a:lnTo>
                    <a:pt x="397613" y="73725"/>
                  </a:lnTo>
                  <a:lnTo>
                    <a:pt x="359114" y="80574"/>
                  </a:lnTo>
                  <a:lnTo>
                    <a:pt x="329764" y="63834"/>
                  </a:lnTo>
                  <a:lnTo>
                    <a:pt x="176531" y="111581"/>
                  </a:lnTo>
                  <a:lnTo>
                    <a:pt x="207978" y="133647"/>
                  </a:lnTo>
                  <a:lnTo>
                    <a:pt x="174053" y="145631"/>
                  </a:lnTo>
                  <a:lnTo>
                    <a:pt x="142987" y="122994"/>
                  </a:lnTo>
                  <a:lnTo>
                    <a:pt x="-9674" y="175878"/>
                  </a:lnTo>
                  <a:lnTo>
                    <a:pt x="22726" y="198705"/>
                  </a:lnTo>
                  <a:lnTo>
                    <a:pt x="-19013" y="213352"/>
                  </a:lnTo>
                  <a:lnTo>
                    <a:pt x="234088" y="390074"/>
                  </a:lnTo>
                  <a:cubicBezTo>
                    <a:pt x="624414" y="233136"/>
                    <a:pt x="958516" y="204412"/>
                    <a:pt x="1121469" y="196803"/>
                  </a:cubicBezTo>
                  <a:lnTo>
                    <a:pt x="849118" y="7146"/>
                  </a:lnTo>
                  <a:lnTo>
                    <a:pt x="813096" y="14565"/>
                  </a:lnTo>
                  <a:close/>
                </a:path>
              </a:pathLst>
            </a:custGeom>
            <a:solidFill>
              <a:srgbClr val="009D7A"/>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5" name="Freeform: Shape 1364">
              <a:extLst>
                <a:ext uri="{FF2B5EF4-FFF2-40B4-BE49-F238E27FC236}">
                  <a16:creationId xmlns:a16="http://schemas.microsoft.com/office/drawing/2014/main" id="{B6948F40-0D3D-1092-8EFC-F57E13AF3053}"/>
                </a:ext>
              </a:extLst>
            </p:cNvPr>
            <p:cNvSpPr/>
            <p:nvPr/>
          </p:nvSpPr>
          <p:spPr>
            <a:xfrm>
              <a:off x="2724872" y="3401928"/>
              <a:ext cx="1194683" cy="451341"/>
            </a:xfrm>
            <a:custGeom>
              <a:avLst/>
              <a:gdLst>
                <a:gd name="connsiteX0" fmla="*/ 817351 w 1140482"/>
                <a:gd name="connsiteY0" fmla="*/ 11903 h 397195"/>
                <a:gd name="connsiteX1" fmla="*/ 785904 w 1140482"/>
                <a:gd name="connsiteY1" fmla="*/ -9783 h 397195"/>
                <a:gd name="connsiteX2" fmla="*/ 597793 w 1140482"/>
                <a:gd name="connsiteY2" fmla="*/ 13045 h 397195"/>
                <a:gd name="connsiteX3" fmla="*/ 628668 w 1140482"/>
                <a:gd name="connsiteY3" fmla="*/ 35301 h 397195"/>
                <a:gd name="connsiteX4" fmla="*/ 592838 w 1140482"/>
                <a:gd name="connsiteY4" fmla="*/ 40247 h 397195"/>
                <a:gd name="connsiteX5" fmla="*/ 551480 w 1140482"/>
                <a:gd name="connsiteY5" fmla="*/ 16469 h 397195"/>
                <a:gd name="connsiteX6" fmla="*/ 369468 w 1140482"/>
                <a:gd name="connsiteY6" fmla="*/ 52612 h 397195"/>
                <a:gd name="connsiteX7" fmla="*/ 401677 w 1140482"/>
                <a:gd name="connsiteY7" fmla="*/ 71254 h 397195"/>
                <a:gd name="connsiteX8" fmla="*/ 363369 w 1140482"/>
                <a:gd name="connsiteY8" fmla="*/ 78103 h 397195"/>
                <a:gd name="connsiteX9" fmla="*/ 334018 w 1140482"/>
                <a:gd name="connsiteY9" fmla="*/ 61172 h 397195"/>
                <a:gd name="connsiteX10" fmla="*/ 180785 w 1140482"/>
                <a:gd name="connsiteY10" fmla="*/ 108919 h 397195"/>
                <a:gd name="connsiteX11" fmla="*/ 212232 w 1140482"/>
                <a:gd name="connsiteY11" fmla="*/ 130986 h 397195"/>
                <a:gd name="connsiteX12" fmla="*/ 178308 w 1140482"/>
                <a:gd name="connsiteY12" fmla="*/ 142970 h 397195"/>
                <a:gd name="connsiteX13" fmla="*/ 147242 w 1140482"/>
                <a:gd name="connsiteY13" fmla="*/ 120523 h 397195"/>
                <a:gd name="connsiteX14" fmla="*/ -5610 w 1140482"/>
                <a:gd name="connsiteY14" fmla="*/ 173407 h 397195"/>
                <a:gd name="connsiteX15" fmla="*/ 26790 w 1140482"/>
                <a:gd name="connsiteY15" fmla="*/ 196044 h 397195"/>
                <a:gd name="connsiteX16" fmla="*/ -14759 w 1140482"/>
                <a:gd name="connsiteY16" fmla="*/ 210691 h 397195"/>
                <a:gd name="connsiteX17" fmla="*/ 238343 w 1140482"/>
                <a:gd name="connsiteY17" fmla="*/ 387413 h 397195"/>
                <a:gd name="connsiteX18" fmla="*/ 1125723 w 1140482"/>
                <a:gd name="connsiteY18" fmla="*/ 194332 h 397195"/>
                <a:gd name="connsiteX19" fmla="*/ 853372 w 1140482"/>
                <a:gd name="connsiteY19" fmla="*/ 4485 h 397195"/>
                <a:gd name="connsiteX20" fmla="*/ 817351 w 1140482"/>
                <a:gd name="connsiteY20" fmla="*/ 11903 h 39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482" h="397195">
                  <a:moveTo>
                    <a:pt x="817351" y="11903"/>
                  </a:moveTo>
                  <a:lnTo>
                    <a:pt x="785904" y="-9783"/>
                  </a:lnTo>
                  <a:lnTo>
                    <a:pt x="597793" y="13045"/>
                  </a:lnTo>
                  <a:lnTo>
                    <a:pt x="628668" y="35301"/>
                  </a:lnTo>
                  <a:lnTo>
                    <a:pt x="592838" y="40247"/>
                  </a:lnTo>
                  <a:lnTo>
                    <a:pt x="551480" y="16469"/>
                  </a:lnTo>
                  <a:lnTo>
                    <a:pt x="369468" y="52612"/>
                  </a:lnTo>
                  <a:lnTo>
                    <a:pt x="401677" y="71254"/>
                  </a:lnTo>
                  <a:lnTo>
                    <a:pt x="363369" y="78103"/>
                  </a:lnTo>
                  <a:lnTo>
                    <a:pt x="334018" y="61172"/>
                  </a:lnTo>
                  <a:lnTo>
                    <a:pt x="180785" y="108919"/>
                  </a:lnTo>
                  <a:lnTo>
                    <a:pt x="212232" y="130986"/>
                  </a:lnTo>
                  <a:lnTo>
                    <a:pt x="178308" y="142970"/>
                  </a:lnTo>
                  <a:lnTo>
                    <a:pt x="147242" y="120523"/>
                  </a:lnTo>
                  <a:lnTo>
                    <a:pt x="-5610" y="173407"/>
                  </a:lnTo>
                  <a:lnTo>
                    <a:pt x="26790" y="196044"/>
                  </a:lnTo>
                  <a:lnTo>
                    <a:pt x="-14759" y="210691"/>
                  </a:lnTo>
                  <a:lnTo>
                    <a:pt x="238343" y="387413"/>
                  </a:lnTo>
                  <a:cubicBezTo>
                    <a:pt x="628668" y="230475"/>
                    <a:pt x="962770" y="201751"/>
                    <a:pt x="1125723" y="194332"/>
                  </a:cubicBezTo>
                  <a:lnTo>
                    <a:pt x="853372" y="4485"/>
                  </a:lnTo>
                  <a:lnTo>
                    <a:pt x="817351" y="11903"/>
                  </a:lnTo>
                  <a:close/>
                </a:path>
              </a:pathLst>
            </a:custGeom>
            <a:solidFill>
              <a:srgbClr val="007476"/>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6" name="Freeform: Shape 1365">
              <a:extLst>
                <a:ext uri="{FF2B5EF4-FFF2-40B4-BE49-F238E27FC236}">
                  <a16:creationId xmlns:a16="http://schemas.microsoft.com/office/drawing/2014/main" id="{5F34A312-D2FA-CB22-B141-A8FD10FA821D}"/>
                </a:ext>
              </a:extLst>
            </p:cNvPr>
            <p:cNvSpPr/>
            <p:nvPr/>
          </p:nvSpPr>
          <p:spPr>
            <a:xfrm>
              <a:off x="3998169" y="3111279"/>
              <a:ext cx="1194683" cy="453071"/>
            </a:xfrm>
            <a:custGeom>
              <a:avLst/>
              <a:gdLst>
                <a:gd name="connsiteX0" fmla="*/ 810879 w 1140482"/>
                <a:gd name="connsiteY0" fmla="*/ 12986 h 398717"/>
                <a:gd name="connsiteX1" fmla="*/ 779622 w 1140482"/>
                <a:gd name="connsiteY1" fmla="*/ -8700 h 398717"/>
                <a:gd name="connsiteX2" fmla="*/ 591321 w 1140482"/>
                <a:gd name="connsiteY2" fmla="*/ 14127 h 398717"/>
                <a:gd name="connsiteX3" fmla="*/ 622196 w 1140482"/>
                <a:gd name="connsiteY3" fmla="*/ 36384 h 398717"/>
                <a:gd name="connsiteX4" fmla="*/ 586365 w 1140482"/>
                <a:gd name="connsiteY4" fmla="*/ 41520 h 398717"/>
                <a:gd name="connsiteX5" fmla="*/ 545008 w 1140482"/>
                <a:gd name="connsiteY5" fmla="*/ 17551 h 398717"/>
                <a:gd name="connsiteX6" fmla="*/ 362996 w 1140482"/>
                <a:gd name="connsiteY6" fmla="*/ 53885 h 398717"/>
                <a:gd name="connsiteX7" fmla="*/ 395205 w 1140482"/>
                <a:gd name="connsiteY7" fmla="*/ 72527 h 398717"/>
                <a:gd name="connsiteX8" fmla="*/ 356897 w 1140482"/>
                <a:gd name="connsiteY8" fmla="*/ 79375 h 398717"/>
                <a:gd name="connsiteX9" fmla="*/ 327546 w 1140482"/>
                <a:gd name="connsiteY9" fmla="*/ 62445 h 398717"/>
                <a:gd name="connsiteX10" fmla="*/ 174313 w 1140482"/>
                <a:gd name="connsiteY10" fmla="*/ 110382 h 398717"/>
                <a:gd name="connsiteX11" fmla="*/ 205760 w 1140482"/>
                <a:gd name="connsiteY11" fmla="*/ 132639 h 398717"/>
                <a:gd name="connsiteX12" fmla="*/ 171835 w 1140482"/>
                <a:gd name="connsiteY12" fmla="*/ 144623 h 398717"/>
                <a:gd name="connsiteX13" fmla="*/ 140769 w 1140482"/>
                <a:gd name="connsiteY13" fmla="*/ 121986 h 398717"/>
                <a:gd name="connsiteX14" fmla="*/ -11892 w 1140482"/>
                <a:gd name="connsiteY14" fmla="*/ 175060 h 398717"/>
                <a:gd name="connsiteX15" fmla="*/ 20508 w 1140482"/>
                <a:gd name="connsiteY15" fmla="*/ 197887 h 398717"/>
                <a:gd name="connsiteX16" fmla="*/ -21231 w 1140482"/>
                <a:gd name="connsiteY16" fmla="*/ 212534 h 398717"/>
                <a:gd name="connsiteX17" fmla="*/ 231871 w 1140482"/>
                <a:gd name="connsiteY17" fmla="*/ 390017 h 398717"/>
                <a:gd name="connsiteX18" fmla="*/ 1119251 w 1140482"/>
                <a:gd name="connsiteY18" fmla="*/ 195985 h 398717"/>
                <a:gd name="connsiteX19" fmla="*/ 846900 w 1140482"/>
                <a:gd name="connsiteY19" fmla="*/ 5567 h 398717"/>
                <a:gd name="connsiteX20" fmla="*/ 810879 w 1140482"/>
                <a:gd name="connsiteY20" fmla="*/ 12986 h 3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482" h="398717">
                  <a:moveTo>
                    <a:pt x="810879" y="12986"/>
                  </a:moveTo>
                  <a:lnTo>
                    <a:pt x="779622" y="-8700"/>
                  </a:lnTo>
                  <a:lnTo>
                    <a:pt x="591321" y="14127"/>
                  </a:lnTo>
                  <a:lnTo>
                    <a:pt x="622196" y="36384"/>
                  </a:lnTo>
                  <a:lnTo>
                    <a:pt x="586365" y="41520"/>
                  </a:lnTo>
                  <a:lnTo>
                    <a:pt x="545008" y="17551"/>
                  </a:lnTo>
                  <a:lnTo>
                    <a:pt x="362996" y="53885"/>
                  </a:lnTo>
                  <a:lnTo>
                    <a:pt x="395205" y="72527"/>
                  </a:lnTo>
                  <a:lnTo>
                    <a:pt x="356897" y="79375"/>
                  </a:lnTo>
                  <a:lnTo>
                    <a:pt x="327546" y="62445"/>
                  </a:lnTo>
                  <a:lnTo>
                    <a:pt x="174313" y="110382"/>
                  </a:lnTo>
                  <a:lnTo>
                    <a:pt x="205760" y="132639"/>
                  </a:lnTo>
                  <a:lnTo>
                    <a:pt x="171835" y="144623"/>
                  </a:lnTo>
                  <a:lnTo>
                    <a:pt x="140769" y="121986"/>
                  </a:lnTo>
                  <a:lnTo>
                    <a:pt x="-11892" y="175060"/>
                  </a:lnTo>
                  <a:lnTo>
                    <a:pt x="20508" y="197887"/>
                  </a:lnTo>
                  <a:lnTo>
                    <a:pt x="-21231" y="212534"/>
                  </a:lnTo>
                  <a:lnTo>
                    <a:pt x="231871" y="390017"/>
                  </a:lnTo>
                  <a:cubicBezTo>
                    <a:pt x="622196" y="232318"/>
                    <a:pt x="956298" y="203594"/>
                    <a:pt x="1119251" y="195985"/>
                  </a:cubicBezTo>
                  <a:lnTo>
                    <a:pt x="846900" y="5567"/>
                  </a:lnTo>
                  <a:lnTo>
                    <a:pt x="810879" y="12986"/>
                  </a:lnTo>
                  <a:close/>
                </a:path>
              </a:pathLst>
            </a:custGeom>
            <a:solidFill>
              <a:srgbClr val="C0D619"/>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7" name="Freeform: Shape 1366">
              <a:extLst>
                <a:ext uri="{FF2B5EF4-FFF2-40B4-BE49-F238E27FC236}">
                  <a16:creationId xmlns:a16="http://schemas.microsoft.com/office/drawing/2014/main" id="{9CD8FCD7-8467-3683-1429-08CBC99C623C}"/>
                </a:ext>
              </a:extLst>
            </p:cNvPr>
            <p:cNvSpPr/>
            <p:nvPr/>
          </p:nvSpPr>
          <p:spPr>
            <a:xfrm>
              <a:off x="3214510" y="3784802"/>
              <a:ext cx="1194683" cy="453071"/>
            </a:xfrm>
            <a:custGeom>
              <a:avLst/>
              <a:gdLst>
                <a:gd name="connsiteX0" fmla="*/ 815101 w 1140482"/>
                <a:gd name="connsiteY0" fmla="*/ 10317 h 398717"/>
                <a:gd name="connsiteX1" fmla="*/ 783654 w 1140482"/>
                <a:gd name="connsiteY1" fmla="*/ -11369 h 398717"/>
                <a:gd name="connsiteX2" fmla="*/ 595543 w 1140482"/>
                <a:gd name="connsiteY2" fmla="*/ 11648 h 398717"/>
                <a:gd name="connsiteX3" fmla="*/ 626418 w 1140482"/>
                <a:gd name="connsiteY3" fmla="*/ 33905 h 398717"/>
                <a:gd name="connsiteX4" fmla="*/ 590588 w 1140482"/>
                <a:gd name="connsiteY4" fmla="*/ 38851 h 398717"/>
                <a:gd name="connsiteX5" fmla="*/ 549040 w 1140482"/>
                <a:gd name="connsiteY5" fmla="*/ 15073 h 398717"/>
                <a:gd name="connsiteX6" fmla="*/ 367218 w 1140482"/>
                <a:gd name="connsiteY6" fmla="*/ 51406 h 398717"/>
                <a:gd name="connsiteX7" fmla="*/ 399427 w 1140482"/>
                <a:gd name="connsiteY7" fmla="*/ 69858 h 398717"/>
                <a:gd name="connsiteX8" fmla="*/ 361119 w 1140482"/>
                <a:gd name="connsiteY8" fmla="*/ 76706 h 398717"/>
                <a:gd name="connsiteX9" fmla="*/ 331578 w 1140482"/>
                <a:gd name="connsiteY9" fmla="*/ 59776 h 398717"/>
                <a:gd name="connsiteX10" fmla="*/ 178535 w 1140482"/>
                <a:gd name="connsiteY10" fmla="*/ 107713 h 398717"/>
                <a:gd name="connsiteX11" fmla="*/ 209982 w 1140482"/>
                <a:gd name="connsiteY11" fmla="*/ 129970 h 398717"/>
                <a:gd name="connsiteX12" fmla="*/ 176058 w 1140482"/>
                <a:gd name="connsiteY12" fmla="*/ 141954 h 398717"/>
                <a:gd name="connsiteX13" fmla="*/ 144992 w 1140482"/>
                <a:gd name="connsiteY13" fmla="*/ 119317 h 398717"/>
                <a:gd name="connsiteX14" fmla="*/ -7860 w 1140482"/>
                <a:gd name="connsiteY14" fmla="*/ 172391 h 398717"/>
                <a:gd name="connsiteX15" fmla="*/ 24540 w 1140482"/>
                <a:gd name="connsiteY15" fmla="*/ 195218 h 398717"/>
                <a:gd name="connsiteX16" fmla="*/ -17009 w 1140482"/>
                <a:gd name="connsiteY16" fmla="*/ 210056 h 398717"/>
                <a:gd name="connsiteX17" fmla="*/ 236093 w 1140482"/>
                <a:gd name="connsiteY17" fmla="*/ 387348 h 398717"/>
                <a:gd name="connsiteX18" fmla="*/ 1123474 w 1140482"/>
                <a:gd name="connsiteY18" fmla="*/ 193506 h 398717"/>
                <a:gd name="connsiteX19" fmla="*/ 851122 w 1140482"/>
                <a:gd name="connsiteY19" fmla="*/ 3088 h 398717"/>
                <a:gd name="connsiteX20" fmla="*/ 815101 w 1140482"/>
                <a:gd name="connsiteY20" fmla="*/ 10317 h 3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482" h="398717">
                  <a:moveTo>
                    <a:pt x="815101" y="10317"/>
                  </a:moveTo>
                  <a:lnTo>
                    <a:pt x="783654" y="-11369"/>
                  </a:lnTo>
                  <a:lnTo>
                    <a:pt x="595543" y="11648"/>
                  </a:lnTo>
                  <a:lnTo>
                    <a:pt x="626418" y="33905"/>
                  </a:lnTo>
                  <a:lnTo>
                    <a:pt x="590588" y="38851"/>
                  </a:lnTo>
                  <a:lnTo>
                    <a:pt x="549040" y="15073"/>
                  </a:lnTo>
                  <a:lnTo>
                    <a:pt x="367218" y="51406"/>
                  </a:lnTo>
                  <a:lnTo>
                    <a:pt x="399427" y="69858"/>
                  </a:lnTo>
                  <a:lnTo>
                    <a:pt x="361119" y="76706"/>
                  </a:lnTo>
                  <a:lnTo>
                    <a:pt x="331578" y="59776"/>
                  </a:lnTo>
                  <a:lnTo>
                    <a:pt x="178535" y="107713"/>
                  </a:lnTo>
                  <a:lnTo>
                    <a:pt x="209982" y="129970"/>
                  </a:lnTo>
                  <a:lnTo>
                    <a:pt x="176058" y="141954"/>
                  </a:lnTo>
                  <a:lnTo>
                    <a:pt x="144992" y="119317"/>
                  </a:lnTo>
                  <a:lnTo>
                    <a:pt x="-7860" y="172391"/>
                  </a:lnTo>
                  <a:lnTo>
                    <a:pt x="24540" y="195218"/>
                  </a:lnTo>
                  <a:lnTo>
                    <a:pt x="-17009" y="210056"/>
                  </a:lnTo>
                  <a:lnTo>
                    <a:pt x="236093" y="387348"/>
                  </a:lnTo>
                  <a:cubicBezTo>
                    <a:pt x="626418" y="229839"/>
                    <a:pt x="960520" y="201115"/>
                    <a:pt x="1123474" y="193506"/>
                  </a:cubicBezTo>
                  <a:lnTo>
                    <a:pt x="851122" y="3088"/>
                  </a:lnTo>
                  <a:lnTo>
                    <a:pt x="815101" y="10317"/>
                  </a:lnTo>
                  <a:close/>
                </a:path>
              </a:pathLst>
            </a:custGeom>
            <a:solidFill>
              <a:srgbClr val="009D77"/>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8" name="Freeform: Shape 1367">
              <a:extLst>
                <a:ext uri="{FF2B5EF4-FFF2-40B4-BE49-F238E27FC236}">
                  <a16:creationId xmlns:a16="http://schemas.microsoft.com/office/drawing/2014/main" id="{E7DB55D1-38AC-C3B7-0101-8DEF4776CE71}"/>
                </a:ext>
              </a:extLst>
            </p:cNvPr>
            <p:cNvSpPr/>
            <p:nvPr/>
          </p:nvSpPr>
          <p:spPr>
            <a:xfrm>
              <a:off x="4489610" y="3490803"/>
              <a:ext cx="1194683" cy="453071"/>
            </a:xfrm>
            <a:custGeom>
              <a:avLst/>
              <a:gdLst>
                <a:gd name="connsiteX0" fmla="*/ 808629 w 1140482"/>
                <a:gd name="connsiteY0" fmla="*/ 11403 h 398717"/>
                <a:gd name="connsiteX1" fmla="*/ 777372 w 1140482"/>
                <a:gd name="connsiteY1" fmla="*/ -10283 h 398717"/>
                <a:gd name="connsiteX2" fmla="*/ 589071 w 1140482"/>
                <a:gd name="connsiteY2" fmla="*/ 12544 h 398717"/>
                <a:gd name="connsiteX3" fmla="*/ 619946 w 1140482"/>
                <a:gd name="connsiteY3" fmla="*/ 34801 h 398717"/>
                <a:gd name="connsiteX4" fmla="*/ 584116 w 1140482"/>
                <a:gd name="connsiteY4" fmla="*/ 39937 h 398717"/>
                <a:gd name="connsiteX5" fmla="*/ 542758 w 1140482"/>
                <a:gd name="connsiteY5" fmla="*/ 15968 h 398717"/>
                <a:gd name="connsiteX6" fmla="*/ 360746 w 1140482"/>
                <a:gd name="connsiteY6" fmla="*/ 52302 h 398717"/>
                <a:gd name="connsiteX7" fmla="*/ 392955 w 1140482"/>
                <a:gd name="connsiteY7" fmla="*/ 70944 h 398717"/>
                <a:gd name="connsiteX8" fmla="*/ 354647 w 1140482"/>
                <a:gd name="connsiteY8" fmla="*/ 77792 h 398717"/>
                <a:gd name="connsiteX9" fmla="*/ 325296 w 1140482"/>
                <a:gd name="connsiteY9" fmla="*/ 60862 h 398717"/>
                <a:gd name="connsiteX10" fmla="*/ 172063 w 1140482"/>
                <a:gd name="connsiteY10" fmla="*/ 108799 h 398717"/>
                <a:gd name="connsiteX11" fmla="*/ 203510 w 1140482"/>
                <a:gd name="connsiteY11" fmla="*/ 131056 h 398717"/>
                <a:gd name="connsiteX12" fmla="*/ 169585 w 1140482"/>
                <a:gd name="connsiteY12" fmla="*/ 143040 h 398717"/>
                <a:gd name="connsiteX13" fmla="*/ 138519 w 1140482"/>
                <a:gd name="connsiteY13" fmla="*/ 120403 h 398717"/>
                <a:gd name="connsiteX14" fmla="*/ -14142 w 1140482"/>
                <a:gd name="connsiteY14" fmla="*/ 173477 h 398717"/>
                <a:gd name="connsiteX15" fmla="*/ 18067 w 1140482"/>
                <a:gd name="connsiteY15" fmla="*/ 196304 h 398717"/>
                <a:gd name="connsiteX16" fmla="*/ -23481 w 1140482"/>
                <a:gd name="connsiteY16" fmla="*/ 210951 h 398717"/>
                <a:gd name="connsiteX17" fmla="*/ 229621 w 1140482"/>
                <a:gd name="connsiteY17" fmla="*/ 388434 h 398717"/>
                <a:gd name="connsiteX18" fmla="*/ 1117001 w 1140482"/>
                <a:gd name="connsiteY18" fmla="*/ 194402 h 398717"/>
                <a:gd name="connsiteX19" fmla="*/ 844650 w 1140482"/>
                <a:gd name="connsiteY19" fmla="*/ 3984 h 398717"/>
                <a:gd name="connsiteX20" fmla="*/ 808629 w 1140482"/>
                <a:gd name="connsiteY20" fmla="*/ 11403 h 3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482" h="398717">
                  <a:moveTo>
                    <a:pt x="808629" y="11403"/>
                  </a:moveTo>
                  <a:lnTo>
                    <a:pt x="777372" y="-10283"/>
                  </a:lnTo>
                  <a:lnTo>
                    <a:pt x="589071" y="12544"/>
                  </a:lnTo>
                  <a:lnTo>
                    <a:pt x="619946" y="34801"/>
                  </a:lnTo>
                  <a:lnTo>
                    <a:pt x="584116" y="39937"/>
                  </a:lnTo>
                  <a:lnTo>
                    <a:pt x="542758" y="15968"/>
                  </a:lnTo>
                  <a:lnTo>
                    <a:pt x="360746" y="52302"/>
                  </a:lnTo>
                  <a:lnTo>
                    <a:pt x="392955" y="70944"/>
                  </a:lnTo>
                  <a:lnTo>
                    <a:pt x="354647" y="77792"/>
                  </a:lnTo>
                  <a:lnTo>
                    <a:pt x="325296" y="60862"/>
                  </a:lnTo>
                  <a:lnTo>
                    <a:pt x="172063" y="108799"/>
                  </a:lnTo>
                  <a:lnTo>
                    <a:pt x="203510" y="131056"/>
                  </a:lnTo>
                  <a:lnTo>
                    <a:pt x="169585" y="143040"/>
                  </a:lnTo>
                  <a:lnTo>
                    <a:pt x="138519" y="120403"/>
                  </a:lnTo>
                  <a:lnTo>
                    <a:pt x="-14142" y="173477"/>
                  </a:lnTo>
                  <a:lnTo>
                    <a:pt x="18067" y="196304"/>
                  </a:lnTo>
                  <a:lnTo>
                    <a:pt x="-23481" y="210951"/>
                  </a:lnTo>
                  <a:lnTo>
                    <a:pt x="229621" y="388434"/>
                  </a:lnTo>
                  <a:cubicBezTo>
                    <a:pt x="619946" y="230735"/>
                    <a:pt x="954048" y="202011"/>
                    <a:pt x="1117001" y="194402"/>
                  </a:cubicBezTo>
                  <a:lnTo>
                    <a:pt x="844650" y="3984"/>
                  </a:lnTo>
                  <a:lnTo>
                    <a:pt x="808629" y="11403"/>
                  </a:lnTo>
                  <a:close/>
                </a:path>
              </a:pathLst>
            </a:custGeom>
            <a:solidFill>
              <a:srgbClr val="C0D619"/>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69" name="Freeform: Shape 1368">
              <a:extLst>
                <a:ext uri="{FF2B5EF4-FFF2-40B4-BE49-F238E27FC236}">
                  <a16:creationId xmlns:a16="http://schemas.microsoft.com/office/drawing/2014/main" id="{77CACB05-36ED-D98B-4EBB-58B58D703FFD}"/>
                </a:ext>
              </a:extLst>
            </p:cNvPr>
            <p:cNvSpPr/>
            <p:nvPr/>
          </p:nvSpPr>
          <p:spPr>
            <a:xfrm>
              <a:off x="3704148" y="4169406"/>
              <a:ext cx="1194683" cy="453071"/>
            </a:xfrm>
            <a:custGeom>
              <a:avLst/>
              <a:gdLst>
                <a:gd name="connsiteX0" fmla="*/ 813091 w 1140482"/>
                <a:gd name="connsiteY0" fmla="*/ 8758 h 398717"/>
                <a:gd name="connsiteX1" fmla="*/ 781644 w 1140482"/>
                <a:gd name="connsiteY1" fmla="*/ -12928 h 398717"/>
                <a:gd name="connsiteX2" fmla="*/ 593533 w 1140482"/>
                <a:gd name="connsiteY2" fmla="*/ 10090 h 398717"/>
                <a:gd name="connsiteX3" fmla="*/ 624408 w 1140482"/>
                <a:gd name="connsiteY3" fmla="*/ 32156 h 398717"/>
                <a:gd name="connsiteX4" fmla="*/ 588387 w 1140482"/>
                <a:gd name="connsiteY4" fmla="*/ 37293 h 398717"/>
                <a:gd name="connsiteX5" fmla="*/ 547029 w 1140482"/>
                <a:gd name="connsiteY5" fmla="*/ 13324 h 398717"/>
                <a:gd name="connsiteX6" fmla="*/ 365208 w 1140482"/>
                <a:gd name="connsiteY6" fmla="*/ 49848 h 398717"/>
                <a:gd name="connsiteX7" fmla="*/ 397417 w 1140482"/>
                <a:gd name="connsiteY7" fmla="*/ 68300 h 398717"/>
                <a:gd name="connsiteX8" fmla="*/ 359109 w 1140482"/>
                <a:gd name="connsiteY8" fmla="*/ 75148 h 398717"/>
                <a:gd name="connsiteX9" fmla="*/ 329568 w 1140482"/>
                <a:gd name="connsiteY9" fmla="*/ 58218 h 398717"/>
                <a:gd name="connsiteX10" fmla="*/ 176334 w 1140482"/>
                <a:gd name="connsiteY10" fmla="*/ 106155 h 398717"/>
                <a:gd name="connsiteX11" fmla="*/ 207972 w 1140482"/>
                <a:gd name="connsiteY11" fmla="*/ 128412 h 398717"/>
                <a:gd name="connsiteX12" fmla="*/ 173857 w 1140482"/>
                <a:gd name="connsiteY12" fmla="*/ 140396 h 398717"/>
                <a:gd name="connsiteX13" fmla="*/ 142981 w 1140482"/>
                <a:gd name="connsiteY13" fmla="*/ 117759 h 398717"/>
                <a:gd name="connsiteX14" fmla="*/ -9871 w 1140482"/>
                <a:gd name="connsiteY14" fmla="*/ 170832 h 398717"/>
                <a:gd name="connsiteX15" fmla="*/ 22529 w 1140482"/>
                <a:gd name="connsiteY15" fmla="*/ 193660 h 398717"/>
                <a:gd name="connsiteX16" fmla="*/ -19210 w 1140482"/>
                <a:gd name="connsiteY16" fmla="*/ 208497 h 398717"/>
                <a:gd name="connsiteX17" fmla="*/ 234083 w 1140482"/>
                <a:gd name="connsiteY17" fmla="*/ 385789 h 398717"/>
                <a:gd name="connsiteX18" fmla="*/ 1121273 w 1140482"/>
                <a:gd name="connsiteY18" fmla="*/ 191948 h 398717"/>
                <a:gd name="connsiteX19" fmla="*/ 849112 w 1140482"/>
                <a:gd name="connsiteY19" fmla="*/ 1530 h 398717"/>
                <a:gd name="connsiteX20" fmla="*/ 813091 w 1140482"/>
                <a:gd name="connsiteY20" fmla="*/ 8758 h 3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482" h="398717">
                  <a:moveTo>
                    <a:pt x="813091" y="8758"/>
                  </a:moveTo>
                  <a:lnTo>
                    <a:pt x="781644" y="-12928"/>
                  </a:lnTo>
                  <a:lnTo>
                    <a:pt x="593533" y="10090"/>
                  </a:lnTo>
                  <a:lnTo>
                    <a:pt x="624408" y="32156"/>
                  </a:lnTo>
                  <a:lnTo>
                    <a:pt x="588387" y="37293"/>
                  </a:lnTo>
                  <a:lnTo>
                    <a:pt x="547029" y="13324"/>
                  </a:lnTo>
                  <a:lnTo>
                    <a:pt x="365208" y="49848"/>
                  </a:lnTo>
                  <a:lnTo>
                    <a:pt x="397417" y="68300"/>
                  </a:lnTo>
                  <a:lnTo>
                    <a:pt x="359109" y="75148"/>
                  </a:lnTo>
                  <a:lnTo>
                    <a:pt x="329568" y="58218"/>
                  </a:lnTo>
                  <a:lnTo>
                    <a:pt x="176334" y="106155"/>
                  </a:lnTo>
                  <a:lnTo>
                    <a:pt x="207972" y="128412"/>
                  </a:lnTo>
                  <a:lnTo>
                    <a:pt x="173857" y="140396"/>
                  </a:lnTo>
                  <a:lnTo>
                    <a:pt x="142981" y="117759"/>
                  </a:lnTo>
                  <a:lnTo>
                    <a:pt x="-9871" y="170832"/>
                  </a:lnTo>
                  <a:lnTo>
                    <a:pt x="22529" y="193660"/>
                  </a:lnTo>
                  <a:lnTo>
                    <a:pt x="-19210" y="208497"/>
                  </a:lnTo>
                  <a:lnTo>
                    <a:pt x="234083" y="385789"/>
                  </a:lnTo>
                  <a:cubicBezTo>
                    <a:pt x="624408" y="228281"/>
                    <a:pt x="958510" y="199557"/>
                    <a:pt x="1121273" y="191948"/>
                  </a:cubicBezTo>
                  <a:lnTo>
                    <a:pt x="849112" y="1530"/>
                  </a:lnTo>
                  <a:lnTo>
                    <a:pt x="813091" y="8758"/>
                  </a:lnTo>
                  <a:close/>
                </a:path>
              </a:pathLst>
            </a:custGeom>
            <a:solidFill>
              <a:srgbClr val="009D77"/>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0" name="Freeform: Shape 1369">
              <a:extLst>
                <a:ext uri="{FF2B5EF4-FFF2-40B4-BE49-F238E27FC236}">
                  <a16:creationId xmlns:a16="http://schemas.microsoft.com/office/drawing/2014/main" id="{EFC5811E-DB3F-1923-4269-0D71EAA691DF}"/>
                </a:ext>
              </a:extLst>
            </p:cNvPr>
            <p:cNvSpPr/>
            <p:nvPr/>
          </p:nvSpPr>
          <p:spPr>
            <a:xfrm>
              <a:off x="4981052" y="3870326"/>
              <a:ext cx="1194683" cy="453071"/>
            </a:xfrm>
            <a:custGeom>
              <a:avLst/>
              <a:gdLst>
                <a:gd name="connsiteX0" fmla="*/ 806427 w 1140482"/>
                <a:gd name="connsiteY0" fmla="*/ 9844 h 398717"/>
                <a:gd name="connsiteX1" fmla="*/ 774980 w 1140482"/>
                <a:gd name="connsiteY1" fmla="*/ -11842 h 398717"/>
                <a:gd name="connsiteX2" fmla="*/ 586869 w 1140482"/>
                <a:gd name="connsiteY2" fmla="*/ 10985 h 398717"/>
                <a:gd name="connsiteX3" fmla="*/ 617745 w 1140482"/>
                <a:gd name="connsiteY3" fmla="*/ 33242 h 398717"/>
                <a:gd name="connsiteX4" fmla="*/ 581914 w 1140482"/>
                <a:gd name="connsiteY4" fmla="*/ 38378 h 398717"/>
                <a:gd name="connsiteX5" fmla="*/ 540366 w 1140482"/>
                <a:gd name="connsiteY5" fmla="*/ 14409 h 398717"/>
                <a:gd name="connsiteX6" fmla="*/ 358544 w 1140482"/>
                <a:gd name="connsiteY6" fmla="*/ 50743 h 398717"/>
                <a:gd name="connsiteX7" fmla="*/ 390754 w 1140482"/>
                <a:gd name="connsiteY7" fmla="*/ 69385 h 398717"/>
                <a:gd name="connsiteX8" fmla="*/ 352445 w 1140482"/>
                <a:gd name="connsiteY8" fmla="*/ 76233 h 398717"/>
                <a:gd name="connsiteX9" fmla="*/ 322904 w 1140482"/>
                <a:gd name="connsiteY9" fmla="*/ 59303 h 398717"/>
                <a:gd name="connsiteX10" fmla="*/ 169861 w 1140482"/>
                <a:gd name="connsiteY10" fmla="*/ 107240 h 398717"/>
                <a:gd name="connsiteX11" fmla="*/ 201308 w 1140482"/>
                <a:gd name="connsiteY11" fmla="*/ 129497 h 398717"/>
                <a:gd name="connsiteX12" fmla="*/ 167384 w 1140482"/>
                <a:gd name="connsiteY12" fmla="*/ 141481 h 398717"/>
                <a:gd name="connsiteX13" fmla="*/ 136318 w 1140482"/>
                <a:gd name="connsiteY13" fmla="*/ 118844 h 398717"/>
                <a:gd name="connsiteX14" fmla="*/ -16534 w 1140482"/>
                <a:gd name="connsiteY14" fmla="*/ 171918 h 398717"/>
                <a:gd name="connsiteX15" fmla="*/ 15866 w 1140482"/>
                <a:gd name="connsiteY15" fmla="*/ 194745 h 398717"/>
                <a:gd name="connsiteX16" fmla="*/ -25683 w 1140482"/>
                <a:gd name="connsiteY16" fmla="*/ 209392 h 398717"/>
                <a:gd name="connsiteX17" fmla="*/ 227419 w 1140482"/>
                <a:gd name="connsiteY17" fmla="*/ 386875 h 398717"/>
                <a:gd name="connsiteX18" fmla="*/ 1114800 w 1140482"/>
                <a:gd name="connsiteY18" fmla="*/ 192843 h 398717"/>
                <a:gd name="connsiteX19" fmla="*/ 842448 w 1140482"/>
                <a:gd name="connsiteY19" fmla="*/ 2425 h 398717"/>
                <a:gd name="connsiteX20" fmla="*/ 806427 w 1140482"/>
                <a:gd name="connsiteY20" fmla="*/ 9844 h 3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482" h="398717">
                  <a:moveTo>
                    <a:pt x="806427" y="9844"/>
                  </a:moveTo>
                  <a:lnTo>
                    <a:pt x="774980" y="-11842"/>
                  </a:lnTo>
                  <a:lnTo>
                    <a:pt x="586869" y="10985"/>
                  </a:lnTo>
                  <a:lnTo>
                    <a:pt x="617745" y="33242"/>
                  </a:lnTo>
                  <a:lnTo>
                    <a:pt x="581914" y="38378"/>
                  </a:lnTo>
                  <a:lnTo>
                    <a:pt x="540366" y="14409"/>
                  </a:lnTo>
                  <a:lnTo>
                    <a:pt x="358544" y="50743"/>
                  </a:lnTo>
                  <a:lnTo>
                    <a:pt x="390754" y="69385"/>
                  </a:lnTo>
                  <a:lnTo>
                    <a:pt x="352445" y="76233"/>
                  </a:lnTo>
                  <a:lnTo>
                    <a:pt x="322904" y="59303"/>
                  </a:lnTo>
                  <a:lnTo>
                    <a:pt x="169861" y="107240"/>
                  </a:lnTo>
                  <a:lnTo>
                    <a:pt x="201308" y="129497"/>
                  </a:lnTo>
                  <a:lnTo>
                    <a:pt x="167384" y="141481"/>
                  </a:lnTo>
                  <a:lnTo>
                    <a:pt x="136318" y="118844"/>
                  </a:lnTo>
                  <a:lnTo>
                    <a:pt x="-16534" y="171918"/>
                  </a:lnTo>
                  <a:lnTo>
                    <a:pt x="15866" y="194745"/>
                  </a:lnTo>
                  <a:lnTo>
                    <a:pt x="-25683" y="209392"/>
                  </a:lnTo>
                  <a:lnTo>
                    <a:pt x="227419" y="386875"/>
                  </a:lnTo>
                  <a:cubicBezTo>
                    <a:pt x="617745" y="229176"/>
                    <a:pt x="951846" y="200452"/>
                    <a:pt x="1114800" y="192843"/>
                  </a:cubicBezTo>
                  <a:lnTo>
                    <a:pt x="842448" y="2425"/>
                  </a:lnTo>
                  <a:lnTo>
                    <a:pt x="806427" y="9844"/>
                  </a:lnTo>
                  <a:close/>
                </a:path>
              </a:pathLst>
            </a:custGeom>
            <a:solidFill>
              <a:srgbClr val="C0D619"/>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1" name="Freeform: Shape 1370">
              <a:extLst>
                <a:ext uri="{FF2B5EF4-FFF2-40B4-BE49-F238E27FC236}">
                  <a16:creationId xmlns:a16="http://schemas.microsoft.com/office/drawing/2014/main" id="{5834D59C-19AD-B6C5-17F6-8516957A5174}"/>
                </a:ext>
              </a:extLst>
            </p:cNvPr>
            <p:cNvSpPr/>
            <p:nvPr/>
          </p:nvSpPr>
          <p:spPr>
            <a:xfrm>
              <a:off x="4193786" y="4554010"/>
              <a:ext cx="1194683" cy="453071"/>
            </a:xfrm>
            <a:custGeom>
              <a:avLst/>
              <a:gdLst>
                <a:gd name="connsiteX0" fmla="*/ 810729 w 1140482"/>
                <a:gd name="connsiteY0" fmla="*/ 7080 h 398717"/>
                <a:gd name="connsiteX1" fmla="*/ 779282 w 1140482"/>
                <a:gd name="connsiteY1" fmla="*/ -14606 h 398717"/>
                <a:gd name="connsiteX2" fmla="*/ 591171 w 1140482"/>
                <a:gd name="connsiteY2" fmla="*/ 8411 h 398717"/>
                <a:gd name="connsiteX3" fmla="*/ 622046 w 1140482"/>
                <a:gd name="connsiteY3" fmla="*/ 30668 h 398717"/>
                <a:gd name="connsiteX4" fmla="*/ 586025 w 1140482"/>
                <a:gd name="connsiteY4" fmla="*/ 35614 h 398717"/>
                <a:gd name="connsiteX5" fmla="*/ 544667 w 1140482"/>
                <a:gd name="connsiteY5" fmla="*/ 11836 h 398717"/>
                <a:gd name="connsiteX6" fmla="*/ 362846 w 1140482"/>
                <a:gd name="connsiteY6" fmla="*/ 48169 h 398717"/>
                <a:gd name="connsiteX7" fmla="*/ 395055 w 1140482"/>
                <a:gd name="connsiteY7" fmla="*/ 66621 h 398717"/>
                <a:gd name="connsiteX8" fmla="*/ 356747 w 1140482"/>
                <a:gd name="connsiteY8" fmla="*/ 73660 h 398717"/>
                <a:gd name="connsiteX9" fmla="*/ 327206 w 1140482"/>
                <a:gd name="connsiteY9" fmla="*/ 56539 h 398717"/>
                <a:gd name="connsiteX10" fmla="*/ 173972 w 1140482"/>
                <a:gd name="connsiteY10" fmla="*/ 104667 h 398717"/>
                <a:gd name="connsiteX11" fmla="*/ 205610 w 1140482"/>
                <a:gd name="connsiteY11" fmla="*/ 126733 h 398717"/>
                <a:gd name="connsiteX12" fmla="*/ 171495 w 1140482"/>
                <a:gd name="connsiteY12" fmla="*/ 138717 h 398717"/>
                <a:gd name="connsiteX13" fmla="*/ 140619 w 1140482"/>
                <a:gd name="connsiteY13" fmla="*/ 116080 h 398717"/>
                <a:gd name="connsiteX14" fmla="*/ -12233 w 1140482"/>
                <a:gd name="connsiteY14" fmla="*/ 169344 h 398717"/>
                <a:gd name="connsiteX15" fmla="*/ 20167 w 1140482"/>
                <a:gd name="connsiteY15" fmla="*/ 192171 h 398717"/>
                <a:gd name="connsiteX16" fmla="*/ -21571 w 1140482"/>
                <a:gd name="connsiteY16" fmla="*/ 206819 h 398717"/>
                <a:gd name="connsiteX17" fmla="*/ 231721 w 1140482"/>
                <a:gd name="connsiteY17" fmla="*/ 384111 h 398717"/>
                <a:gd name="connsiteX18" fmla="*/ 1118911 w 1140482"/>
                <a:gd name="connsiteY18" fmla="*/ 190269 h 398717"/>
                <a:gd name="connsiteX19" fmla="*/ 846750 w 1140482"/>
                <a:gd name="connsiteY19" fmla="*/ -149 h 398717"/>
                <a:gd name="connsiteX20" fmla="*/ 810729 w 1140482"/>
                <a:gd name="connsiteY20" fmla="*/ 7080 h 3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482" h="398717">
                  <a:moveTo>
                    <a:pt x="810729" y="7080"/>
                  </a:moveTo>
                  <a:lnTo>
                    <a:pt x="779282" y="-14606"/>
                  </a:lnTo>
                  <a:lnTo>
                    <a:pt x="591171" y="8411"/>
                  </a:lnTo>
                  <a:lnTo>
                    <a:pt x="622046" y="30668"/>
                  </a:lnTo>
                  <a:lnTo>
                    <a:pt x="586025" y="35614"/>
                  </a:lnTo>
                  <a:lnTo>
                    <a:pt x="544667" y="11836"/>
                  </a:lnTo>
                  <a:lnTo>
                    <a:pt x="362846" y="48169"/>
                  </a:lnTo>
                  <a:lnTo>
                    <a:pt x="395055" y="66621"/>
                  </a:lnTo>
                  <a:lnTo>
                    <a:pt x="356747" y="73660"/>
                  </a:lnTo>
                  <a:lnTo>
                    <a:pt x="327206" y="56539"/>
                  </a:lnTo>
                  <a:lnTo>
                    <a:pt x="173972" y="104667"/>
                  </a:lnTo>
                  <a:lnTo>
                    <a:pt x="205610" y="126733"/>
                  </a:lnTo>
                  <a:lnTo>
                    <a:pt x="171495" y="138717"/>
                  </a:lnTo>
                  <a:lnTo>
                    <a:pt x="140619" y="116080"/>
                  </a:lnTo>
                  <a:lnTo>
                    <a:pt x="-12233" y="169344"/>
                  </a:lnTo>
                  <a:lnTo>
                    <a:pt x="20167" y="192171"/>
                  </a:lnTo>
                  <a:lnTo>
                    <a:pt x="-21571" y="206819"/>
                  </a:lnTo>
                  <a:lnTo>
                    <a:pt x="231721" y="384111"/>
                  </a:lnTo>
                  <a:cubicBezTo>
                    <a:pt x="622046" y="226603"/>
                    <a:pt x="956148" y="197878"/>
                    <a:pt x="1118911" y="190269"/>
                  </a:cubicBezTo>
                  <a:lnTo>
                    <a:pt x="846750" y="-149"/>
                  </a:lnTo>
                  <a:lnTo>
                    <a:pt x="810729" y="7080"/>
                  </a:lnTo>
                  <a:close/>
                </a:path>
              </a:pathLst>
            </a:custGeom>
            <a:solidFill>
              <a:srgbClr val="009D77"/>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2" name="Freeform: Shape 1371">
              <a:extLst>
                <a:ext uri="{FF2B5EF4-FFF2-40B4-BE49-F238E27FC236}">
                  <a16:creationId xmlns:a16="http://schemas.microsoft.com/office/drawing/2014/main" id="{4DEC1187-37D0-F44E-38F3-C872BC13B492}"/>
                </a:ext>
              </a:extLst>
            </p:cNvPr>
            <p:cNvSpPr/>
            <p:nvPr/>
          </p:nvSpPr>
          <p:spPr>
            <a:xfrm>
              <a:off x="5472493" y="4249850"/>
              <a:ext cx="1194683" cy="453071"/>
            </a:xfrm>
            <a:custGeom>
              <a:avLst/>
              <a:gdLst>
                <a:gd name="connsiteX0" fmla="*/ 804073 w 1140482"/>
                <a:gd name="connsiteY0" fmla="*/ 8165 h 398717"/>
                <a:gd name="connsiteX1" fmla="*/ 772626 w 1140482"/>
                <a:gd name="connsiteY1" fmla="*/ -13521 h 398717"/>
                <a:gd name="connsiteX2" fmla="*/ 584515 w 1140482"/>
                <a:gd name="connsiteY2" fmla="*/ 9496 h 398717"/>
                <a:gd name="connsiteX3" fmla="*/ 615391 w 1140482"/>
                <a:gd name="connsiteY3" fmla="*/ 31563 h 398717"/>
                <a:gd name="connsiteX4" fmla="*/ 579560 w 1140482"/>
                <a:gd name="connsiteY4" fmla="*/ 36699 h 398717"/>
                <a:gd name="connsiteX5" fmla="*/ 538012 w 1140482"/>
                <a:gd name="connsiteY5" fmla="*/ 12730 h 398717"/>
                <a:gd name="connsiteX6" fmla="*/ 356190 w 1140482"/>
                <a:gd name="connsiteY6" fmla="*/ 49064 h 398717"/>
                <a:gd name="connsiteX7" fmla="*/ 388400 w 1140482"/>
                <a:gd name="connsiteY7" fmla="*/ 67706 h 398717"/>
                <a:gd name="connsiteX8" fmla="*/ 350091 w 1140482"/>
                <a:gd name="connsiteY8" fmla="*/ 74554 h 398717"/>
                <a:gd name="connsiteX9" fmla="*/ 320550 w 1140482"/>
                <a:gd name="connsiteY9" fmla="*/ 57624 h 398717"/>
                <a:gd name="connsiteX10" fmla="*/ 167317 w 1140482"/>
                <a:gd name="connsiteY10" fmla="*/ 105561 h 398717"/>
                <a:gd name="connsiteX11" fmla="*/ 198955 w 1140482"/>
                <a:gd name="connsiteY11" fmla="*/ 127818 h 398717"/>
                <a:gd name="connsiteX12" fmla="*/ 165030 w 1140482"/>
                <a:gd name="connsiteY12" fmla="*/ 139802 h 398717"/>
                <a:gd name="connsiteX13" fmla="*/ 133964 w 1140482"/>
                <a:gd name="connsiteY13" fmla="*/ 117165 h 398717"/>
                <a:gd name="connsiteX14" fmla="*/ -18888 w 1140482"/>
                <a:gd name="connsiteY14" fmla="*/ 170239 h 398717"/>
                <a:gd name="connsiteX15" fmla="*/ 13512 w 1140482"/>
                <a:gd name="connsiteY15" fmla="*/ 193066 h 398717"/>
                <a:gd name="connsiteX16" fmla="*/ -28036 w 1140482"/>
                <a:gd name="connsiteY16" fmla="*/ 207714 h 398717"/>
                <a:gd name="connsiteX17" fmla="*/ 225065 w 1140482"/>
                <a:gd name="connsiteY17" fmla="*/ 385196 h 398717"/>
                <a:gd name="connsiteX18" fmla="*/ 1112446 w 1140482"/>
                <a:gd name="connsiteY18" fmla="*/ 191164 h 398717"/>
                <a:gd name="connsiteX19" fmla="*/ 840095 w 1140482"/>
                <a:gd name="connsiteY19" fmla="*/ 746 h 398717"/>
                <a:gd name="connsiteX20" fmla="*/ 804073 w 1140482"/>
                <a:gd name="connsiteY20" fmla="*/ 8165 h 39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0482" h="398717">
                  <a:moveTo>
                    <a:pt x="804073" y="8165"/>
                  </a:moveTo>
                  <a:lnTo>
                    <a:pt x="772626" y="-13521"/>
                  </a:lnTo>
                  <a:lnTo>
                    <a:pt x="584515" y="9496"/>
                  </a:lnTo>
                  <a:lnTo>
                    <a:pt x="615391" y="31563"/>
                  </a:lnTo>
                  <a:lnTo>
                    <a:pt x="579560" y="36699"/>
                  </a:lnTo>
                  <a:lnTo>
                    <a:pt x="538012" y="12730"/>
                  </a:lnTo>
                  <a:lnTo>
                    <a:pt x="356190" y="49064"/>
                  </a:lnTo>
                  <a:lnTo>
                    <a:pt x="388400" y="67706"/>
                  </a:lnTo>
                  <a:lnTo>
                    <a:pt x="350091" y="74554"/>
                  </a:lnTo>
                  <a:lnTo>
                    <a:pt x="320550" y="57624"/>
                  </a:lnTo>
                  <a:lnTo>
                    <a:pt x="167317" y="105561"/>
                  </a:lnTo>
                  <a:lnTo>
                    <a:pt x="198955" y="127818"/>
                  </a:lnTo>
                  <a:lnTo>
                    <a:pt x="165030" y="139802"/>
                  </a:lnTo>
                  <a:lnTo>
                    <a:pt x="133964" y="117165"/>
                  </a:lnTo>
                  <a:lnTo>
                    <a:pt x="-18888" y="170239"/>
                  </a:lnTo>
                  <a:lnTo>
                    <a:pt x="13512" y="193066"/>
                  </a:lnTo>
                  <a:lnTo>
                    <a:pt x="-28036" y="207714"/>
                  </a:lnTo>
                  <a:lnTo>
                    <a:pt x="225065" y="385196"/>
                  </a:lnTo>
                  <a:cubicBezTo>
                    <a:pt x="615391" y="227497"/>
                    <a:pt x="949493" y="198773"/>
                    <a:pt x="1112446" y="191164"/>
                  </a:cubicBezTo>
                  <a:lnTo>
                    <a:pt x="840095" y="746"/>
                  </a:lnTo>
                  <a:lnTo>
                    <a:pt x="804073" y="8165"/>
                  </a:lnTo>
                  <a:close/>
                </a:path>
              </a:pathLst>
            </a:custGeom>
            <a:solidFill>
              <a:srgbClr val="C0D619"/>
            </a:solidFill>
            <a:ln w="190"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CAA5B99D-2B5E-2A73-FD59-7E48937D620F}"/>
                </a:ext>
              </a:extLst>
            </p:cNvPr>
            <p:cNvSpPr txBox="1"/>
            <p:nvPr/>
          </p:nvSpPr>
          <p:spPr>
            <a:xfrm rot="20379408">
              <a:off x="1386211" y="3450203"/>
              <a:ext cx="798328" cy="194889"/>
            </a:xfrm>
            <a:prstGeom prst="rect">
              <a:avLst/>
            </a:prstGeom>
          </p:spPr>
          <p:txBody>
            <a:bodyPr vert="horz" wrap="square" lIns="0" tIns="0" rIns="0" bIns="0" rtlCol="0">
              <a:prstTxWarp prst="textPlain">
                <a:avLst>
                  <a:gd name="adj" fmla="val 56235"/>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R&amp;D production process for mRNA</a:t>
              </a:r>
            </a:p>
          </p:txBody>
        </p:sp>
        <p:sp>
          <p:nvSpPr>
            <p:cNvPr id="13" name="TextBox 12">
              <a:extLst>
                <a:ext uri="{FF2B5EF4-FFF2-40B4-BE49-F238E27FC236}">
                  <a16:creationId xmlns:a16="http://schemas.microsoft.com/office/drawing/2014/main" id="{490249EB-EBAF-A2AF-4B1D-A69264436C0F}"/>
                </a:ext>
              </a:extLst>
            </p:cNvPr>
            <p:cNvSpPr txBox="1"/>
            <p:nvPr/>
          </p:nvSpPr>
          <p:spPr>
            <a:xfrm rot="20568375">
              <a:off x="2409013" y="3113744"/>
              <a:ext cx="772780" cy="186269"/>
            </a:xfrm>
            <a:prstGeom prst="rect">
              <a:avLst/>
            </a:prstGeom>
          </p:spPr>
          <p:txBody>
            <a:bodyPr vert="horz" wrap="square" lIns="0" tIns="0" rIns="0" bIns="0" rtlCol="0">
              <a:prstTxWarp prst="textPlain">
                <a:avLst>
                  <a:gd name="adj" fmla="val 54687"/>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Individualized mRNA manuf. process</a:t>
              </a:r>
            </a:p>
          </p:txBody>
        </p:sp>
        <p:sp>
          <p:nvSpPr>
            <p:cNvPr id="14" name="TextBox 13">
              <a:extLst>
                <a:ext uri="{FF2B5EF4-FFF2-40B4-BE49-F238E27FC236}">
                  <a16:creationId xmlns:a16="http://schemas.microsoft.com/office/drawing/2014/main" id="{3896DC37-E4FD-B217-0691-9F5C75BDC890}"/>
                </a:ext>
              </a:extLst>
            </p:cNvPr>
            <p:cNvSpPr txBox="1"/>
            <p:nvPr/>
          </p:nvSpPr>
          <p:spPr>
            <a:xfrm rot="20368171">
              <a:off x="1924433" y="3843199"/>
              <a:ext cx="705618" cy="194889"/>
            </a:xfrm>
            <a:prstGeom prst="rect">
              <a:avLst/>
            </a:prstGeom>
          </p:spPr>
          <p:txBody>
            <a:bodyPr vert="horz" wrap="square" lIns="0" tIns="0" rIns="0" bIns="0" rtlCol="0">
              <a:prstTxWarp prst="textPlain">
                <a:avLst>
                  <a:gd name="adj" fmla="val 56262"/>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Clinical mRNA manuf. process</a:t>
              </a:r>
            </a:p>
          </p:txBody>
        </p:sp>
        <p:sp>
          <p:nvSpPr>
            <p:cNvPr id="16" name="TextBox 15">
              <a:extLst>
                <a:ext uri="{FF2B5EF4-FFF2-40B4-BE49-F238E27FC236}">
                  <a16:creationId xmlns:a16="http://schemas.microsoft.com/office/drawing/2014/main" id="{3D983E4F-4F85-CD1C-9601-0E2DFCDB33D5}"/>
                </a:ext>
              </a:extLst>
            </p:cNvPr>
            <p:cNvSpPr txBox="1"/>
            <p:nvPr/>
          </p:nvSpPr>
          <p:spPr>
            <a:xfrm rot="20384704">
              <a:off x="2335939" y="4218641"/>
              <a:ext cx="839676" cy="202283"/>
            </a:xfrm>
            <a:prstGeom prst="rect">
              <a:avLst/>
            </a:prstGeom>
          </p:spPr>
          <p:txBody>
            <a:bodyPr vert="horz" wrap="square" lIns="0" tIns="0" rIns="0" bIns="0" rtlCol="0">
              <a:prstTxWarp prst="textPlain">
                <a:avLst>
                  <a:gd name="adj" fmla="val 55196"/>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Commercial mRNA manuf. process</a:t>
              </a:r>
            </a:p>
          </p:txBody>
        </p:sp>
        <p:sp>
          <p:nvSpPr>
            <p:cNvPr id="17" name="TextBox 16">
              <a:extLst>
                <a:ext uri="{FF2B5EF4-FFF2-40B4-BE49-F238E27FC236}">
                  <a16:creationId xmlns:a16="http://schemas.microsoft.com/office/drawing/2014/main" id="{CF6AA0BE-4306-75EA-ABCC-09CFD7485428}"/>
                </a:ext>
              </a:extLst>
            </p:cNvPr>
            <p:cNvSpPr txBox="1"/>
            <p:nvPr/>
          </p:nvSpPr>
          <p:spPr>
            <a:xfrm rot="20368171">
              <a:off x="2885247" y="4630746"/>
              <a:ext cx="672584" cy="219348"/>
            </a:xfrm>
            <a:prstGeom prst="rect">
              <a:avLst/>
            </a:prstGeom>
          </p:spPr>
          <p:txBody>
            <a:bodyPr vert="horz" wrap="square" lIns="0" tIns="0" rIns="0" bIns="0" rtlCol="0">
              <a:prstTxWarp prst="textPlain">
                <a:avLst>
                  <a:gd name="adj" fmla="val 58330"/>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LNP/LPX formulation  processes</a:t>
              </a:r>
            </a:p>
          </p:txBody>
        </p:sp>
        <p:sp>
          <p:nvSpPr>
            <p:cNvPr id="18" name="TextBox 17">
              <a:extLst>
                <a:ext uri="{FF2B5EF4-FFF2-40B4-BE49-F238E27FC236}">
                  <a16:creationId xmlns:a16="http://schemas.microsoft.com/office/drawing/2014/main" id="{A7ECFB37-87D8-2568-B0A5-70DEF3D39655}"/>
                </a:ext>
              </a:extLst>
            </p:cNvPr>
            <p:cNvSpPr txBox="1"/>
            <p:nvPr/>
          </p:nvSpPr>
          <p:spPr>
            <a:xfrm rot="20357055">
              <a:off x="3332895" y="5062189"/>
              <a:ext cx="744579" cy="109776"/>
            </a:xfrm>
            <a:prstGeom prst="rect">
              <a:avLst/>
            </a:prstGeom>
          </p:spPr>
          <p:txBody>
            <a:bodyPr vert="horz" wrap="square" lIns="0" tIns="0" rIns="0" bIns="0" rtlCol="0">
              <a:prstTxWarp prst="textPlain">
                <a:avLst>
                  <a:gd name="adj" fmla="val 53670"/>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Filling process</a:t>
              </a:r>
            </a:p>
          </p:txBody>
        </p:sp>
        <p:sp>
          <p:nvSpPr>
            <p:cNvPr id="19" name="TextBox 18">
              <a:extLst>
                <a:ext uri="{FF2B5EF4-FFF2-40B4-BE49-F238E27FC236}">
                  <a16:creationId xmlns:a16="http://schemas.microsoft.com/office/drawing/2014/main" id="{1FFB2539-E487-40EC-0DFA-C6968EE72BD4}"/>
                </a:ext>
              </a:extLst>
            </p:cNvPr>
            <p:cNvSpPr txBox="1"/>
            <p:nvPr/>
          </p:nvSpPr>
          <p:spPr>
            <a:xfrm rot="20511857">
              <a:off x="2974637" y="3521303"/>
              <a:ext cx="601633" cy="145419"/>
            </a:xfrm>
            <a:prstGeom prst="rect">
              <a:avLst/>
            </a:prstGeom>
          </p:spPr>
          <p:txBody>
            <a:bodyPr vert="horz" wrap="square" lIns="0" tIns="0" rIns="0" bIns="0" rtlCol="0">
              <a:prstTxWarp prst="textPlain">
                <a:avLst>
                  <a:gd name="adj" fmla="val 56262"/>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Cell therapy process</a:t>
              </a:r>
            </a:p>
          </p:txBody>
        </p:sp>
        <p:sp>
          <p:nvSpPr>
            <p:cNvPr id="20" name="TextBox 19">
              <a:extLst>
                <a:ext uri="{FF2B5EF4-FFF2-40B4-BE49-F238E27FC236}">
                  <a16:creationId xmlns:a16="http://schemas.microsoft.com/office/drawing/2014/main" id="{6A176571-3657-EC94-3040-F5CFAAD1BBB8}"/>
                </a:ext>
              </a:extLst>
            </p:cNvPr>
            <p:cNvSpPr txBox="1"/>
            <p:nvPr/>
          </p:nvSpPr>
          <p:spPr>
            <a:xfrm rot="20668674">
              <a:off x="4383336" y="4691632"/>
              <a:ext cx="744579" cy="95172"/>
            </a:xfrm>
            <a:prstGeom prst="rect">
              <a:avLst/>
            </a:prstGeom>
          </p:spPr>
          <p:txBody>
            <a:bodyPr vert="horz" wrap="square" lIns="0" tIns="0" rIns="0" bIns="0" rtlCol="0">
              <a:prstTxWarp prst="textPlain">
                <a:avLst>
                  <a:gd name="adj" fmla="val 53670"/>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Indiv. RNA Equip</a:t>
              </a:r>
            </a:p>
          </p:txBody>
        </p:sp>
        <p:sp>
          <p:nvSpPr>
            <p:cNvPr id="21" name="TextBox 20">
              <a:extLst>
                <a:ext uri="{FF2B5EF4-FFF2-40B4-BE49-F238E27FC236}">
                  <a16:creationId xmlns:a16="http://schemas.microsoft.com/office/drawing/2014/main" id="{D64F5E80-DF6F-1BF3-330A-2BB92D7B2B46}"/>
                </a:ext>
              </a:extLst>
            </p:cNvPr>
            <p:cNvSpPr txBox="1"/>
            <p:nvPr/>
          </p:nvSpPr>
          <p:spPr>
            <a:xfrm rot="20645796">
              <a:off x="3885229" y="4307939"/>
              <a:ext cx="744579" cy="100474"/>
            </a:xfrm>
            <a:prstGeom prst="rect">
              <a:avLst/>
            </a:prstGeom>
          </p:spPr>
          <p:txBody>
            <a:bodyPr vert="horz" wrap="square" lIns="0" tIns="0" rIns="0" bIns="0" rtlCol="0">
              <a:prstTxWarp prst="textPlain">
                <a:avLst>
                  <a:gd name="adj" fmla="val 52747"/>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Cell therapy Equip.</a:t>
              </a:r>
            </a:p>
          </p:txBody>
        </p:sp>
        <p:sp>
          <p:nvSpPr>
            <p:cNvPr id="23" name="TextBox 22">
              <a:extLst>
                <a:ext uri="{FF2B5EF4-FFF2-40B4-BE49-F238E27FC236}">
                  <a16:creationId xmlns:a16="http://schemas.microsoft.com/office/drawing/2014/main" id="{0E55B526-F6B7-F0B1-551A-EEABBD23B645}"/>
                </a:ext>
              </a:extLst>
            </p:cNvPr>
            <p:cNvSpPr txBox="1"/>
            <p:nvPr/>
          </p:nvSpPr>
          <p:spPr>
            <a:xfrm rot="20645796">
              <a:off x="3383037" y="3899901"/>
              <a:ext cx="786555" cy="162471"/>
            </a:xfrm>
            <a:prstGeom prst="rect">
              <a:avLst/>
            </a:prstGeom>
          </p:spPr>
          <p:txBody>
            <a:bodyPr vert="horz" wrap="square" lIns="0" tIns="0" rIns="0" bIns="0" rtlCol="0">
              <a:prstTxWarp prst="textPlain">
                <a:avLst>
                  <a:gd name="adj" fmla="val 53670"/>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1mg, 100mg, 1g and 40g production scale</a:t>
              </a:r>
            </a:p>
          </p:txBody>
        </p:sp>
        <p:sp>
          <p:nvSpPr>
            <p:cNvPr id="24" name="TextBox 23">
              <a:extLst>
                <a:ext uri="{FF2B5EF4-FFF2-40B4-BE49-F238E27FC236}">
                  <a16:creationId xmlns:a16="http://schemas.microsoft.com/office/drawing/2014/main" id="{7AEA9BCA-4077-EA53-4699-72F0F63A8F42}"/>
                </a:ext>
              </a:extLst>
            </p:cNvPr>
            <p:cNvSpPr txBox="1"/>
            <p:nvPr/>
          </p:nvSpPr>
          <p:spPr>
            <a:xfrm rot="20719599">
              <a:off x="5651983" y="4381096"/>
              <a:ext cx="821996" cy="256980"/>
            </a:xfrm>
            <a:prstGeom prst="rect">
              <a:avLst/>
            </a:prstGeom>
          </p:spPr>
          <p:txBody>
            <a:bodyPr vert="horz" wrap="square" lIns="0" tIns="0" rIns="0" bIns="0" rtlCol="0">
              <a:prstTxWarp prst="textPlain">
                <a:avLst>
                  <a:gd name="adj" fmla="val 53670"/>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Modular R&amp;D lab</a:t>
              </a:r>
              <a:b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br>
              <a:endPar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25" name="TextBox 24">
              <a:extLst>
                <a:ext uri="{FF2B5EF4-FFF2-40B4-BE49-F238E27FC236}">
                  <a16:creationId xmlns:a16="http://schemas.microsoft.com/office/drawing/2014/main" id="{6393C458-463C-4259-E295-5B24F3D14E32}"/>
                </a:ext>
              </a:extLst>
            </p:cNvPr>
            <p:cNvSpPr txBox="1"/>
            <p:nvPr/>
          </p:nvSpPr>
          <p:spPr>
            <a:xfrm rot="20673873">
              <a:off x="5127002" y="3975835"/>
              <a:ext cx="819804" cy="168841"/>
            </a:xfrm>
            <a:prstGeom prst="rect">
              <a:avLst/>
            </a:prstGeom>
          </p:spPr>
          <p:txBody>
            <a:bodyPr vert="horz" wrap="square" lIns="0" tIns="0" rIns="0" bIns="0" rtlCol="0">
              <a:prstTxWarp prst="textPlain">
                <a:avLst>
                  <a:gd name="adj" fmla="val 53670"/>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uxiliary </a:t>
              </a:r>
              <a:b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br>
              <a: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ervices building</a:t>
              </a:r>
            </a:p>
          </p:txBody>
        </p:sp>
        <p:sp>
          <p:nvSpPr>
            <p:cNvPr id="27" name="TextBox 26">
              <a:extLst>
                <a:ext uri="{FF2B5EF4-FFF2-40B4-BE49-F238E27FC236}">
                  <a16:creationId xmlns:a16="http://schemas.microsoft.com/office/drawing/2014/main" id="{9EAB0ED7-0299-32F0-1DC4-19E335929A0C}"/>
                </a:ext>
              </a:extLst>
            </p:cNvPr>
            <p:cNvSpPr txBox="1"/>
            <p:nvPr/>
          </p:nvSpPr>
          <p:spPr>
            <a:xfrm rot="20746055">
              <a:off x="4628190" y="3598523"/>
              <a:ext cx="819804" cy="168841"/>
            </a:xfrm>
            <a:prstGeom prst="rect">
              <a:avLst/>
            </a:prstGeom>
          </p:spPr>
          <p:txBody>
            <a:bodyPr vert="horz" wrap="square" lIns="0" tIns="0" rIns="0" bIns="0" rtlCol="0">
              <a:prstTxWarp prst="textPlain">
                <a:avLst>
                  <a:gd name="adj" fmla="val 53670"/>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BioNTainer production hall</a:t>
              </a:r>
            </a:p>
          </p:txBody>
        </p:sp>
        <p:sp>
          <p:nvSpPr>
            <p:cNvPr id="28" name="TextBox 27">
              <a:extLst>
                <a:ext uri="{FF2B5EF4-FFF2-40B4-BE49-F238E27FC236}">
                  <a16:creationId xmlns:a16="http://schemas.microsoft.com/office/drawing/2014/main" id="{0371CCFD-D4B2-8426-3B27-AEBEB4239656}"/>
                </a:ext>
              </a:extLst>
            </p:cNvPr>
            <p:cNvSpPr txBox="1"/>
            <p:nvPr/>
          </p:nvSpPr>
          <p:spPr>
            <a:xfrm rot="20647713">
              <a:off x="4142661" y="3226738"/>
              <a:ext cx="819804" cy="168841"/>
            </a:xfrm>
            <a:prstGeom prst="rect">
              <a:avLst/>
            </a:prstGeom>
          </p:spPr>
          <p:txBody>
            <a:bodyPr vert="horz" wrap="square" lIns="0" tIns="0" rIns="0" bIns="0" rtlCol="0">
              <a:prstTxWarp prst="textPlain">
                <a:avLst>
                  <a:gd name="adj" fmla="val 54524"/>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BioNTainer for </a:t>
              </a:r>
              <a:b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br>
              <a: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GMP production</a:t>
              </a:r>
            </a:p>
          </p:txBody>
        </p:sp>
        <p:sp>
          <p:nvSpPr>
            <p:cNvPr id="29" name="TextBox 28">
              <a:extLst>
                <a:ext uri="{FF2B5EF4-FFF2-40B4-BE49-F238E27FC236}">
                  <a16:creationId xmlns:a16="http://schemas.microsoft.com/office/drawing/2014/main" id="{1C033856-FEA2-6FB6-EB52-947D221E897B}"/>
                </a:ext>
              </a:extLst>
            </p:cNvPr>
            <p:cNvSpPr txBox="1"/>
            <p:nvPr/>
          </p:nvSpPr>
          <p:spPr>
            <a:xfrm rot="20769385">
              <a:off x="3682714" y="2889579"/>
              <a:ext cx="776431" cy="88113"/>
            </a:xfrm>
            <a:prstGeom prst="rect">
              <a:avLst/>
            </a:prstGeom>
          </p:spPr>
          <p:txBody>
            <a:bodyPr vert="horz" wrap="square" lIns="0" tIns="0" rIns="0" bIns="0" rtlCol="0">
              <a:prstTxWarp prst="textPlain">
                <a:avLst>
                  <a:gd name="adj" fmla="val 52653"/>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F&amp;F equipment</a:t>
              </a:r>
            </a:p>
          </p:txBody>
        </p:sp>
        <p:sp>
          <p:nvSpPr>
            <p:cNvPr id="34" name="TextBox 33">
              <a:extLst>
                <a:ext uri="{FF2B5EF4-FFF2-40B4-BE49-F238E27FC236}">
                  <a16:creationId xmlns:a16="http://schemas.microsoft.com/office/drawing/2014/main" id="{A23B612A-09C0-E0B7-088E-C035152A8DB6}"/>
                </a:ext>
              </a:extLst>
            </p:cNvPr>
            <p:cNvSpPr txBox="1"/>
            <p:nvPr/>
          </p:nvSpPr>
          <p:spPr>
            <a:xfrm rot="20840879">
              <a:off x="4918277" y="2600601"/>
              <a:ext cx="710755" cy="168841"/>
            </a:xfrm>
            <a:prstGeom prst="rect">
              <a:avLst/>
            </a:prstGeom>
          </p:spPr>
          <p:txBody>
            <a:bodyPr vert="horz" wrap="square" lIns="0" tIns="0" rIns="0" bIns="0" rtlCol="0">
              <a:prstTxWarp prst="textPlain">
                <a:avLst>
                  <a:gd name="adj" fmla="val 54524"/>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Ordering tool for R&amp;D production</a:t>
              </a:r>
            </a:p>
          </p:txBody>
        </p:sp>
        <p:sp>
          <p:nvSpPr>
            <p:cNvPr id="36" name="TextBox 35">
              <a:extLst>
                <a:ext uri="{FF2B5EF4-FFF2-40B4-BE49-F238E27FC236}">
                  <a16:creationId xmlns:a16="http://schemas.microsoft.com/office/drawing/2014/main" id="{E2B75560-4735-04CE-6157-DD6B5E0B674A}"/>
                </a:ext>
              </a:extLst>
            </p:cNvPr>
            <p:cNvSpPr txBox="1"/>
            <p:nvPr/>
          </p:nvSpPr>
          <p:spPr>
            <a:xfrm rot="20840879">
              <a:off x="5446805" y="2975656"/>
              <a:ext cx="654307" cy="178327"/>
            </a:xfrm>
            <a:prstGeom prst="rect">
              <a:avLst/>
            </a:prstGeom>
          </p:spPr>
          <p:txBody>
            <a:bodyPr vert="horz" wrap="square" lIns="0" tIns="0" rIns="0" bIns="0" rtlCol="0">
              <a:prstTxWarp prst="textPlain">
                <a:avLst>
                  <a:gd name="adj" fmla="val 54524"/>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Digitalization blueprint</a:t>
              </a:r>
            </a:p>
          </p:txBody>
        </p:sp>
        <p:sp>
          <p:nvSpPr>
            <p:cNvPr id="37" name="TextBox 36">
              <a:extLst>
                <a:ext uri="{FF2B5EF4-FFF2-40B4-BE49-F238E27FC236}">
                  <a16:creationId xmlns:a16="http://schemas.microsoft.com/office/drawing/2014/main" id="{D6B3EFB6-7156-B40F-3C51-5DD8C33411A7}"/>
                </a:ext>
              </a:extLst>
            </p:cNvPr>
            <p:cNvSpPr txBox="1"/>
            <p:nvPr/>
          </p:nvSpPr>
          <p:spPr>
            <a:xfrm rot="20840879">
              <a:off x="6060385" y="3395292"/>
              <a:ext cx="386175" cy="105250"/>
            </a:xfrm>
            <a:prstGeom prst="rect">
              <a:avLst/>
            </a:prstGeom>
          </p:spPr>
          <p:txBody>
            <a:bodyPr vert="horz" wrap="square" lIns="0" tIns="0" rIns="0" bIns="0" rtlCol="0">
              <a:prstTxWarp prst="textPlain">
                <a:avLst>
                  <a:gd name="adj" fmla="val 57532"/>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MES</a:t>
              </a:r>
              <a:endParaRPr kumimoji="0" lang="en-US" sz="600" b="1" i="0" u="none" strike="noStrike" kern="1200" cap="none" spc="0" normalizeH="0" baseline="3000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38" name="TextBox 37">
              <a:extLst>
                <a:ext uri="{FF2B5EF4-FFF2-40B4-BE49-F238E27FC236}">
                  <a16:creationId xmlns:a16="http://schemas.microsoft.com/office/drawing/2014/main" id="{CD9FBA50-BB2B-92D7-F7F3-659471604A14}"/>
                </a:ext>
              </a:extLst>
            </p:cNvPr>
            <p:cNvSpPr txBox="1"/>
            <p:nvPr/>
          </p:nvSpPr>
          <p:spPr>
            <a:xfrm rot="20840879">
              <a:off x="6418637" y="3728791"/>
              <a:ext cx="646507" cy="195313"/>
            </a:xfrm>
            <a:prstGeom prst="rect">
              <a:avLst/>
            </a:prstGeom>
          </p:spPr>
          <p:txBody>
            <a:bodyPr vert="horz" wrap="square" lIns="0" tIns="0" rIns="0" bIns="0" rtlCol="0">
              <a:prstTxWarp prst="textPlain">
                <a:avLst>
                  <a:gd name="adj" fmla="val 56048"/>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rocess automation</a:t>
              </a:r>
            </a:p>
          </p:txBody>
        </p:sp>
        <p:sp>
          <p:nvSpPr>
            <p:cNvPr id="39" name="TextBox 38">
              <a:extLst>
                <a:ext uri="{FF2B5EF4-FFF2-40B4-BE49-F238E27FC236}">
                  <a16:creationId xmlns:a16="http://schemas.microsoft.com/office/drawing/2014/main" id="{A8F1E50B-E5CC-2E23-8D97-4AE8FCFF41E5}"/>
                </a:ext>
              </a:extLst>
            </p:cNvPr>
            <p:cNvSpPr txBox="1"/>
            <p:nvPr/>
          </p:nvSpPr>
          <p:spPr>
            <a:xfrm rot="20840879">
              <a:off x="6845092" y="4166915"/>
              <a:ext cx="877404" cy="221464"/>
            </a:xfrm>
            <a:prstGeom prst="rect">
              <a:avLst/>
            </a:prstGeom>
          </p:spPr>
          <p:txBody>
            <a:bodyPr vert="horz" wrap="square" lIns="0" tIns="0" rIns="0" bIns="0" rtlCol="0">
              <a:prstTxWarp prst="textPlain">
                <a:avLst>
                  <a:gd name="adj" fmla="val 53930"/>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Modular QC lab</a:t>
              </a:r>
              <a:br>
                <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br>
              <a:endParaRPr kumimoji="0" lang="en-US" sz="6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grpSp>
      <p:sp>
        <p:nvSpPr>
          <p:cNvPr id="2" name="TextBox 1">
            <a:extLst>
              <a:ext uri="{FF2B5EF4-FFF2-40B4-BE49-F238E27FC236}">
                <a16:creationId xmlns:a16="http://schemas.microsoft.com/office/drawing/2014/main" id="{D3CE367A-27AE-CDC7-D026-D2157AD5C916}"/>
              </a:ext>
            </a:extLst>
          </p:cNvPr>
          <p:cNvSpPr txBox="1"/>
          <p:nvPr/>
        </p:nvSpPr>
        <p:spPr>
          <a:xfrm>
            <a:off x="9135911" y="1239939"/>
            <a:ext cx="2779226" cy="41703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Building blocks can be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assembled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with a goal of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speed, cost-effectiveness and international scalability</a:t>
            </a:r>
          </a:p>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endPar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Example use cases spanning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R&amp;D</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 production through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clinical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and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commercial</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 manufacturing</a:t>
            </a:r>
          </a:p>
          <a:p>
            <a:pPr marL="228600" marR="0" lvl="1" indent="-228600" algn="l" defTabSz="914400" rtl="0" eaLnBrk="1" fontAlgn="auto" latinLnBrk="0" hangingPunct="1">
              <a:lnSpc>
                <a:spcPct val="100000"/>
              </a:lnSpc>
              <a:spcBef>
                <a:spcPts val="0"/>
              </a:spcBef>
              <a:spcAft>
                <a:spcPts val="300"/>
              </a:spcAft>
              <a:buClr>
                <a:srgbClr val="FFFFFF"/>
              </a:buClr>
              <a:buSzPct val="110000"/>
              <a:buFont typeface="Wingdings" panose="05000000000000000000" pitchFamily="2" charset="2"/>
              <a:buChar char=""/>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Rwanda: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Set-up of commercial manufacturing facility</a:t>
            </a:r>
            <a:endPar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a:p>
            <a:pPr marL="228600" marR="0" lvl="1" indent="-228600" algn="l" defTabSz="914400" rtl="0" eaLnBrk="1" fontAlgn="auto" latinLnBrk="0" hangingPunct="1">
              <a:lnSpc>
                <a:spcPct val="100000"/>
              </a:lnSpc>
              <a:spcBef>
                <a:spcPts val="0"/>
              </a:spcBef>
              <a:spcAft>
                <a:spcPts val="300"/>
              </a:spcAft>
              <a:buClr>
                <a:srgbClr val="FFFFFF"/>
              </a:buClr>
              <a:buSzPct val="110000"/>
              <a:buFont typeface="Wingdings" panose="05000000000000000000" pitchFamily="2" charset="2"/>
              <a:buChar char=""/>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Australia: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Set-up of R&amp;D production lab followed </a:t>
            </a:r>
            <a:b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by clinical manufacturing capability</a:t>
            </a:r>
          </a:p>
        </p:txBody>
      </p:sp>
    </p:spTree>
    <p:extLst>
      <p:ext uri="{BB962C8B-B14F-4D97-AF65-F5344CB8AC3E}">
        <p14:creationId xmlns:p14="http://schemas.microsoft.com/office/powerpoint/2010/main" val="3602111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5F84D-C954-3C4D-7EF4-923965CEB51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1315F84D-C954-3C4D-7EF4-923965CEB51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Untertitel 5">
            <a:extLst>
              <a:ext uri="{FF2B5EF4-FFF2-40B4-BE49-F238E27FC236}">
                <a16:creationId xmlns:a16="http://schemas.microsoft.com/office/drawing/2014/main" id="{B1437859-3C8E-7426-2EA2-41D15A19962E}"/>
              </a:ext>
            </a:extLst>
          </p:cNvPr>
          <p:cNvSpPr>
            <a:spLocks noGrp="1"/>
          </p:cNvSpPr>
          <p:nvPr>
            <p:ph type="subTitle" idx="1"/>
          </p:nvPr>
        </p:nvSpPr>
        <p:spPr>
          <a:xfrm>
            <a:off x="411163" y="4880170"/>
            <a:ext cx="9288000" cy="1930123"/>
          </a:xfrm>
        </p:spPr>
        <p:txBody>
          <a:bodyPr/>
          <a:lstStyle/>
          <a:p>
            <a:r>
              <a:rPr lang="de-DE" sz="1800" b="1"/>
              <a:t>Axel Lorenz, </a:t>
            </a:r>
            <a:r>
              <a:rPr lang="de-DE" sz="1800"/>
              <a:t>CEO Digital Industries </a:t>
            </a:r>
            <a:r>
              <a:rPr lang="de-DE" sz="1800" err="1"/>
              <a:t>Process</a:t>
            </a:r>
            <a:r>
              <a:rPr lang="de-DE" sz="1800"/>
              <a:t> Automation, Siemens AG</a:t>
            </a:r>
          </a:p>
          <a:p>
            <a:r>
              <a:rPr lang="de-DE"/>
              <a:t>June 11, 2024 | Frankfurt am Main, Germany</a:t>
            </a:r>
            <a:endParaRPr lang="en-US" noProof="0"/>
          </a:p>
        </p:txBody>
      </p:sp>
      <p:pic>
        <p:nvPicPr>
          <p:cNvPr id="8" name="Picture 7" descr="A close up of a green eye&#10;&#10;Description automatically generated">
            <a:extLst>
              <a:ext uri="{FF2B5EF4-FFF2-40B4-BE49-F238E27FC236}">
                <a16:creationId xmlns:a16="http://schemas.microsoft.com/office/drawing/2014/main" id="{295960A4-CF95-0C33-02BF-43715AEAE297}"/>
              </a:ext>
            </a:extLst>
          </p:cNvPr>
          <p:cNvPicPr>
            <a:picLocks noChangeAspect="1"/>
          </p:cNvPicPr>
          <p:nvPr/>
        </p:nvPicPr>
        <p:blipFill rotWithShape="1">
          <a:blip r:embed="rId6"/>
          <a:srcRect t="25509" r="23818"/>
          <a:stretch/>
        </p:blipFill>
        <p:spPr>
          <a:xfrm>
            <a:off x="3810000" y="8899"/>
            <a:ext cx="8382000" cy="4615013"/>
          </a:xfrm>
          <a:prstGeom prst="rect">
            <a:avLst/>
          </a:prstGeom>
        </p:spPr>
      </p:pic>
      <p:sp>
        <p:nvSpPr>
          <p:cNvPr id="5" name="Titel 4">
            <a:extLst>
              <a:ext uri="{FF2B5EF4-FFF2-40B4-BE49-F238E27FC236}">
                <a16:creationId xmlns:a16="http://schemas.microsoft.com/office/drawing/2014/main" id="{7036F4DE-F607-3FB2-01BB-BA54873B34C6}"/>
              </a:ext>
            </a:extLst>
          </p:cNvPr>
          <p:cNvSpPr>
            <a:spLocks noGrp="1"/>
          </p:cNvSpPr>
          <p:nvPr>
            <p:ph type="title"/>
          </p:nvPr>
        </p:nvSpPr>
        <p:spPr>
          <a:xfrm>
            <a:off x="411163" y="2423513"/>
            <a:ext cx="9288000" cy="2585323"/>
          </a:xfrm>
        </p:spPr>
        <p:txBody>
          <a:bodyPr vert="horz"/>
          <a:lstStyle/>
          <a:p>
            <a:r>
              <a:rPr lang="en-US" sz="2400" b="1" noProof="0"/>
              <a:t>ACHEMA 2024 </a:t>
            </a:r>
            <a:br>
              <a:rPr lang="en-US" sz="5400" b="1" noProof="0"/>
            </a:br>
            <a:r>
              <a:rPr lang="en-US" sz="4800" b="1"/>
              <a:t>Transforming the </a:t>
            </a:r>
            <a:br>
              <a:rPr lang="en-US" sz="4800" b="1"/>
            </a:br>
            <a:r>
              <a:rPr lang="en-US" sz="4800" b="1"/>
              <a:t>process industries </a:t>
            </a:r>
            <a:br>
              <a:rPr lang="en-US" sz="4800" b="1"/>
            </a:br>
            <a:r>
              <a:rPr lang="en-US" sz="4800" b="1"/>
              <a:t>for a </a:t>
            </a:r>
            <a:r>
              <a:rPr lang="en-US" sz="4800" b="1">
                <a:solidFill>
                  <a:srgbClr val="00C1B6"/>
                </a:solidFill>
              </a:rPr>
              <a:t>sustainable tomorrow</a:t>
            </a:r>
            <a:endParaRPr lang="en-US" sz="5400" b="1">
              <a:solidFill>
                <a:srgbClr val="00C1B6"/>
              </a:solidFill>
            </a:endParaRPr>
          </a:p>
        </p:txBody>
      </p:sp>
    </p:spTree>
    <p:extLst>
      <p:ext uri="{BB962C8B-B14F-4D97-AF65-F5344CB8AC3E}">
        <p14:creationId xmlns:p14="http://schemas.microsoft.com/office/powerpoint/2010/main" val="252081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32AF550D-0CB8-4FF8-9A76-E80EE31F18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2" hidden="1">
                        <a:extLst>
                          <a:ext uri="{FF2B5EF4-FFF2-40B4-BE49-F238E27FC236}">
                            <a16:creationId xmlns:a16="http://schemas.microsoft.com/office/drawing/2014/main" id="{32AF550D-0CB8-4FF8-9A76-E80EE31F18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346" name="Graphic 11345">
            <a:extLst>
              <a:ext uri="{FF2B5EF4-FFF2-40B4-BE49-F238E27FC236}">
                <a16:creationId xmlns:a16="http://schemas.microsoft.com/office/drawing/2014/main" id="{DD2A2C36-95EC-43C3-F312-E469EC4013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15301" y="4037937"/>
            <a:ext cx="6399072" cy="3061737"/>
          </a:xfrm>
          <a:prstGeom prst="rect">
            <a:avLst/>
          </a:prstGeom>
          <a:scene3d>
            <a:camera prst="orthographicFront">
              <a:rot lat="20099994" lon="21299994" rev="20999999"/>
            </a:camera>
            <a:lightRig rig="threePt" dir="t"/>
          </a:scene3d>
        </p:spPr>
      </p:pic>
      <p:sp>
        <p:nvSpPr>
          <p:cNvPr id="11347" name="Teardrop 11346">
            <a:extLst>
              <a:ext uri="{FF2B5EF4-FFF2-40B4-BE49-F238E27FC236}">
                <a16:creationId xmlns:a16="http://schemas.microsoft.com/office/drawing/2014/main" id="{363285FF-4AC0-963D-1284-3AFA62807C47}"/>
              </a:ext>
            </a:extLst>
          </p:cNvPr>
          <p:cNvSpPr/>
          <p:nvPr/>
        </p:nvSpPr>
        <p:spPr>
          <a:xfrm rot="8100000">
            <a:off x="5034624" y="5517453"/>
            <a:ext cx="272507" cy="272507"/>
          </a:xfrm>
          <a:prstGeom prst="teardrop">
            <a:avLst>
              <a:gd name="adj" fmla="val 200000"/>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cxnSp>
        <p:nvCxnSpPr>
          <p:cNvPr id="11401" name="Straight Connector 11400">
            <a:extLst>
              <a:ext uri="{FF2B5EF4-FFF2-40B4-BE49-F238E27FC236}">
                <a16:creationId xmlns:a16="http://schemas.microsoft.com/office/drawing/2014/main" id="{758422B8-31AB-BD6F-EAFB-C41FBDC34D1E}"/>
              </a:ext>
            </a:extLst>
          </p:cNvPr>
          <p:cNvCxnSpPr>
            <a:cxnSpLocks/>
            <a:endCxn id="11347" idx="7"/>
          </p:cNvCxnSpPr>
          <p:nvPr/>
        </p:nvCxnSpPr>
        <p:spPr>
          <a:xfrm>
            <a:off x="2750767" y="5629028"/>
            <a:ext cx="2420110" cy="410062"/>
          </a:xfrm>
          <a:prstGeom prst="line">
            <a:avLst/>
          </a:prstGeom>
          <a:noFill/>
          <a:ln w="6350" cap="flat" cmpd="sng" algn="ctr">
            <a:solidFill>
              <a:srgbClr val="000000"/>
            </a:solidFill>
            <a:prstDash val="dash"/>
            <a:miter lim="800000"/>
            <a:tailEnd type="none"/>
          </a:ln>
          <a:effectLst/>
        </p:spPr>
      </p:cxnSp>
      <p:cxnSp>
        <p:nvCxnSpPr>
          <p:cNvPr id="11402" name="Straight Connector 11401">
            <a:extLst>
              <a:ext uri="{FF2B5EF4-FFF2-40B4-BE49-F238E27FC236}">
                <a16:creationId xmlns:a16="http://schemas.microsoft.com/office/drawing/2014/main" id="{B35CEEEB-2856-8A34-7F5A-EFFB1C410174}"/>
              </a:ext>
            </a:extLst>
          </p:cNvPr>
          <p:cNvCxnSpPr>
            <a:cxnSpLocks/>
            <a:endCxn id="11347" idx="7"/>
          </p:cNvCxnSpPr>
          <p:nvPr/>
        </p:nvCxnSpPr>
        <p:spPr>
          <a:xfrm>
            <a:off x="4660271" y="5166881"/>
            <a:ext cx="510607" cy="872208"/>
          </a:xfrm>
          <a:prstGeom prst="line">
            <a:avLst/>
          </a:prstGeom>
          <a:noFill/>
          <a:ln w="6350" cap="flat" cmpd="sng" algn="ctr">
            <a:solidFill>
              <a:srgbClr val="000000"/>
            </a:solidFill>
            <a:prstDash val="dash"/>
            <a:miter lim="800000"/>
            <a:tailEnd type="none"/>
          </a:ln>
          <a:effectLst/>
        </p:spPr>
      </p:cxnSp>
      <p:pic>
        <p:nvPicPr>
          <p:cNvPr id="11403" name="Picture 11402">
            <a:extLst>
              <a:ext uri="{FF2B5EF4-FFF2-40B4-BE49-F238E27FC236}">
                <a16:creationId xmlns:a16="http://schemas.microsoft.com/office/drawing/2014/main" id="{A7F532BC-92BC-6AAA-81AF-2658DE64C3E6}"/>
              </a:ext>
            </a:extLst>
          </p:cNvPr>
          <p:cNvPicPr>
            <a:picLocks noChangeAspect="1"/>
          </p:cNvPicPr>
          <p:nvPr/>
        </p:nvPicPr>
        <p:blipFill>
          <a:blip r:embed="rId7"/>
          <a:stretch>
            <a:fillRect/>
          </a:stretch>
        </p:blipFill>
        <p:spPr>
          <a:xfrm>
            <a:off x="4597072" y="6217498"/>
            <a:ext cx="339106" cy="226069"/>
          </a:xfrm>
          <a:prstGeom prst="rect">
            <a:avLst/>
          </a:prstGeom>
          <a:ln w="6350">
            <a:solidFill>
              <a:srgbClr val="D0D0D0"/>
            </a:solidFill>
          </a:ln>
        </p:spPr>
      </p:pic>
      <p:sp>
        <p:nvSpPr>
          <p:cNvPr id="11404" name="TextBox 11403">
            <a:extLst>
              <a:ext uri="{FF2B5EF4-FFF2-40B4-BE49-F238E27FC236}">
                <a16:creationId xmlns:a16="http://schemas.microsoft.com/office/drawing/2014/main" id="{A1306EA0-BE5C-6398-834F-88F44D63833A}"/>
              </a:ext>
            </a:extLst>
          </p:cNvPr>
          <p:cNvSpPr txBox="1">
            <a:spLocks/>
          </p:cNvSpPr>
          <p:nvPr/>
        </p:nvSpPr>
        <p:spPr>
          <a:xfrm>
            <a:off x="5012486" y="6170567"/>
            <a:ext cx="342429" cy="123790"/>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900" b="1" i="0" u="none" strike="noStrike" kern="1200" cap="none" spc="0" normalizeH="0" baseline="0" noProof="0" dirty="0">
                <a:ln>
                  <a:noFill/>
                </a:ln>
                <a:solidFill>
                  <a:srgbClr val="005A64"/>
                </a:solidFill>
                <a:effectLst/>
                <a:uLnTx/>
                <a:uFillTx/>
                <a:latin typeface="Ink Free" panose="03080402000500000000" pitchFamily="66" charset="0"/>
                <a:ea typeface="+mn-ea"/>
                <a:cs typeface="Arial" panose="020B0604020202020204" pitchFamily="34" charset="0"/>
              </a:rPr>
              <a:t>Rwanda</a:t>
            </a:r>
          </a:p>
        </p:txBody>
      </p:sp>
      <p:sp>
        <p:nvSpPr>
          <p:cNvPr id="450" name="Freeform: Shape 449">
            <a:extLst>
              <a:ext uri="{FF2B5EF4-FFF2-40B4-BE49-F238E27FC236}">
                <a16:creationId xmlns:a16="http://schemas.microsoft.com/office/drawing/2014/main" id="{2B32565E-811F-BD34-C21F-AAC636D3256F}"/>
              </a:ext>
            </a:extLst>
          </p:cNvPr>
          <p:cNvSpPr/>
          <p:nvPr/>
        </p:nvSpPr>
        <p:spPr>
          <a:xfrm>
            <a:off x="311304" y="1788893"/>
            <a:ext cx="8066668" cy="5694894"/>
          </a:xfrm>
          <a:custGeom>
            <a:avLst/>
            <a:gdLst>
              <a:gd name="connsiteX0" fmla="*/ 0 w 8066668"/>
              <a:gd name="connsiteY0" fmla="*/ 2168129 h 5386621"/>
              <a:gd name="connsiteX1" fmla="*/ 195166 w 8066668"/>
              <a:gd name="connsiteY1" fmla="*/ 2137927 h 5386621"/>
              <a:gd name="connsiteX2" fmla="*/ 197232 w 8066668"/>
              <a:gd name="connsiteY2" fmla="*/ 2132824 h 5386621"/>
              <a:gd name="connsiteX3" fmla="*/ 0 w 8066668"/>
              <a:gd name="connsiteY3" fmla="*/ 2168129 h 5386621"/>
              <a:gd name="connsiteX4" fmla="*/ 5457464 w 8066668"/>
              <a:gd name="connsiteY4" fmla="*/ 3798165 h 5386621"/>
              <a:gd name="connsiteX5" fmla="*/ 5791727 w 8066668"/>
              <a:gd name="connsiteY5" fmla="*/ 3704456 h 5386621"/>
              <a:gd name="connsiteX6" fmla="*/ 5457464 w 8066668"/>
              <a:gd name="connsiteY6" fmla="*/ 3798165 h 5386621"/>
              <a:gd name="connsiteX7" fmla="*/ 7908521 w 8066668"/>
              <a:gd name="connsiteY7" fmla="*/ 3112957 h 5386621"/>
              <a:gd name="connsiteX8" fmla="*/ 8066669 w 8066668"/>
              <a:gd name="connsiteY8" fmla="*/ 3218492 h 5386621"/>
              <a:gd name="connsiteX9" fmla="*/ 7908521 w 8066668"/>
              <a:gd name="connsiteY9" fmla="*/ 3112957 h 538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66668" h="5386621">
                <a:moveTo>
                  <a:pt x="0" y="2168129"/>
                </a:moveTo>
                <a:lnTo>
                  <a:pt x="195166" y="2137927"/>
                </a:lnTo>
                <a:lnTo>
                  <a:pt x="197232" y="2132824"/>
                </a:lnTo>
                <a:lnTo>
                  <a:pt x="0" y="2168129"/>
                </a:lnTo>
                <a:close/>
                <a:moveTo>
                  <a:pt x="5457464" y="3798165"/>
                </a:moveTo>
                <a:cubicBezTo>
                  <a:pt x="5641478" y="3765274"/>
                  <a:pt x="5740147" y="3738898"/>
                  <a:pt x="5791727" y="3704456"/>
                </a:cubicBezTo>
                <a:cubicBezTo>
                  <a:pt x="5740147" y="3738898"/>
                  <a:pt x="5641530" y="3765240"/>
                  <a:pt x="5457464" y="3798165"/>
                </a:cubicBezTo>
                <a:close/>
                <a:moveTo>
                  <a:pt x="7908521" y="3112957"/>
                </a:moveTo>
                <a:lnTo>
                  <a:pt x="8066669" y="3218492"/>
                </a:lnTo>
                <a:lnTo>
                  <a:pt x="7908521" y="3112957"/>
                </a:lnTo>
                <a:close/>
              </a:path>
            </a:pathLst>
          </a:custGeom>
          <a:solidFill>
            <a:srgbClr val="FEEBD7"/>
          </a:solidFill>
          <a:ln w="57536"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2" name="Freeform: Shape 451">
            <a:extLst>
              <a:ext uri="{FF2B5EF4-FFF2-40B4-BE49-F238E27FC236}">
                <a16:creationId xmlns:a16="http://schemas.microsoft.com/office/drawing/2014/main" id="{233A99C1-AF92-7B96-1F35-4D2C4DD81B0D}"/>
              </a:ext>
            </a:extLst>
          </p:cNvPr>
          <p:cNvSpPr/>
          <p:nvPr/>
        </p:nvSpPr>
        <p:spPr>
          <a:xfrm>
            <a:off x="3257353" y="3868231"/>
            <a:ext cx="5120619" cy="3615047"/>
          </a:xfrm>
          <a:custGeom>
            <a:avLst/>
            <a:gdLst>
              <a:gd name="connsiteX0" fmla="*/ 0 w 5120619"/>
              <a:gd name="connsiteY0" fmla="*/ 2167647 h 3419359"/>
              <a:gd name="connsiteX1" fmla="*/ 2157377 w 5120619"/>
              <a:gd name="connsiteY1" fmla="*/ 1781773 h 3419359"/>
              <a:gd name="connsiteX2" fmla="*/ 2194035 w 5120619"/>
              <a:gd name="connsiteY2" fmla="*/ 1785772 h 3419359"/>
              <a:gd name="connsiteX3" fmla="*/ 2157377 w 5120619"/>
              <a:gd name="connsiteY3" fmla="*/ 1781773 h 3419359"/>
              <a:gd name="connsiteX4" fmla="*/ 0 w 5120619"/>
              <a:gd name="connsiteY4" fmla="*/ 2167647 h 3419359"/>
              <a:gd name="connsiteX5" fmla="*/ 2206479 w 5120619"/>
              <a:gd name="connsiteY5" fmla="*/ 1851934 h 3419359"/>
              <a:gd name="connsiteX6" fmla="*/ 2511416 w 5120619"/>
              <a:gd name="connsiteY6" fmla="*/ 1831385 h 3419359"/>
              <a:gd name="connsiteX7" fmla="*/ 2206479 w 5120619"/>
              <a:gd name="connsiteY7" fmla="*/ 1851934 h 3419359"/>
              <a:gd name="connsiteX8" fmla="*/ 2511416 w 5120619"/>
              <a:gd name="connsiteY8" fmla="*/ 1831385 h 3419359"/>
              <a:gd name="connsiteX9" fmla="*/ 2845678 w 5120619"/>
              <a:gd name="connsiteY9" fmla="*/ 1737676 h 3419359"/>
              <a:gd name="connsiteX10" fmla="*/ 2880221 w 5120619"/>
              <a:gd name="connsiteY10" fmla="*/ 1704335 h 3419359"/>
              <a:gd name="connsiteX11" fmla="*/ 2845678 w 5120619"/>
              <a:gd name="connsiteY11" fmla="*/ 1737676 h 3419359"/>
              <a:gd name="connsiteX12" fmla="*/ 2511416 w 5120619"/>
              <a:gd name="connsiteY12" fmla="*/ 1831385 h 3419359"/>
              <a:gd name="connsiteX13" fmla="*/ 2963193 w 5120619"/>
              <a:gd name="connsiteY13" fmla="*/ 1637621 h 3419359"/>
              <a:gd name="connsiteX14" fmla="*/ 5120620 w 5120619"/>
              <a:gd name="connsiteY14" fmla="*/ 1251713 h 3419359"/>
              <a:gd name="connsiteX15" fmla="*/ 2963193 w 5120619"/>
              <a:gd name="connsiteY15" fmla="*/ 1637621 h 3419359"/>
              <a:gd name="connsiteX16" fmla="*/ 2888120 w 5120619"/>
              <a:gd name="connsiteY16" fmla="*/ 1689820 h 3419359"/>
              <a:gd name="connsiteX17" fmla="*/ 2887861 w 5120619"/>
              <a:gd name="connsiteY17" fmla="*/ 1690407 h 3419359"/>
              <a:gd name="connsiteX18" fmla="*/ 2888120 w 5120619"/>
              <a:gd name="connsiteY18" fmla="*/ 1689820 h 3419359"/>
              <a:gd name="connsiteX19" fmla="*/ 2882338 w 5120619"/>
              <a:gd name="connsiteY19" fmla="*/ 1701060 h 3419359"/>
              <a:gd name="connsiteX20" fmla="*/ 2881975 w 5120619"/>
              <a:gd name="connsiteY20" fmla="*/ 1701578 h 3419359"/>
              <a:gd name="connsiteX21" fmla="*/ 2882338 w 5120619"/>
              <a:gd name="connsiteY21" fmla="*/ 1701060 h 3419359"/>
              <a:gd name="connsiteX22" fmla="*/ 2881150 w 5120619"/>
              <a:gd name="connsiteY22" fmla="*/ 1702956 h 3419359"/>
              <a:gd name="connsiteX23" fmla="*/ 2880582 w 5120619"/>
              <a:gd name="connsiteY23" fmla="*/ 1703749 h 3419359"/>
              <a:gd name="connsiteX24" fmla="*/ 2881150 w 5120619"/>
              <a:gd name="connsiteY24" fmla="*/ 1702956 h 3419359"/>
              <a:gd name="connsiteX25" fmla="*/ 2880634 w 5120619"/>
              <a:gd name="connsiteY25" fmla="*/ 1703784 h 3419359"/>
              <a:gd name="connsiteX26" fmla="*/ 2880530 w 5120619"/>
              <a:gd name="connsiteY26" fmla="*/ 1703853 h 3419359"/>
              <a:gd name="connsiteX27" fmla="*/ 2880634 w 5120619"/>
              <a:gd name="connsiteY27" fmla="*/ 1703784 h 3419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120619" h="3419359">
                <a:moveTo>
                  <a:pt x="0" y="2167647"/>
                </a:moveTo>
                <a:lnTo>
                  <a:pt x="2157377" y="1781773"/>
                </a:lnTo>
                <a:cubicBezTo>
                  <a:pt x="2173486" y="1778876"/>
                  <a:pt x="2186291" y="1780600"/>
                  <a:pt x="2194035" y="1785772"/>
                </a:cubicBezTo>
                <a:cubicBezTo>
                  <a:pt x="2186291" y="1780600"/>
                  <a:pt x="2173486" y="1778876"/>
                  <a:pt x="2157377" y="1781773"/>
                </a:cubicBezTo>
                <a:lnTo>
                  <a:pt x="0" y="2167647"/>
                </a:lnTo>
                <a:close/>
                <a:moveTo>
                  <a:pt x="2206479" y="1851934"/>
                </a:moveTo>
                <a:cubicBezTo>
                  <a:pt x="2236166" y="1871897"/>
                  <a:pt x="2327297" y="1864347"/>
                  <a:pt x="2511416" y="1831385"/>
                </a:cubicBezTo>
                <a:cubicBezTo>
                  <a:pt x="2327245" y="1864312"/>
                  <a:pt x="2236166" y="1871897"/>
                  <a:pt x="2206479" y="1851934"/>
                </a:cubicBezTo>
                <a:close/>
                <a:moveTo>
                  <a:pt x="2511416" y="1831385"/>
                </a:moveTo>
                <a:cubicBezTo>
                  <a:pt x="2695482" y="1798460"/>
                  <a:pt x="2794099" y="1772119"/>
                  <a:pt x="2845678" y="1737676"/>
                </a:cubicBezTo>
                <a:cubicBezTo>
                  <a:pt x="2861065" y="1727401"/>
                  <a:pt x="2872217" y="1716438"/>
                  <a:pt x="2880221" y="1704335"/>
                </a:cubicBezTo>
                <a:cubicBezTo>
                  <a:pt x="2872217" y="1716438"/>
                  <a:pt x="2861065" y="1727401"/>
                  <a:pt x="2845678" y="1737676"/>
                </a:cubicBezTo>
                <a:cubicBezTo>
                  <a:pt x="2794099" y="1772119"/>
                  <a:pt x="2695430" y="1798495"/>
                  <a:pt x="2511416" y="1831385"/>
                </a:cubicBezTo>
                <a:close/>
                <a:moveTo>
                  <a:pt x="2963193" y="1637621"/>
                </a:moveTo>
                <a:lnTo>
                  <a:pt x="5120620" y="1251713"/>
                </a:lnTo>
                <a:lnTo>
                  <a:pt x="2963193" y="1637621"/>
                </a:lnTo>
                <a:close/>
                <a:moveTo>
                  <a:pt x="2888120" y="1689820"/>
                </a:moveTo>
                <a:cubicBezTo>
                  <a:pt x="2888016" y="1690027"/>
                  <a:pt x="2887913" y="1690234"/>
                  <a:pt x="2887861" y="1690407"/>
                </a:cubicBezTo>
                <a:cubicBezTo>
                  <a:pt x="2887913" y="1690234"/>
                  <a:pt x="2888016" y="1690027"/>
                  <a:pt x="2888120" y="1689820"/>
                </a:cubicBezTo>
                <a:close/>
                <a:moveTo>
                  <a:pt x="2882338" y="1701060"/>
                </a:moveTo>
                <a:cubicBezTo>
                  <a:pt x="2882183" y="1701232"/>
                  <a:pt x="2882079" y="1701439"/>
                  <a:pt x="2881975" y="1701578"/>
                </a:cubicBezTo>
                <a:cubicBezTo>
                  <a:pt x="2882079" y="1701439"/>
                  <a:pt x="2882183" y="1701232"/>
                  <a:pt x="2882338" y="1701060"/>
                </a:cubicBezTo>
                <a:close/>
                <a:moveTo>
                  <a:pt x="2881150" y="1702956"/>
                </a:moveTo>
                <a:cubicBezTo>
                  <a:pt x="2880943" y="1703232"/>
                  <a:pt x="2880787" y="1703474"/>
                  <a:pt x="2880582" y="1703749"/>
                </a:cubicBezTo>
                <a:cubicBezTo>
                  <a:pt x="2880787" y="1703474"/>
                  <a:pt x="2880943" y="1703232"/>
                  <a:pt x="2881150" y="1702956"/>
                </a:cubicBezTo>
                <a:close/>
                <a:moveTo>
                  <a:pt x="2880634" y="1703784"/>
                </a:moveTo>
                <a:lnTo>
                  <a:pt x="2880530" y="1703853"/>
                </a:lnTo>
                <a:lnTo>
                  <a:pt x="2880634" y="1703784"/>
                </a:lnTo>
                <a:close/>
              </a:path>
            </a:pathLst>
          </a:custGeom>
          <a:solidFill>
            <a:srgbClr val="D75F49"/>
          </a:solidFill>
          <a:ln w="57536"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07" name="Teardrop 3606">
            <a:extLst>
              <a:ext uri="{FF2B5EF4-FFF2-40B4-BE49-F238E27FC236}">
                <a16:creationId xmlns:a16="http://schemas.microsoft.com/office/drawing/2014/main" id="{63F53B0C-87E9-649C-9E2B-206056F55A9A}"/>
              </a:ext>
            </a:extLst>
          </p:cNvPr>
          <p:cNvSpPr/>
          <p:nvPr/>
        </p:nvSpPr>
        <p:spPr>
          <a:xfrm rot="8100000">
            <a:off x="6824527" y="5324760"/>
            <a:ext cx="272507" cy="272507"/>
          </a:xfrm>
          <a:prstGeom prst="teardrop">
            <a:avLst>
              <a:gd name="adj" fmla="val 200000"/>
            </a:avLst>
          </a:prstGeom>
          <a:solidFill>
            <a:srgbClr val="000000"/>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9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cxnSp>
        <p:nvCxnSpPr>
          <p:cNvPr id="4647" name="Straight Connector 4646">
            <a:extLst>
              <a:ext uri="{FF2B5EF4-FFF2-40B4-BE49-F238E27FC236}">
                <a16:creationId xmlns:a16="http://schemas.microsoft.com/office/drawing/2014/main" id="{D6A5B9E9-FDEE-E172-0E73-CC7E11E14853}"/>
              </a:ext>
            </a:extLst>
          </p:cNvPr>
          <p:cNvCxnSpPr>
            <a:cxnSpLocks/>
            <a:endCxn id="3607" idx="7"/>
          </p:cNvCxnSpPr>
          <p:nvPr/>
        </p:nvCxnSpPr>
        <p:spPr>
          <a:xfrm>
            <a:off x="6684429" y="5214097"/>
            <a:ext cx="276352" cy="632300"/>
          </a:xfrm>
          <a:prstGeom prst="line">
            <a:avLst/>
          </a:prstGeom>
          <a:noFill/>
          <a:ln w="6350" cap="flat" cmpd="sng" algn="ctr">
            <a:solidFill>
              <a:srgbClr val="000000"/>
            </a:solidFill>
            <a:prstDash val="dash"/>
            <a:miter lim="800000"/>
            <a:tailEnd type="none"/>
          </a:ln>
          <a:effectLst/>
        </p:spPr>
      </p:cxnSp>
      <p:cxnSp>
        <p:nvCxnSpPr>
          <p:cNvPr id="4648" name="Straight Connector 4647">
            <a:extLst>
              <a:ext uri="{FF2B5EF4-FFF2-40B4-BE49-F238E27FC236}">
                <a16:creationId xmlns:a16="http://schemas.microsoft.com/office/drawing/2014/main" id="{ADA9381D-1D0F-F2EE-084B-2142575768C1}"/>
              </a:ext>
            </a:extLst>
          </p:cNvPr>
          <p:cNvCxnSpPr>
            <a:cxnSpLocks/>
            <a:endCxn id="3607" idx="7"/>
          </p:cNvCxnSpPr>
          <p:nvPr/>
        </p:nvCxnSpPr>
        <p:spPr>
          <a:xfrm>
            <a:off x="5748403" y="5442339"/>
            <a:ext cx="1212378" cy="404058"/>
          </a:xfrm>
          <a:prstGeom prst="line">
            <a:avLst/>
          </a:prstGeom>
          <a:noFill/>
          <a:ln w="6350" cap="flat" cmpd="sng" algn="ctr">
            <a:solidFill>
              <a:srgbClr val="000000"/>
            </a:solidFill>
            <a:prstDash val="dash"/>
            <a:miter lim="800000"/>
            <a:tailEnd type="none"/>
          </a:ln>
          <a:effectLst/>
        </p:spPr>
      </p:cxnSp>
      <p:sp>
        <p:nvSpPr>
          <p:cNvPr id="4652" name="TextBox 4651">
            <a:extLst>
              <a:ext uri="{FF2B5EF4-FFF2-40B4-BE49-F238E27FC236}">
                <a16:creationId xmlns:a16="http://schemas.microsoft.com/office/drawing/2014/main" id="{9057C651-C333-647A-0F36-9EF2C338FD24}"/>
              </a:ext>
            </a:extLst>
          </p:cNvPr>
          <p:cNvSpPr txBox="1">
            <a:spLocks/>
          </p:cNvSpPr>
          <p:nvPr/>
        </p:nvSpPr>
        <p:spPr>
          <a:xfrm>
            <a:off x="6912749" y="6051218"/>
            <a:ext cx="408336" cy="123790"/>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900" b="1" i="0" u="none" strike="noStrike" kern="1200" cap="none" spc="0" normalizeH="0" baseline="0" noProof="0" dirty="0">
                <a:ln>
                  <a:noFill/>
                </a:ln>
                <a:solidFill>
                  <a:srgbClr val="005A64"/>
                </a:solidFill>
                <a:effectLst/>
                <a:uLnTx/>
                <a:uFillTx/>
                <a:latin typeface="Ink Free" panose="03080402000500000000" pitchFamily="66" charset="0"/>
                <a:ea typeface="+mn-ea"/>
                <a:cs typeface="Arial" panose="020B0604020202020204" pitchFamily="34" charset="0"/>
              </a:rPr>
              <a:t>Australia</a:t>
            </a:r>
          </a:p>
        </p:txBody>
      </p:sp>
      <p:pic>
        <p:nvPicPr>
          <p:cNvPr id="5089" name="Picture 5088">
            <a:extLst>
              <a:ext uri="{FF2B5EF4-FFF2-40B4-BE49-F238E27FC236}">
                <a16:creationId xmlns:a16="http://schemas.microsoft.com/office/drawing/2014/main" id="{D4D6A882-3876-3A12-91A4-41A1910C0320}"/>
              </a:ext>
            </a:extLst>
          </p:cNvPr>
          <p:cNvPicPr>
            <a:picLocks noChangeAspect="1"/>
          </p:cNvPicPr>
          <p:nvPr/>
        </p:nvPicPr>
        <p:blipFill>
          <a:blip r:embed="rId8"/>
          <a:stretch>
            <a:fillRect/>
          </a:stretch>
        </p:blipFill>
        <p:spPr>
          <a:xfrm>
            <a:off x="6500934" y="6119472"/>
            <a:ext cx="339106" cy="226069"/>
          </a:xfrm>
          <a:prstGeom prst="rect">
            <a:avLst/>
          </a:prstGeom>
          <a:ln w="6350">
            <a:solidFill>
              <a:srgbClr val="D0D0D0"/>
            </a:solidFill>
          </a:ln>
        </p:spPr>
      </p:pic>
      <p:sp>
        <p:nvSpPr>
          <p:cNvPr id="2" name="TextBox 1">
            <a:extLst>
              <a:ext uri="{FF2B5EF4-FFF2-40B4-BE49-F238E27FC236}">
                <a16:creationId xmlns:a16="http://schemas.microsoft.com/office/drawing/2014/main" id="{DF906A4C-595C-8229-8201-951D8F6CDFA2}"/>
              </a:ext>
            </a:extLst>
          </p:cNvPr>
          <p:cNvSpPr txBox="1"/>
          <p:nvPr/>
        </p:nvSpPr>
        <p:spPr>
          <a:xfrm>
            <a:off x="9135911" y="1239939"/>
            <a:ext cx="2779226" cy="46628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Building blocks can be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assembled in support of our internal and external ambitions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with a goal of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speed, cost-effectiveness and international scalability</a:t>
            </a:r>
          </a:p>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endPar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Example use cases spanning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R&amp;D</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 production through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clinical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and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commercial</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 manufacturing</a:t>
            </a:r>
          </a:p>
          <a:p>
            <a:pPr marL="228600" marR="0" lvl="1" indent="-228600" algn="l" defTabSz="914400" rtl="0" eaLnBrk="1" fontAlgn="auto" latinLnBrk="0" hangingPunct="1">
              <a:lnSpc>
                <a:spcPct val="100000"/>
              </a:lnSpc>
              <a:spcBef>
                <a:spcPts val="0"/>
              </a:spcBef>
              <a:spcAft>
                <a:spcPts val="300"/>
              </a:spcAft>
              <a:buClr>
                <a:srgbClr val="FFFFFF"/>
              </a:buClr>
              <a:buSzPct val="110000"/>
              <a:buFont typeface="Wingdings" panose="05000000000000000000" pitchFamily="2" charset="2"/>
              <a:buChar char=""/>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Rwanda: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Set-up of commercial manufacturing facility</a:t>
            </a:r>
            <a:endPar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a:p>
            <a:pPr marL="228600" marR="0" lvl="1" indent="-228600" algn="l" defTabSz="914400" rtl="0" eaLnBrk="1" fontAlgn="auto" latinLnBrk="0" hangingPunct="1">
              <a:lnSpc>
                <a:spcPct val="100000"/>
              </a:lnSpc>
              <a:spcBef>
                <a:spcPts val="0"/>
              </a:spcBef>
              <a:spcAft>
                <a:spcPts val="300"/>
              </a:spcAft>
              <a:buClr>
                <a:srgbClr val="FFFFFF"/>
              </a:buClr>
              <a:buSzPct val="110000"/>
              <a:buFont typeface="Wingdings" panose="05000000000000000000" pitchFamily="2" charset="2"/>
              <a:buChar char=""/>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Australia: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Set-up of R&amp;D production lab followed </a:t>
            </a:r>
            <a:b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by clinical manufacturing capability</a:t>
            </a:r>
          </a:p>
        </p:txBody>
      </p:sp>
      <p:sp>
        <p:nvSpPr>
          <p:cNvPr id="5112" name="RectangleLegend2">
            <a:extLst>
              <a:ext uri="{FF2B5EF4-FFF2-40B4-BE49-F238E27FC236}">
                <a16:creationId xmlns:a16="http://schemas.microsoft.com/office/drawing/2014/main" id="{EE6362A8-D444-6181-D709-ECF5CAE0A964}"/>
              </a:ext>
            </a:extLst>
          </p:cNvPr>
          <p:cNvSpPr>
            <a:spLocks/>
          </p:cNvSpPr>
          <p:nvPr/>
        </p:nvSpPr>
        <p:spPr>
          <a:xfrm>
            <a:off x="5561311" y="5167447"/>
            <a:ext cx="1367161" cy="115408"/>
          </a:xfrm>
          <a:prstGeom prst="rect">
            <a:avLst/>
          </a:prstGeom>
          <a:noFill/>
          <a:ln w="6350" cap="sq" cmpd="sng" algn="ctr">
            <a:noFill/>
            <a:prstDash val="solid"/>
            <a:miter lim="800000"/>
          </a:ln>
          <a:effectLst/>
          <a:scene3d>
            <a:camera prst="isometricOffAxis1Right">
              <a:rot lat="1362555" lon="19391488" rev="21399900"/>
            </a:camera>
            <a:lightRig rig="threePt" dir="t"/>
          </a:scene3d>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900" b="0" i="0" u="none" strike="noStrike" kern="0" cap="none" spc="0" normalizeH="0" baseline="0" noProof="0" dirty="0">
                <a:ln>
                  <a:noFill/>
                </a:ln>
                <a:solidFill>
                  <a:srgbClr val="000000"/>
                </a:solidFill>
                <a:effectLst/>
                <a:uLnTx/>
                <a:uFillTx/>
                <a:latin typeface="Arial" panose="020B0604020202020204"/>
                <a:ea typeface="+mn-ea"/>
                <a:cs typeface="+mn-cs"/>
              </a:rPr>
              <a:t>Modular R&amp;D lab</a:t>
            </a:r>
          </a:p>
        </p:txBody>
      </p:sp>
      <p:sp>
        <p:nvSpPr>
          <p:cNvPr id="4024" name="Freeform: Shape 4023">
            <a:extLst>
              <a:ext uri="{FF2B5EF4-FFF2-40B4-BE49-F238E27FC236}">
                <a16:creationId xmlns:a16="http://schemas.microsoft.com/office/drawing/2014/main" id="{5B3FA453-9E2E-08F0-B82B-B3B8DA11CBF7}"/>
              </a:ext>
            </a:extLst>
          </p:cNvPr>
          <p:cNvSpPr/>
          <p:nvPr/>
        </p:nvSpPr>
        <p:spPr>
          <a:xfrm>
            <a:off x="5408492" y="4948347"/>
            <a:ext cx="319635" cy="492615"/>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8D982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25" name="Freeform: Shape 4024">
            <a:extLst>
              <a:ext uri="{FF2B5EF4-FFF2-40B4-BE49-F238E27FC236}">
                <a16:creationId xmlns:a16="http://schemas.microsoft.com/office/drawing/2014/main" id="{26791589-B75A-9518-7ED1-F0FB4E4311D5}"/>
              </a:ext>
            </a:extLst>
          </p:cNvPr>
          <p:cNvSpPr/>
          <p:nvPr/>
        </p:nvSpPr>
        <p:spPr>
          <a:xfrm>
            <a:off x="5405913" y="4945611"/>
            <a:ext cx="324763" cy="498078"/>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B900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26" name="Freeform: Shape 4025">
            <a:extLst>
              <a:ext uri="{FF2B5EF4-FFF2-40B4-BE49-F238E27FC236}">
                <a16:creationId xmlns:a16="http://schemas.microsoft.com/office/drawing/2014/main" id="{F466D3A6-D062-BF03-9F46-EDA62CF316AE}"/>
              </a:ext>
            </a:extLst>
          </p:cNvPr>
          <p:cNvSpPr/>
          <p:nvPr/>
        </p:nvSpPr>
        <p:spPr>
          <a:xfrm>
            <a:off x="5727127" y="4896036"/>
            <a:ext cx="981484" cy="544926"/>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BECE33"/>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27" name="Freeform: Shape 4026">
            <a:extLst>
              <a:ext uri="{FF2B5EF4-FFF2-40B4-BE49-F238E27FC236}">
                <a16:creationId xmlns:a16="http://schemas.microsoft.com/office/drawing/2014/main" id="{F5FFC0A7-A303-719D-7655-3AD027C5FF20}"/>
              </a:ext>
            </a:extLst>
          </p:cNvPr>
          <p:cNvSpPr/>
          <p:nvPr/>
        </p:nvSpPr>
        <p:spPr>
          <a:xfrm>
            <a:off x="5724546" y="4893291"/>
            <a:ext cx="986611" cy="550399"/>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28" name="Freeform: Shape 4027">
            <a:extLst>
              <a:ext uri="{FF2B5EF4-FFF2-40B4-BE49-F238E27FC236}">
                <a16:creationId xmlns:a16="http://schemas.microsoft.com/office/drawing/2014/main" id="{D3741D7D-F065-904C-9DAE-7483952BA9F7}"/>
              </a:ext>
            </a:extLst>
          </p:cNvPr>
          <p:cNvSpPr/>
          <p:nvPr/>
        </p:nvSpPr>
        <p:spPr>
          <a:xfrm>
            <a:off x="5408492" y="4709026"/>
            <a:ext cx="1300118" cy="426332"/>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29" name="Freeform: Shape 4028">
            <a:extLst>
              <a:ext uri="{FF2B5EF4-FFF2-40B4-BE49-F238E27FC236}">
                <a16:creationId xmlns:a16="http://schemas.microsoft.com/office/drawing/2014/main" id="{03A7711C-4CE4-8821-94CD-5B03F83C6C8A}"/>
              </a:ext>
            </a:extLst>
          </p:cNvPr>
          <p:cNvSpPr/>
          <p:nvPr/>
        </p:nvSpPr>
        <p:spPr>
          <a:xfrm>
            <a:off x="5405897" y="4706346"/>
            <a:ext cx="1305267" cy="431674"/>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FFE9BA"/>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030" name="Graphic 648">
            <a:extLst>
              <a:ext uri="{FF2B5EF4-FFF2-40B4-BE49-F238E27FC236}">
                <a16:creationId xmlns:a16="http://schemas.microsoft.com/office/drawing/2014/main" id="{EFFF603D-6106-FCA6-03F7-F687A08043CD}"/>
              </a:ext>
            </a:extLst>
          </p:cNvPr>
          <p:cNvGrpSpPr/>
          <p:nvPr/>
        </p:nvGrpSpPr>
        <p:grpSpPr>
          <a:xfrm>
            <a:off x="6237442" y="4680521"/>
            <a:ext cx="205200" cy="141055"/>
            <a:chOff x="5076275" y="4141580"/>
            <a:chExt cx="152940" cy="99440"/>
          </a:xfrm>
          <a:gradFill>
            <a:gsLst>
              <a:gs pos="100000">
                <a:srgbClr val="D0DB67"/>
              </a:gs>
              <a:gs pos="0">
                <a:srgbClr val="BECE33"/>
              </a:gs>
            </a:gsLst>
            <a:lin ang="0" scaled="1"/>
          </a:gradFill>
        </p:grpSpPr>
        <p:sp>
          <p:nvSpPr>
            <p:cNvPr id="9772" name="Freeform: Shape 9771">
              <a:extLst>
                <a:ext uri="{FF2B5EF4-FFF2-40B4-BE49-F238E27FC236}">
                  <a16:creationId xmlns:a16="http://schemas.microsoft.com/office/drawing/2014/main" id="{7291D525-2173-EDC5-142A-3D82474D3857}"/>
                </a:ext>
              </a:extLst>
            </p:cNvPr>
            <p:cNvSpPr/>
            <p:nvPr/>
          </p:nvSpPr>
          <p:spPr>
            <a:xfrm>
              <a:off x="5076275" y="414158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773" name="Graphic 648">
              <a:extLst>
                <a:ext uri="{FF2B5EF4-FFF2-40B4-BE49-F238E27FC236}">
                  <a16:creationId xmlns:a16="http://schemas.microsoft.com/office/drawing/2014/main" id="{021087E3-0E08-165E-E5ED-33F7DD22BA2F}"/>
                </a:ext>
              </a:extLst>
            </p:cNvPr>
            <p:cNvGrpSpPr/>
            <p:nvPr/>
          </p:nvGrpSpPr>
          <p:grpSpPr>
            <a:xfrm>
              <a:off x="5076275" y="4141580"/>
              <a:ext cx="152940" cy="99438"/>
              <a:chOff x="5076275" y="4141580"/>
              <a:chExt cx="152940" cy="99438"/>
            </a:xfrm>
            <a:grpFill/>
          </p:grpSpPr>
          <p:sp>
            <p:nvSpPr>
              <p:cNvPr id="9774" name="Freeform: Shape 9773">
                <a:extLst>
                  <a:ext uri="{FF2B5EF4-FFF2-40B4-BE49-F238E27FC236}">
                    <a16:creationId xmlns:a16="http://schemas.microsoft.com/office/drawing/2014/main" id="{AAC91656-EA83-3F3B-5769-76F34A55A20A}"/>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75" name="Freeform: Shape 9774">
                <a:extLst>
                  <a:ext uri="{FF2B5EF4-FFF2-40B4-BE49-F238E27FC236}">
                    <a16:creationId xmlns:a16="http://schemas.microsoft.com/office/drawing/2014/main" id="{3DFE948E-907E-4A7C-063F-9BAF125DAE32}"/>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031" name="Graphic 648">
            <a:extLst>
              <a:ext uri="{FF2B5EF4-FFF2-40B4-BE49-F238E27FC236}">
                <a16:creationId xmlns:a16="http://schemas.microsoft.com/office/drawing/2014/main" id="{FCA2E209-BBCA-DFC0-A52A-7C114E1AB919}"/>
              </a:ext>
            </a:extLst>
          </p:cNvPr>
          <p:cNvGrpSpPr/>
          <p:nvPr/>
        </p:nvGrpSpPr>
        <p:grpSpPr>
          <a:xfrm>
            <a:off x="6003670" y="4737595"/>
            <a:ext cx="205185" cy="141043"/>
            <a:chOff x="4902040" y="4181817"/>
            <a:chExt cx="152929" cy="99432"/>
          </a:xfrm>
          <a:gradFill>
            <a:gsLst>
              <a:gs pos="100000">
                <a:srgbClr val="D0DB67"/>
              </a:gs>
              <a:gs pos="0">
                <a:srgbClr val="BECE33"/>
              </a:gs>
            </a:gsLst>
            <a:lin ang="0" scaled="1"/>
          </a:gradFill>
        </p:grpSpPr>
        <p:sp>
          <p:nvSpPr>
            <p:cNvPr id="9768" name="Freeform: Shape 9767">
              <a:extLst>
                <a:ext uri="{FF2B5EF4-FFF2-40B4-BE49-F238E27FC236}">
                  <a16:creationId xmlns:a16="http://schemas.microsoft.com/office/drawing/2014/main" id="{BB8E2CC0-DC96-D325-DD94-C745B38E43F0}"/>
                </a:ext>
              </a:extLst>
            </p:cNvPr>
            <p:cNvSpPr/>
            <p:nvPr/>
          </p:nvSpPr>
          <p:spPr>
            <a:xfrm>
              <a:off x="4902040" y="418181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769" name="Graphic 648">
              <a:extLst>
                <a:ext uri="{FF2B5EF4-FFF2-40B4-BE49-F238E27FC236}">
                  <a16:creationId xmlns:a16="http://schemas.microsoft.com/office/drawing/2014/main" id="{9B655D4E-4230-E64E-1A76-FDBD2747C4F1}"/>
                </a:ext>
              </a:extLst>
            </p:cNvPr>
            <p:cNvGrpSpPr/>
            <p:nvPr/>
          </p:nvGrpSpPr>
          <p:grpSpPr>
            <a:xfrm>
              <a:off x="4902041" y="4181817"/>
              <a:ext cx="152929" cy="99427"/>
              <a:chOff x="4902041" y="4181817"/>
              <a:chExt cx="152929" cy="99427"/>
            </a:xfrm>
            <a:grpFill/>
          </p:grpSpPr>
          <p:sp>
            <p:nvSpPr>
              <p:cNvPr id="9770" name="Freeform: Shape 9769">
                <a:extLst>
                  <a:ext uri="{FF2B5EF4-FFF2-40B4-BE49-F238E27FC236}">
                    <a16:creationId xmlns:a16="http://schemas.microsoft.com/office/drawing/2014/main" id="{67FCD074-1FC3-12A1-1DA2-3D717B354832}"/>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71" name="Freeform: Shape 9770">
                <a:extLst>
                  <a:ext uri="{FF2B5EF4-FFF2-40B4-BE49-F238E27FC236}">
                    <a16:creationId xmlns:a16="http://schemas.microsoft.com/office/drawing/2014/main" id="{D5DF912D-06A1-3272-839A-A17872FD0C27}"/>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9728" name="Graphic 648">
            <a:extLst>
              <a:ext uri="{FF2B5EF4-FFF2-40B4-BE49-F238E27FC236}">
                <a16:creationId xmlns:a16="http://schemas.microsoft.com/office/drawing/2014/main" id="{6AEF0E50-9CC2-DED6-5D90-CF867894A589}"/>
              </a:ext>
            </a:extLst>
          </p:cNvPr>
          <p:cNvGrpSpPr/>
          <p:nvPr/>
        </p:nvGrpSpPr>
        <p:grpSpPr>
          <a:xfrm>
            <a:off x="6163260" y="4830941"/>
            <a:ext cx="205185" cy="141067"/>
            <a:chOff x="5020986" y="4247623"/>
            <a:chExt cx="152929" cy="99449"/>
          </a:xfrm>
          <a:gradFill>
            <a:gsLst>
              <a:gs pos="100000">
                <a:srgbClr val="D0DB67"/>
              </a:gs>
              <a:gs pos="0">
                <a:srgbClr val="BECE33"/>
              </a:gs>
            </a:gsLst>
            <a:lin ang="0" scaled="1"/>
          </a:gradFill>
        </p:grpSpPr>
        <p:sp>
          <p:nvSpPr>
            <p:cNvPr id="9764" name="Freeform: Shape 9763">
              <a:extLst>
                <a:ext uri="{FF2B5EF4-FFF2-40B4-BE49-F238E27FC236}">
                  <a16:creationId xmlns:a16="http://schemas.microsoft.com/office/drawing/2014/main" id="{B93C6876-7310-31A7-6D77-98C8B80E0339}"/>
                </a:ext>
              </a:extLst>
            </p:cNvPr>
            <p:cNvSpPr/>
            <p:nvPr/>
          </p:nvSpPr>
          <p:spPr>
            <a:xfrm>
              <a:off x="5020986" y="424762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765" name="Graphic 648">
              <a:extLst>
                <a:ext uri="{FF2B5EF4-FFF2-40B4-BE49-F238E27FC236}">
                  <a16:creationId xmlns:a16="http://schemas.microsoft.com/office/drawing/2014/main" id="{601F1E19-4826-6CE8-AA13-C86615735EEB}"/>
                </a:ext>
              </a:extLst>
            </p:cNvPr>
            <p:cNvGrpSpPr/>
            <p:nvPr/>
          </p:nvGrpSpPr>
          <p:grpSpPr>
            <a:xfrm>
              <a:off x="5020987" y="4247623"/>
              <a:ext cx="152929" cy="99449"/>
              <a:chOff x="5020987" y="4247623"/>
              <a:chExt cx="152929" cy="99449"/>
            </a:xfrm>
            <a:grpFill/>
          </p:grpSpPr>
          <p:sp>
            <p:nvSpPr>
              <p:cNvPr id="9766" name="Freeform: Shape 9765">
                <a:extLst>
                  <a:ext uri="{FF2B5EF4-FFF2-40B4-BE49-F238E27FC236}">
                    <a16:creationId xmlns:a16="http://schemas.microsoft.com/office/drawing/2014/main" id="{B1848C81-A654-10B8-6ABF-EA0103220748}"/>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67" name="Freeform: Shape 9766">
                <a:extLst>
                  <a:ext uri="{FF2B5EF4-FFF2-40B4-BE49-F238E27FC236}">
                    <a16:creationId xmlns:a16="http://schemas.microsoft.com/office/drawing/2014/main" id="{897F1DF2-1C8E-2F37-FD31-B5240B98750E}"/>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9729" name="Graphic 648">
            <a:extLst>
              <a:ext uri="{FF2B5EF4-FFF2-40B4-BE49-F238E27FC236}">
                <a16:creationId xmlns:a16="http://schemas.microsoft.com/office/drawing/2014/main" id="{C181BB96-5179-A066-2D4C-7D81A2EB7DD5}"/>
              </a:ext>
            </a:extLst>
          </p:cNvPr>
          <p:cNvGrpSpPr/>
          <p:nvPr/>
        </p:nvGrpSpPr>
        <p:grpSpPr>
          <a:xfrm>
            <a:off x="6397076" y="4773880"/>
            <a:ext cx="205200" cy="141067"/>
            <a:chOff x="5195255" y="4207397"/>
            <a:chExt cx="152940" cy="99449"/>
          </a:xfrm>
          <a:gradFill>
            <a:gsLst>
              <a:gs pos="100000">
                <a:srgbClr val="D0DB67"/>
              </a:gs>
              <a:gs pos="0">
                <a:srgbClr val="BECE33"/>
              </a:gs>
            </a:gsLst>
            <a:lin ang="0" scaled="1"/>
          </a:gradFill>
        </p:grpSpPr>
        <p:sp>
          <p:nvSpPr>
            <p:cNvPr id="9760" name="Freeform: Shape 9759">
              <a:extLst>
                <a:ext uri="{FF2B5EF4-FFF2-40B4-BE49-F238E27FC236}">
                  <a16:creationId xmlns:a16="http://schemas.microsoft.com/office/drawing/2014/main" id="{BA669B89-BB7D-CD32-5F91-AF994B472B08}"/>
                </a:ext>
              </a:extLst>
            </p:cNvPr>
            <p:cNvSpPr/>
            <p:nvPr/>
          </p:nvSpPr>
          <p:spPr>
            <a:xfrm>
              <a:off x="5195255" y="420739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761" name="Graphic 648">
              <a:extLst>
                <a:ext uri="{FF2B5EF4-FFF2-40B4-BE49-F238E27FC236}">
                  <a16:creationId xmlns:a16="http://schemas.microsoft.com/office/drawing/2014/main" id="{EB3BF9C3-E8EF-D5FC-E204-8E6496FA74FB}"/>
                </a:ext>
              </a:extLst>
            </p:cNvPr>
            <p:cNvGrpSpPr/>
            <p:nvPr/>
          </p:nvGrpSpPr>
          <p:grpSpPr>
            <a:xfrm>
              <a:off x="5195256" y="4207397"/>
              <a:ext cx="152940" cy="99449"/>
              <a:chOff x="5195256" y="4207397"/>
              <a:chExt cx="152940" cy="99449"/>
            </a:xfrm>
            <a:grpFill/>
          </p:grpSpPr>
          <p:sp>
            <p:nvSpPr>
              <p:cNvPr id="9762" name="Freeform: Shape 9761">
                <a:extLst>
                  <a:ext uri="{FF2B5EF4-FFF2-40B4-BE49-F238E27FC236}">
                    <a16:creationId xmlns:a16="http://schemas.microsoft.com/office/drawing/2014/main" id="{8A9A747F-AF4C-4086-186D-0668B387B615}"/>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63" name="Freeform: Shape 9762">
                <a:extLst>
                  <a:ext uri="{FF2B5EF4-FFF2-40B4-BE49-F238E27FC236}">
                    <a16:creationId xmlns:a16="http://schemas.microsoft.com/office/drawing/2014/main" id="{53DCA474-67A6-70D9-EC73-99378ED8E668}"/>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9730" name="Freeform: Shape 9729">
            <a:extLst>
              <a:ext uri="{FF2B5EF4-FFF2-40B4-BE49-F238E27FC236}">
                <a16:creationId xmlns:a16="http://schemas.microsoft.com/office/drawing/2014/main" id="{37BCB3DE-E2CE-F459-E931-1D44207E65CF}"/>
              </a:ext>
            </a:extLst>
          </p:cNvPr>
          <p:cNvSpPr/>
          <p:nvPr/>
        </p:nvSpPr>
        <p:spPr>
          <a:xfrm>
            <a:off x="6237808" y="4642000"/>
            <a:ext cx="204849" cy="77712"/>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31" name="Freeform: Shape 9730">
            <a:extLst>
              <a:ext uri="{FF2B5EF4-FFF2-40B4-BE49-F238E27FC236}">
                <a16:creationId xmlns:a16="http://schemas.microsoft.com/office/drawing/2014/main" id="{8CFF2131-1FCA-2A57-BB40-293EA0DC5C6E}"/>
              </a:ext>
            </a:extLst>
          </p:cNvPr>
          <p:cNvSpPr/>
          <p:nvPr/>
        </p:nvSpPr>
        <p:spPr>
          <a:xfrm>
            <a:off x="6003993" y="4699071"/>
            <a:ext cx="204853" cy="77712"/>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32" name="Freeform: Shape 9731">
            <a:extLst>
              <a:ext uri="{FF2B5EF4-FFF2-40B4-BE49-F238E27FC236}">
                <a16:creationId xmlns:a16="http://schemas.microsoft.com/office/drawing/2014/main" id="{25DD6E42-26E5-81F6-FF2B-FB7AECA277AF}"/>
              </a:ext>
            </a:extLst>
          </p:cNvPr>
          <p:cNvSpPr/>
          <p:nvPr/>
        </p:nvSpPr>
        <p:spPr>
          <a:xfrm>
            <a:off x="6397367" y="4735357"/>
            <a:ext cx="204897" cy="77719"/>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33" name="Freeform: Shape 9732">
            <a:extLst>
              <a:ext uri="{FF2B5EF4-FFF2-40B4-BE49-F238E27FC236}">
                <a16:creationId xmlns:a16="http://schemas.microsoft.com/office/drawing/2014/main" id="{764B5301-5471-A5AE-5E89-7F89E04CADCE}"/>
              </a:ext>
            </a:extLst>
          </p:cNvPr>
          <p:cNvSpPr/>
          <p:nvPr/>
        </p:nvSpPr>
        <p:spPr>
          <a:xfrm>
            <a:off x="6163584" y="4792417"/>
            <a:ext cx="204870" cy="77723"/>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734" name="Graphic 648">
            <a:extLst>
              <a:ext uri="{FF2B5EF4-FFF2-40B4-BE49-F238E27FC236}">
                <a16:creationId xmlns:a16="http://schemas.microsoft.com/office/drawing/2014/main" id="{2C99BB31-2C35-88CB-FFFF-8652D315741D}"/>
              </a:ext>
            </a:extLst>
          </p:cNvPr>
          <p:cNvGrpSpPr/>
          <p:nvPr/>
        </p:nvGrpSpPr>
        <p:grpSpPr>
          <a:xfrm>
            <a:off x="5747216" y="4800189"/>
            <a:ext cx="205200" cy="141057"/>
            <a:chOff x="4710899" y="4225944"/>
            <a:chExt cx="152940" cy="99442"/>
          </a:xfrm>
          <a:gradFill>
            <a:gsLst>
              <a:gs pos="100000">
                <a:srgbClr val="D0DB67"/>
              </a:gs>
              <a:gs pos="0">
                <a:srgbClr val="BECE33"/>
              </a:gs>
            </a:gsLst>
            <a:lin ang="0" scaled="1"/>
          </a:gradFill>
        </p:grpSpPr>
        <p:sp>
          <p:nvSpPr>
            <p:cNvPr id="9755" name="Freeform: Shape 9754">
              <a:extLst>
                <a:ext uri="{FF2B5EF4-FFF2-40B4-BE49-F238E27FC236}">
                  <a16:creationId xmlns:a16="http://schemas.microsoft.com/office/drawing/2014/main" id="{6DF03589-43B2-9168-A47F-FEDB221B1091}"/>
                </a:ext>
              </a:extLst>
            </p:cNvPr>
            <p:cNvSpPr/>
            <p:nvPr/>
          </p:nvSpPr>
          <p:spPr>
            <a:xfrm>
              <a:off x="4710899" y="422594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756" name="Graphic 648">
              <a:extLst>
                <a:ext uri="{FF2B5EF4-FFF2-40B4-BE49-F238E27FC236}">
                  <a16:creationId xmlns:a16="http://schemas.microsoft.com/office/drawing/2014/main" id="{F0902FC0-FB79-BA20-4968-849EAA1EF7E4}"/>
                </a:ext>
              </a:extLst>
            </p:cNvPr>
            <p:cNvGrpSpPr/>
            <p:nvPr/>
          </p:nvGrpSpPr>
          <p:grpSpPr>
            <a:xfrm>
              <a:off x="4710899" y="4225944"/>
              <a:ext cx="152940" cy="99438"/>
              <a:chOff x="4710899" y="4225944"/>
              <a:chExt cx="152940" cy="99438"/>
            </a:xfrm>
            <a:grpFill/>
          </p:grpSpPr>
          <p:sp>
            <p:nvSpPr>
              <p:cNvPr id="9758" name="Freeform: Shape 9757">
                <a:extLst>
                  <a:ext uri="{FF2B5EF4-FFF2-40B4-BE49-F238E27FC236}">
                    <a16:creationId xmlns:a16="http://schemas.microsoft.com/office/drawing/2014/main" id="{23233AA8-A6FB-7834-EE86-42EE2CE35C7F}"/>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59" name="Freeform: Shape 9758">
                <a:extLst>
                  <a:ext uri="{FF2B5EF4-FFF2-40B4-BE49-F238E27FC236}">
                    <a16:creationId xmlns:a16="http://schemas.microsoft.com/office/drawing/2014/main" id="{2C6227A7-CF20-47B5-BD44-23E1303B88B9}"/>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9737" name="Graphic 648">
            <a:extLst>
              <a:ext uri="{FF2B5EF4-FFF2-40B4-BE49-F238E27FC236}">
                <a16:creationId xmlns:a16="http://schemas.microsoft.com/office/drawing/2014/main" id="{8DAF24D9-71CB-D35A-DB64-5785C2DFF102}"/>
              </a:ext>
            </a:extLst>
          </p:cNvPr>
          <p:cNvGrpSpPr/>
          <p:nvPr/>
        </p:nvGrpSpPr>
        <p:grpSpPr>
          <a:xfrm>
            <a:off x="5906820" y="4893550"/>
            <a:ext cx="205200" cy="141051"/>
            <a:chOff x="4829856" y="4291761"/>
            <a:chExt cx="152940" cy="99438"/>
          </a:xfrm>
          <a:gradFill>
            <a:gsLst>
              <a:gs pos="100000">
                <a:srgbClr val="D0DB67"/>
              </a:gs>
              <a:gs pos="0">
                <a:srgbClr val="BECE33"/>
              </a:gs>
            </a:gsLst>
            <a:lin ang="0" scaled="1"/>
          </a:gradFill>
        </p:grpSpPr>
        <p:sp>
          <p:nvSpPr>
            <p:cNvPr id="9743" name="Freeform: Shape 9742">
              <a:extLst>
                <a:ext uri="{FF2B5EF4-FFF2-40B4-BE49-F238E27FC236}">
                  <a16:creationId xmlns:a16="http://schemas.microsoft.com/office/drawing/2014/main" id="{248D840F-60FF-BEB4-E39B-6245D74CBC19}"/>
                </a:ext>
              </a:extLst>
            </p:cNvPr>
            <p:cNvSpPr/>
            <p:nvPr/>
          </p:nvSpPr>
          <p:spPr>
            <a:xfrm>
              <a:off x="4829856" y="429176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744" name="Graphic 648">
              <a:extLst>
                <a:ext uri="{FF2B5EF4-FFF2-40B4-BE49-F238E27FC236}">
                  <a16:creationId xmlns:a16="http://schemas.microsoft.com/office/drawing/2014/main" id="{CF3C884C-973C-6599-D759-1096613E70E6}"/>
                </a:ext>
              </a:extLst>
            </p:cNvPr>
            <p:cNvGrpSpPr/>
            <p:nvPr/>
          </p:nvGrpSpPr>
          <p:grpSpPr>
            <a:xfrm>
              <a:off x="4829856" y="4291761"/>
              <a:ext cx="152940" cy="99438"/>
              <a:chOff x="4829856" y="4291761"/>
              <a:chExt cx="152940" cy="99438"/>
            </a:xfrm>
            <a:grpFill/>
          </p:grpSpPr>
          <p:sp>
            <p:nvSpPr>
              <p:cNvPr id="9745" name="Freeform: Shape 9744">
                <a:extLst>
                  <a:ext uri="{FF2B5EF4-FFF2-40B4-BE49-F238E27FC236}">
                    <a16:creationId xmlns:a16="http://schemas.microsoft.com/office/drawing/2014/main" id="{7BE952C3-EAE9-4C0B-B8BD-3A7F622BBBD7}"/>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46" name="Freeform: Shape 9745">
                <a:extLst>
                  <a:ext uri="{FF2B5EF4-FFF2-40B4-BE49-F238E27FC236}">
                    <a16:creationId xmlns:a16="http://schemas.microsoft.com/office/drawing/2014/main" id="{3F09E4BA-AD5B-35F1-3D9A-18AEFF61FC97}"/>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9738" name="Freeform: Shape 9737">
            <a:extLst>
              <a:ext uri="{FF2B5EF4-FFF2-40B4-BE49-F238E27FC236}">
                <a16:creationId xmlns:a16="http://schemas.microsoft.com/office/drawing/2014/main" id="{D4F6F7D9-89B5-50E9-1F9A-AB8E15DB96B0}"/>
              </a:ext>
            </a:extLst>
          </p:cNvPr>
          <p:cNvSpPr/>
          <p:nvPr/>
        </p:nvSpPr>
        <p:spPr>
          <a:xfrm>
            <a:off x="5747564" y="4761660"/>
            <a:ext cx="204848" cy="7770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40" name="Freeform: Shape 9739">
            <a:extLst>
              <a:ext uri="{FF2B5EF4-FFF2-40B4-BE49-F238E27FC236}">
                <a16:creationId xmlns:a16="http://schemas.microsoft.com/office/drawing/2014/main" id="{4B41CA52-50C5-F465-3702-82A33356909F}"/>
              </a:ext>
            </a:extLst>
          </p:cNvPr>
          <p:cNvSpPr/>
          <p:nvPr/>
        </p:nvSpPr>
        <p:spPr>
          <a:xfrm>
            <a:off x="5907144" y="4855019"/>
            <a:ext cx="204869" cy="77715"/>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42" name="RectangleLegend2">
            <a:extLst>
              <a:ext uri="{FF2B5EF4-FFF2-40B4-BE49-F238E27FC236}">
                <a16:creationId xmlns:a16="http://schemas.microsoft.com/office/drawing/2014/main" id="{8F0A0F5A-EF13-0DB2-1D60-8A29662EECE9}"/>
              </a:ext>
            </a:extLst>
          </p:cNvPr>
          <p:cNvSpPr>
            <a:spLocks/>
          </p:cNvSpPr>
          <p:nvPr/>
        </p:nvSpPr>
        <p:spPr>
          <a:xfrm>
            <a:off x="5448884" y="5117890"/>
            <a:ext cx="1529615" cy="114775"/>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odular R&amp;D lab</a:t>
            </a:r>
          </a:p>
        </p:txBody>
      </p:sp>
      <p:grpSp>
        <p:nvGrpSpPr>
          <p:cNvPr id="3611" name="Group 3610">
            <a:extLst>
              <a:ext uri="{FF2B5EF4-FFF2-40B4-BE49-F238E27FC236}">
                <a16:creationId xmlns:a16="http://schemas.microsoft.com/office/drawing/2014/main" id="{D89BCEA2-B82F-0371-41CC-B5901039EA3B}"/>
              </a:ext>
            </a:extLst>
          </p:cNvPr>
          <p:cNvGrpSpPr/>
          <p:nvPr/>
        </p:nvGrpSpPr>
        <p:grpSpPr>
          <a:xfrm>
            <a:off x="5635138" y="4270578"/>
            <a:ext cx="1569728" cy="801691"/>
            <a:chOff x="4681122" y="3763872"/>
            <a:chExt cx="1439429" cy="735144"/>
          </a:xfrm>
        </p:grpSpPr>
        <p:sp>
          <p:nvSpPr>
            <p:cNvPr id="3808" name="Freeform: Shape 3807">
              <a:extLst>
                <a:ext uri="{FF2B5EF4-FFF2-40B4-BE49-F238E27FC236}">
                  <a16:creationId xmlns:a16="http://schemas.microsoft.com/office/drawing/2014/main" id="{0806F15A-9240-A7A5-6E19-27EACACEE084}"/>
                </a:ext>
              </a:extLst>
            </p:cNvPr>
            <p:cNvSpPr/>
            <p:nvPr/>
          </p:nvSpPr>
          <p:spPr>
            <a:xfrm>
              <a:off x="4683488" y="4044790"/>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255D48"/>
            </a:solidFill>
            <a:ln w="11275"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09" name="Freeform: Shape 3808">
              <a:extLst>
                <a:ext uri="{FF2B5EF4-FFF2-40B4-BE49-F238E27FC236}">
                  <a16:creationId xmlns:a16="http://schemas.microsoft.com/office/drawing/2014/main" id="{34CB721F-FBF5-798C-E4D4-E5F89DCAF664}"/>
                </a:ext>
              </a:extLst>
            </p:cNvPr>
            <p:cNvSpPr/>
            <p:nvPr/>
          </p:nvSpPr>
          <p:spPr>
            <a:xfrm>
              <a:off x="4681122" y="4042281"/>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255D4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10" name="Freeform: Shape 3809">
              <a:extLst>
                <a:ext uri="{FF2B5EF4-FFF2-40B4-BE49-F238E27FC236}">
                  <a16:creationId xmlns:a16="http://schemas.microsoft.com/office/drawing/2014/main" id="{FAE9D54F-5903-C80D-A845-D1CA43AF2B83}"/>
                </a:ext>
              </a:extLst>
            </p:cNvPr>
            <p:cNvSpPr/>
            <p:nvPr/>
          </p:nvSpPr>
          <p:spPr>
            <a:xfrm>
              <a:off x="4975673" y="3996822"/>
              <a:ext cx="900013" cy="499692"/>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3C9673"/>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12" name="Freeform: Shape 3811">
              <a:extLst>
                <a:ext uri="{FF2B5EF4-FFF2-40B4-BE49-F238E27FC236}">
                  <a16:creationId xmlns:a16="http://schemas.microsoft.com/office/drawing/2014/main" id="{93AE11FA-4C75-B2DF-D9AD-E41C16697E82}"/>
                </a:ext>
              </a:extLst>
            </p:cNvPr>
            <p:cNvSpPr/>
            <p:nvPr/>
          </p:nvSpPr>
          <p:spPr>
            <a:xfrm>
              <a:off x="4973307" y="3994305"/>
              <a:ext cx="904715" cy="504711"/>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13" name="Freeform: Shape 3812">
              <a:extLst>
                <a:ext uri="{FF2B5EF4-FFF2-40B4-BE49-F238E27FC236}">
                  <a16:creationId xmlns:a16="http://schemas.microsoft.com/office/drawing/2014/main" id="{3593613D-8CBC-2733-DCF3-5A21876B7A05}"/>
                </a:ext>
              </a:extLst>
            </p:cNvPr>
            <p:cNvSpPr/>
            <p:nvPr/>
          </p:nvSpPr>
          <p:spPr>
            <a:xfrm>
              <a:off x="4683488" y="3825335"/>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814" name="Graphic 642">
              <a:extLst>
                <a:ext uri="{FF2B5EF4-FFF2-40B4-BE49-F238E27FC236}">
                  <a16:creationId xmlns:a16="http://schemas.microsoft.com/office/drawing/2014/main" id="{30276F61-7F8D-3835-D056-97C3F36DA2E5}"/>
                </a:ext>
              </a:extLst>
            </p:cNvPr>
            <p:cNvGrpSpPr/>
            <p:nvPr/>
          </p:nvGrpSpPr>
          <p:grpSpPr>
            <a:xfrm>
              <a:off x="5443627" y="3799195"/>
              <a:ext cx="188167" cy="129346"/>
              <a:chOff x="3805243" y="4316394"/>
              <a:chExt cx="152940" cy="99440"/>
            </a:xfrm>
            <a:gradFill flip="none" rotWithShape="1">
              <a:gsLst>
                <a:gs pos="100000">
                  <a:srgbClr val="66C29F"/>
                </a:gs>
                <a:gs pos="0">
                  <a:srgbClr val="3C9673"/>
                </a:gs>
              </a:gsLst>
              <a:lin ang="0" scaled="1"/>
              <a:tileRect/>
            </a:gradFill>
          </p:grpSpPr>
          <p:sp>
            <p:nvSpPr>
              <p:cNvPr id="3987" name="Freeform: Shape 3986">
                <a:extLst>
                  <a:ext uri="{FF2B5EF4-FFF2-40B4-BE49-F238E27FC236}">
                    <a16:creationId xmlns:a16="http://schemas.microsoft.com/office/drawing/2014/main" id="{EDC61746-6237-2559-9ECC-D67688742BBC}"/>
                  </a:ext>
                </a:extLst>
              </p:cNvPr>
              <p:cNvSpPr/>
              <p:nvPr/>
            </p:nvSpPr>
            <p:spPr>
              <a:xfrm>
                <a:off x="3805243" y="4316394"/>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988" name="Graphic 642">
                <a:extLst>
                  <a:ext uri="{FF2B5EF4-FFF2-40B4-BE49-F238E27FC236}">
                    <a16:creationId xmlns:a16="http://schemas.microsoft.com/office/drawing/2014/main" id="{97E0FAFF-4721-95ED-AECF-B3007C1FE7DC}"/>
                  </a:ext>
                </a:extLst>
              </p:cNvPr>
              <p:cNvGrpSpPr/>
              <p:nvPr/>
            </p:nvGrpSpPr>
            <p:grpSpPr>
              <a:xfrm>
                <a:off x="3805243" y="4316394"/>
                <a:ext cx="152940" cy="99438"/>
                <a:chOff x="3805243" y="4316394"/>
                <a:chExt cx="152940" cy="99438"/>
              </a:xfrm>
              <a:grpFill/>
            </p:grpSpPr>
            <p:sp>
              <p:nvSpPr>
                <p:cNvPr id="3989" name="Freeform: Shape 3988">
                  <a:extLst>
                    <a:ext uri="{FF2B5EF4-FFF2-40B4-BE49-F238E27FC236}">
                      <a16:creationId xmlns:a16="http://schemas.microsoft.com/office/drawing/2014/main" id="{C3C15781-E4D2-B0F7-21F1-9A07FB387600}"/>
                    </a:ext>
                  </a:extLst>
                </p:cNvPr>
                <p:cNvSpPr/>
                <p:nvPr/>
              </p:nvSpPr>
              <p:spPr>
                <a:xfrm>
                  <a:off x="3805243" y="4316394"/>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90" name="Freeform: Shape 3989">
                  <a:extLst>
                    <a:ext uri="{FF2B5EF4-FFF2-40B4-BE49-F238E27FC236}">
                      <a16:creationId xmlns:a16="http://schemas.microsoft.com/office/drawing/2014/main" id="{D77F6BF3-9857-72A1-97D3-3C2CD7F10697}"/>
                    </a:ext>
                  </a:extLst>
                </p:cNvPr>
                <p:cNvSpPr/>
                <p:nvPr/>
              </p:nvSpPr>
              <p:spPr>
                <a:xfrm>
                  <a:off x="3805243" y="4316394"/>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815" name="Graphic 642">
              <a:extLst>
                <a:ext uri="{FF2B5EF4-FFF2-40B4-BE49-F238E27FC236}">
                  <a16:creationId xmlns:a16="http://schemas.microsoft.com/office/drawing/2014/main" id="{0E2A83DA-F254-BE40-19C5-D9B6D5DF8808}"/>
                </a:ext>
              </a:extLst>
            </p:cNvPr>
            <p:cNvGrpSpPr/>
            <p:nvPr/>
          </p:nvGrpSpPr>
          <p:grpSpPr>
            <a:xfrm>
              <a:off x="5229261" y="3851533"/>
              <a:ext cx="188153" cy="129335"/>
              <a:chOff x="3631008" y="4356631"/>
              <a:chExt cx="152929" cy="99432"/>
            </a:xfrm>
            <a:gradFill flip="none" rotWithShape="1">
              <a:gsLst>
                <a:gs pos="100000">
                  <a:srgbClr val="66C29F"/>
                </a:gs>
                <a:gs pos="0">
                  <a:srgbClr val="3C9673"/>
                </a:gs>
              </a:gsLst>
              <a:lin ang="0" scaled="1"/>
              <a:tileRect/>
            </a:gradFill>
          </p:grpSpPr>
          <p:sp>
            <p:nvSpPr>
              <p:cNvPr id="3983" name="Freeform: Shape 3982">
                <a:extLst>
                  <a:ext uri="{FF2B5EF4-FFF2-40B4-BE49-F238E27FC236}">
                    <a16:creationId xmlns:a16="http://schemas.microsoft.com/office/drawing/2014/main" id="{75205459-02CF-9298-EF55-EA1B2DFB93C4}"/>
                  </a:ext>
                </a:extLst>
              </p:cNvPr>
              <p:cNvSpPr/>
              <p:nvPr/>
            </p:nvSpPr>
            <p:spPr>
              <a:xfrm>
                <a:off x="3631008" y="4356631"/>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984" name="Graphic 642">
                <a:extLst>
                  <a:ext uri="{FF2B5EF4-FFF2-40B4-BE49-F238E27FC236}">
                    <a16:creationId xmlns:a16="http://schemas.microsoft.com/office/drawing/2014/main" id="{B0F93D5A-1315-DE72-F440-FC59056B96B3}"/>
                  </a:ext>
                </a:extLst>
              </p:cNvPr>
              <p:cNvGrpSpPr/>
              <p:nvPr/>
            </p:nvGrpSpPr>
            <p:grpSpPr>
              <a:xfrm>
                <a:off x="3631009" y="4356631"/>
                <a:ext cx="152929" cy="99427"/>
                <a:chOff x="3631009" y="4356631"/>
                <a:chExt cx="152929" cy="99427"/>
              </a:xfrm>
              <a:grpFill/>
            </p:grpSpPr>
            <p:sp>
              <p:nvSpPr>
                <p:cNvPr id="3985" name="Freeform: Shape 3984">
                  <a:extLst>
                    <a:ext uri="{FF2B5EF4-FFF2-40B4-BE49-F238E27FC236}">
                      <a16:creationId xmlns:a16="http://schemas.microsoft.com/office/drawing/2014/main" id="{E3CAF332-D0A6-4601-8C34-8C0163E84348}"/>
                    </a:ext>
                  </a:extLst>
                </p:cNvPr>
                <p:cNvSpPr/>
                <p:nvPr/>
              </p:nvSpPr>
              <p:spPr>
                <a:xfrm>
                  <a:off x="3631009" y="4356631"/>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86" name="Freeform: Shape 3985">
                  <a:extLst>
                    <a:ext uri="{FF2B5EF4-FFF2-40B4-BE49-F238E27FC236}">
                      <a16:creationId xmlns:a16="http://schemas.microsoft.com/office/drawing/2014/main" id="{A50F7646-7D63-4A7A-829B-DAF39BED95CF}"/>
                    </a:ext>
                  </a:extLst>
                </p:cNvPr>
                <p:cNvSpPr/>
                <p:nvPr/>
              </p:nvSpPr>
              <p:spPr>
                <a:xfrm>
                  <a:off x="3631009" y="4356631"/>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816" name="Graphic 642">
              <a:extLst>
                <a:ext uri="{FF2B5EF4-FFF2-40B4-BE49-F238E27FC236}">
                  <a16:creationId xmlns:a16="http://schemas.microsoft.com/office/drawing/2014/main" id="{703D17D5-6708-369A-A2F1-6A034AB261B4}"/>
                </a:ext>
              </a:extLst>
            </p:cNvPr>
            <p:cNvGrpSpPr/>
            <p:nvPr/>
          </p:nvGrpSpPr>
          <p:grpSpPr>
            <a:xfrm>
              <a:off x="5375603" y="3937129"/>
              <a:ext cx="188153" cy="129357"/>
              <a:chOff x="3749954" y="4422437"/>
              <a:chExt cx="152929" cy="99449"/>
            </a:xfrm>
            <a:gradFill flip="none" rotWithShape="1">
              <a:gsLst>
                <a:gs pos="100000">
                  <a:srgbClr val="66C29F"/>
                </a:gs>
                <a:gs pos="0">
                  <a:srgbClr val="3C9673"/>
                </a:gs>
              </a:gsLst>
              <a:lin ang="0" scaled="1"/>
              <a:tileRect/>
            </a:gradFill>
          </p:grpSpPr>
          <p:sp>
            <p:nvSpPr>
              <p:cNvPr id="3979" name="Freeform: Shape 3978">
                <a:extLst>
                  <a:ext uri="{FF2B5EF4-FFF2-40B4-BE49-F238E27FC236}">
                    <a16:creationId xmlns:a16="http://schemas.microsoft.com/office/drawing/2014/main" id="{CB1A07D0-A252-6D75-C813-E0481FB5E545}"/>
                  </a:ext>
                </a:extLst>
              </p:cNvPr>
              <p:cNvSpPr/>
              <p:nvPr/>
            </p:nvSpPr>
            <p:spPr>
              <a:xfrm>
                <a:off x="3749954" y="4422437"/>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980" name="Graphic 642">
                <a:extLst>
                  <a:ext uri="{FF2B5EF4-FFF2-40B4-BE49-F238E27FC236}">
                    <a16:creationId xmlns:a16="http://schemas.microsoft.com/office/drawing/2014/main" id="{E0667C15-712E-F6BA-8FB5-052DCA7E70DC}"/>
                  </a:ext>
                </a:extLst>
              </p:cNvPr>
              <p:cNvGrpSpPr/>
              <p:nvPr/>
            </p:nvGrpSpPr>
            <p:grpSpPr>
              <a:xfrm>
                <a:off x="3749955" y="4422437"/>
                <a:ext cx="152929" cy="99449"/>
                <a:chOff x="3749955" y="4422437"/>
                <a:chExt cx="152929" cy="99449"/>
              </a:xfrm>
              <a:grpFill/>
            </p:grpSpPr>
            <p:sp>
              <p:nvSpPr>
                <p:cNvPr id="3981" name="Freeform: Shape 3980">
                  <a:extLst>
                    <a:ext uri="{FF2B5EF4-FFF2-40B4-BE49-F238E27FC236}">
                      <a16:creationId xmlns:a16="http://schemas.microsoft.com/office/drawing/2014/main" id="{00DE17D5-19DC-2BB6-6169-17B1658E9284}"/>
                    </a:ext>
                  </a:extLst>
                </p:cNvPr>
                <p:cNvSpPr/>
                <p:nvPr/>
              </p:nvSpPr>
              <p:spPr>
                <a:xfrm>
                  <a:off x="3749955" y="4422437"/>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82" name="Freeform: Shape 3981">
                  <a:extLst>
                    <a:ext uri="{FF2B5EF4-FFF2-40B4-BE49-F238E27FC236}">
                      <a16:creationId xmlns:a16="http://schemas.microsoft.com/office/drawing/2014/main" id="{F6E4BC24-CE96-7E2F-50B8-129FC1D77A68}"/>
                    </a:ext>
                  </a:extLst>
                </p:cNvPr>
                <p:cNvSpPr/>
                <p:nvPr/>
              </p:nvSpPr>
              <p:spPr>
                <a:xfrm>
                  <a:off x="3749955" y="4422437"/>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817" name="Graphic 642">
              <a:extLst>
                <a:ext uri="{FF2B5EF4-FFF2-40B4-BE49-F238E27FC236}">
                  <a16:creationId xmlns:a16="http://schemas.microsoft.com/office/drawing/2014/main" id="{7A7ABFEE-CC93-DE86-6A2F-A799523D58B3}"/>
                </a:ext>
              </a:extLst>
            </p:cNvPr>
            <p:cNvGrpSpPr/>
            <p:nvPr/>
          </p:nvGrpSpPr>
          <p:grpSpPr>
            <a:xfrm>
              <a:off x="5590012" y="3884806"/>
              <a:ext cx="188167" cy="129357"/>
              <a:chOff x="3924223" y="4382211"/>
              <a:chExt cx="152940" cy="99449"/>
            </a:xfrm>
            <a:gradFill flip="none" rotWithShape="1">
              <a:gsLst>
                <a:gs pos="100000">
                  <a:srgbClr val="66C29F"/>
                </a:gs>
                <a:gs pos="0">
                  <a:srgbClr val="3C9673"/>
                </a:gs>
              </a:gsLst>
              <a:lin ang="0" scaled="1"/>
              <a:tileRect/>
            </a:gradFill>
          </p:grpSpPr>
          <p:sp>
            <p:nvSpPr>
              <p:cNvPr id="3898" name="Freeform: Shape 3897">
                <a:extLst>
                  <a:ext uri="{FF2B5EF4-FFF2-40B4-BE49-F238E27FC236}">
                    <a16:creationId xmlns:a16="http://schemas.microsoft.com/office/drawing/2014/main" id="{F337F296-A431-AB96-3983-31E29B13124F}"/>
                  </a:ext>
                </a:extLst>
              </p:cNvPr>
              <p:cNvSpPr/>
              <p:nvPr/>
            </p:nvSpPr>
            <p:spPr>
              <a:xfrm>
                <a:off x="3924223" y="4382211"/>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973" name="Graphic 642">
                <a:extLst>
                  <a:ext uri="{FF2B5EF4-FFF2-40B4-BE49-F238E27FC236}">
                    <a16:creationId xmlns:a16="http://schemas.microsoft.com/office/drawing/2014/main" id="{9E3D6B86-FF6A-E88C-25F3-CE7680FE202B}"/>
                  </a:ext>
                </a:extLst>
              </p:cNvPr>
              <p:cNvGrpSpPr/>
              <p:nvPr/>
            </p:nvGrpSpPr>
            <p:grpSpPr>
              <a:xfrm>
                <a:off x="3924224" y="4382211"/>
                <a:ext cx="152940" cy="99449"/>
                <a:chOff x="3924224" y="4382211"/>
                <a:chExt cx="152940" cy="99449"/>
              </a:xfrm>
              <a:grpFill/>
            </p:grpSpPr>
            <p:sp>
              <p:nvSpPr>
                <p:cNvPr id="3977" name="Freeform: Shape 3976">
                  <a:extLst>
                    <a:ext uri="{FF2B5EF4-FFF2-40B4-BE49-F238E27FC236}">
                      <a16:creationId xmlns:a16="http://schemas.microsoft.com/office/drawing/2014/main" id="{44302C42-13B5-056B-9886-E85BBB89A903}"/>
                    </a:ext>
                  </a:extLst>
                </p:cNvPr>
                <p:cNvSpPr/>
                <p:nvPr/>
              </p:nvSpPr>
              <p:spPr>
                <a:xfrm>
                  <a:off x="3924224" y="4382211"/>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78" name="Freeform: Shape 3977">
                  <a:extLst>
                    <a:ext uri="{FF2B5EF4-FFF2-40B4-BE49-F238E27FC236}">
                      <a16:creationId xmlns:a16="http://schemas.microsoft.com/office/drawing/2014/main" id="{245BC2B4-5D19-D38B-4C39-FF58FAE46324}"/>
                    </a:ext>
                  </a:extLst>
                </p:cNvPr>
                <p:cNvSpPr/>
                <p:nvPr/>
              </p:nvSpPr>
              <p:spPr>
                <a:xfrm>
                  <a:off x="3924224" y="4382211"/>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3818" name="Freeform: Shape 3817">
              <a:extLst>
                <a:ext uri="{FF2B5EF4-FFF2-40B4-BE49-F238E27FC236}">
                  <a16:creationId xmlns:a16="http://schemas.microsoft.com/office/drawing/2014/main" id="{417F19B1-A876-42A2-E27A-CFE9B3026F1D}"/>
                </a:ext>
              </a:extLst>
            </p:cNvPr>
            <p:cNvSpPr/>
            <p:nvPr/>
          </p:nvSpPr>
          <p:spPr>
            <a:xfrm>
              <a:off x="5443963" y="3763872"/>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19" name="Freeform: Shape 3818">
              <a:extLst>
                <a:ext uri="{FF2B5EF4-FFF2-40B4-BE49-F238E27FC236}">
                  <a16:creationId xmlns:a16="http://schemas.microsoft.com/office/drawing/2014/main" id="{9F06A839-003C-A6E7-A234-18757F5572DD}"/>
                </a:ext>
              </a:extLst>
            </p:cNvPr>
            <p:cNvSpPr/>
            <p:nvPr/>
          </p:nvSpPr>
          <p:spPr>
            <a:xfrm>
              <a:off x="5229556" y="3816206"/>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20" name="Freeform: Shape 3819">
              <a:extLst>
                <a:ext uri="{FF2B5EF4-FFF2-40B4-BE49-F238E27FC236}">
                  <a16:creationId xmlns:a16="http://schemas.microsoft.com/office/drawing/2014/main" id="{B4BD912E-5675-2DC8-9E13-868B66EABF6E}"/>
                </a:ext>
              </a:extLst>
            </p:cNvPr>
            <p:cNvSpPr/>
            <p:nvPr/>
          </p:nvSpPr>
          <p:spPr>
            <a:xfrm>
              <a:off x="5590277" y="3849480"/>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21" name="Freeform: Shape 3820">
              <a:extLst>
                <a:ext uri="{FF2B5EF4-FFF2-40B4-BE49-F238E27FC236}">
                  <a16:creationId xmlns:a16="http://schemas.microsoft.com/office/drawing/2014/main" id="{FDC49696-F1D8-832A-F10A-5E252457C57D}"/>
                </a:ext>
              </a:extLst>
            </p:cNvPr>
            <p:cNvSpPr/>
            <p:nvPr/>
          </p:nvSpPr>
          <p:spPr>
            <a:xfrm>
              <a:off x="5375900" y="3901804"/>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822" name="Graphic 642">
              <a:extLst>
                <a:ext uri="{FF2B5EF4-FFF2-40B4-BE49-F238E27FC236}">
                  <a16:creationId xmlns:a16="http://schemas.microsoft.com/office/drawing/2014/main" id="{C1186198-73F9-5DB4-6250-4B2B7B54CD4E}"/>
                </a:ext>
              </a:extLst>
            </p:cNvPr>
            <p:cNvGrpSpPr/>
            <p:nvPr/>
          </p:nvGrpSpPr>
          <p:grpSpPr>
            <a:xfrm>
              <a:off x="4994094" y="3908931"/>
              <a:ext cx="188167" cy="129348"/>
              <a:chOff x="3439867" y="4400758"/>
              <a:chExt cx="152940" cy="99442"/>
            </a:xfrm>
            <a:gradFill flip="none" rotWithShape="1">
              <a:gsLst>
                <a:gs pos="100000">
                  <a:srgbClr val="66C29F"/>
                </a:gs>
                <a:gs pos="0">
                  <a:srgbClr val="3C9673"/>
                </a:gs>
              </a:gsLst>
              <a:lin ang="0" scaled="1"/>
              <a:tileRect/>
            </a:gradFill>
          </p:grpSpPr>
          <p:sp>
            <p:nvSpPr>
              <p:cNvPr id="3844" name="Freeform: Shape 3843">
                <a:extLst>
                  <a:ext uri="{FF2B5EF4-FFF2-40B4-BE49-F238E27FC236}">
                    <a16:creationId xmlns:a16="http://schemas.microsoft.com/office/drawing/2014/main" id="{D053A2A4-5E8E-307A-55AA-764AE1C2FAF5}"/>
                  </a:ext>
                </a:extLst>
              </p:cNvPr>
              <p:cNvSpPr/>
              <p:nvPr/>
            </p:nvSpPr>
            <p:spPr>
              <a:xfrm>
                <a:off x="3439867" y="4400758"/>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845" name="Graphic 642">
                <a:extLst>
                  <a:ext uri="{FF2B5EF4-FFF2-40B4-BE49-F238E27FC236}">
                    <a16:creationId xmlns:a16="http://schemas.microsoft.com/office/drawing/2014/main" id="{09FC7FC4-5380-AD49-D2F2-75DC8263B991}"/>
                  </a:ext>
                </a:extLst>
              </p:cNvPr>
              <p:cNvGrpSpPr/>
              <p:nvPr/>
            </p:nvGrpSpPr>
            <p:grpSpPr>
              <a:xfrm>
                <a:off x="3439867" y="4400758"/>
                <a:ext cx="152940" cy="99438"/>
                <a:chOff x="3439867" y="4400758"/>
                <a:chExt cx="152940" cy="99438"/>
              </a:xfrm>
              <a:grpFill/>
            </p:grpSpPr>
            <p:sp>
              <p:nvSpPr>
                <p:cNvPr id="3846" name="Freeform: Shape 3845">
                  <a:extLst>
                    <a:ext uri="{FF2B5EF4-FFF2-40B4-BE49-F238E27FC236}">
                      <a16:creationId xmlns:a16="http://schemas.microsoft.com/office/drawing/2014/main" id="{DBD3318E-45EB-E4A5-069F-4004F47BA62A}"/>
                    </a:ext>
                  </a:extLst>
                </p:cNvPr>
                <p:cNvSpPr/>
                <p:nvPr/>
              </p:nvSpPr>
              <p:spPr>
                <a:xfrm>
                  <a:off x="3439867" y="4400758"/>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51" name="Freeform: Shape 3850">
                  <a:extLst>
                    <a:ext uri="{FF2B5EF4-FFF2-40B4-BE49-F238E27FC236}">
                      <a16:creationId xmlns:a16="http://schemas.microsoft.com/office/drawing/2014/main" id="{AEB864E6-CF4B-214F-4B0D-704A5DE62EBD}"/>
                    </a:ext>
                  </a:extLst>
                </p:cNvPr>
                <p:cNvSpPr/>
                <p:nvPr/>
              </p:nvSpPr>
              <p:spPr>
                <a:xfrm>
                  <a:off x="3439867" y="4400758"/>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823" name="Graphic 642">
              <a:extLst>
                <a:ext uri="{FF2B5EF4-FFF2-40B4-BE49-F238E27FC236}">
                  <a16:creationId xmlns:a16="http://schemas.microsoft.com/office/drawing/2014/main" id="{822E2096-1E64-78D9-EB85-3390E8E89C19}"/>
                </a:ext>
              </a:extLst>
            </p:cNvPr>
            <p:cNvGrpSpPr/>
            <p:nvPr/>
          </p:nvGrpSpPr>
          <p:grpSpPr>
            <a:xfrm>
              <a:off x="4779700" y="3961253"/>
              <a:ext cx="188153" cy="129346"/>
              <a:chOff x="3265609" y="4440983"/>
              <a:chExt cx="152929" cy="99440"/>
            </a:xfrm>
            <a:gradFill flip="none" rotWithShape="1">
              <a:gsLst>
                <a:gs pos="100000">
                  <a:srgbClr val="66C29F"/>
                </a:gs>
                <a:gs pos="0">
                  <a:srgbClr val="3C9673"/>
                </a:gs>
              </a:gsLst>
              <a:lin ang="0" scaled="1"/>
              <a:tileRect/>
            </a:gradFill>
          </p:grpSpPr>
          <p:sp>
            <p:nvSpPr>
              <p:cNvPr id="3840" name="Freeform: Shape 3839">
                <a:extLst>
                  <a:ext uri="{FF2B5EF4-FFF2-40B4-BE49-F238E27FC236}">
                    <a16:creationId xmlns:a16="http://schemas.microsoft.com/office/drawing/2014/main" id="{90DDC7B5-188F-6DF8-504B-64EFE5B8E2B7}"/>
                  </a:ext>
                </a:extLst>
              </p:cNvPr>
              <p:cNvSpPr/>
              <p:nvPr/>
            </p:nvSpPr>
            <p:spPr>
              <a:xfrm>
                <a:off x="3265609" y="4440983"/>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841" name="Graphic 642">
                <a:extLst>
                  <a:ext uri="{FF2B5EF4-FFF2-40B4-BE49-F238E27FC236}">
                    <a16:creationId xmlns:a16="http://schemas.microsoft.com/office/drawing/2014/main" id="{A81FC832-1C41-ED26-0504-F4BEE18CDA98}"/>
                  </a:ext>
                </a:extLst>
              </p:cNvPr>
              <p:cNvGrpSpPr/>
              <p:nvPr/>
            </p:nvGrpSpPr>
            <p:grpSpPr>
              <a:xfrm>
                <a:off x="3265609" y="4440983"/>
                <a:ext cx="152929" cy="99438"/>
                <a:chOff x="3265609" y="4440983"/>
                <a:chExt cx="152929" cy="99438"/>
              </a:xfrm>
              <a:grpFill/>
            </p:grpSpPr>
            <p:sp>
              <p:nvSpPr>
                <p:cNvPr id="3842" name="Freeform: Shape 3841">
                  <a:extLst>
                    <a:ext uri="{FF2B5EF4-FFF2-40B4-BE49-F238E27FC236}">
                      <a16:creationId xmlns:a16="http://schemas.microsoft.com/office/drawing/2014/main" id="{2161FCBA-2CC9-A316-B08F-788DCB7ADD3A}"/>
                    </a:ext>
                  </a:extLst>
                </p:cNvPr>
                <p:cNvSpPr/>
                <p:nvPr/>
              </p:nvSpPr>
              <p:spPr>
                <a:xfrm>
                  <a:off x="3265609" y="4440983"/>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43" name="Freeform: Shape 3842">
                  <a:extLst>
                    <a:ext uri="{FF2B5EF4-FFF2-40B4-BE49-F238E27FC236}">
                      <a16:creationId xmlns:a16="http://schemas.microsoft.com/office/drawing/2014/main" id="{1E741D12-DE9E-CB30-7BDE-90ED839A0CF3}"/>
                    </a:ext>
                  </a:extLst>
                </p:cNvPr>
                <p:cNvSpPr/>
                <p:nvPr/>
              </p:nvSpPr>
              <p:spPr>
                <a:xfrm>
                  <a:off x="3265609" y="4440983"/>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824" name="Graphic 642">
              <a:extLst>
                <a:ext uri="{FF2B5EF4-FFF2-40B4-BE49-F238E27FC236}">
                  <a16:creationId xmlns:a16="http://schemas.microsoft.com/office/drawing/2014/main" id="{15A68A5D-AB34-5A46-F34A-3EA3879C6281}"/>
                </a:ext>
              </a:extLst>
            </p:cNvPr>
            <p:cNvGrpSpPr/>
            <p:nvPr/>
          </p:nvGrpSpPr>
          <p:grpSpPr>
            <a:xfrm>
              <a:off x="4926042" y="4046849"/>
              <a:ext cx="188180" cy="129373"/>
              <a:chOff x="3384555" y="4506789"/>
              <a:chExt cx="152951" cy="99461"/>
            </a:xfrm>
            <a:gradFill flip="none" rotWithShape="1">
              <a:gsLst>
                <a:gs pos="100000">
                  <a:srgbClr val="66C29F"/>
                </a:gs>
                <a:gs pos="0">
                  <a:srgbClr val="3C9673"/>
                </a:gs>
              </a:gsLst>
              <a:lin ang="0" scaled="1"/>
              <a:tileRect/>
            </a:gradFill>
          </p:grpSpPr>
          <p:sp>
            <p:nvSpPr>
              <p:cNvPr id="3836" name="Freeform: Shape 3835">
                <a:extLst>
                  <a:ext uri="{FF2B5EF4-FFF2-40B4-BE49-F238E27FC236}">
                    <a16:creationId xmlns:a16="http://schemas.microsoft.com/office/drawing/2014/main" id="{B097CC6A-CC6F-0179-0F22-E9CFE2E50A8D}"/>
                  </a:ext>
                </a:extLst>
              </p:cNvPr>
              <p:cNvSpPr/>
              <p:nvPr/>
            </p:nvSpPr>
            <p:spPr>
              <a:xfrm>
                <a:off x="3384555" y="4506789"/>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837" name="Graphic 642">
                <a:extLst>
                  <a:ext uri="{FF2B5EF4-FFF2-40B4-BE49-F238E27FC236}">
                    <a16:creationId xmlns:a16="http://schemas.microsoft.com/office/drawing/2014/main" id="{90BC94BC-FE67-0677-19EE-94102CBB117C}"/>
                  </a:ext>
                </a:extLst>
              </p:cNvPr>
              <p:cNvGrpSpPr/>
              <p:nvPr/>
            </p:nvGrpSpPr>
            <p:grpSpPr>
              <a:xfrm>
                <a:off x="3384555" y="4506789"/>
                <a:ext cx="152951" cy="99461"/>
                <a:chOff x="3384555" y="4506789"/>
                <a:chExt cx="152951" cy="99461"/>
              </a:xfrm>
              <a:grpFill/>
            </p:grpSpPr>
            <p:sp>
              <p:nvSpPr>
                <p:cNvPr id="3838" name="Freeform: Shape 3837">
                  <a:extLst>
                    <a:ext uri="{FF2B5EF4-FFF2-40B4-BE49-F238E27FC236}">
                      <a16:creationId xmlns:a16="http://schemas.microsoft.com/office/drawing/2014/main" id="{7A4D7A00-0665-D907-69D7-4F563FAEE089}"/>
                    </a:ext>
                  </a:extLst>
                </p:cNvPr>
                <p:cNvSpPr/>
                <p:nvPr/>
              </p:nvSpPr>
              <p:spPr>
                <a:xfrm>
                  <a:off x="3384555" y="4506789"/>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39" name="Freeform: Shape 3838">
                  <a:extLst>
                    <a:ext uri="{FF2B5EF4-FFF2-40B4-BE49-F238E27FC236}">
                      <a16:creationId xmlns:a16="http://schemas.microsoft.com/office/drawing/2014/main" id="{4EE9D5AB-ED65-2AA8-D2AE-901DBD3C0050}"/>
                    </a:ext>
                  </a:extLst>
                </p:cNvPr>
                <p:cNvSpPr/>
                <p:nvPr/>
              </p:nvSpPr>
              <p:spPr>
                <a:xfrm>
                  <a:off x="3384555" y="4506789"/>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825" name="Graphic 642">
              <a:extLst>
                <a:ext uri="{FF2B5EF4-FFF2-40B4-BE49-F238E27FC236}">
                  <a16:creationId xmlns:a16="http://schemas.microsoft.com/office/drawing/2014/main" id="{A1502EFA-E489-B1A7-D1AD-3D9130FE054A}"/>
                </a:ext>
              </a:extLst>
            </p:cNvPr>
            <p:cNvGrpSpPr/>
            <p:nvPr/>
          </p:nvGrpSpPr>
          <p:grpSpPr>
            <a:xfrm>
              <a:off x="5140451" y="3994541"/>
              <a:ext cx="188167" cy="129343"/>
              <a:chOff x="3558824" y="4466575"/>
              <a:chExt cx="152940" cy="99438"/>
            </a:xfrm>
            <a:gradFill flip="none" rotWithShape="1">
              <a:gsLst>
                <a:gs pos="100000">
                  <a:srgbClr val="66C29F"/>
                </a:gs>
                <a:gs pos="0">
                  <a:srgbClr val="3C9673"/>
                </a:gs>
              </a:gsLst>
              <a:lin ang="0" scaled="1"/>
              <a:tileRect/>
            </a:gradFill>
          </p:grpSpPr>
          <p:sp>
            <p:nvSpPr>
              <p:cNvPr id="3832" name="Freeform: Shape 3831">
                <a:extLst>
                  <a:ext uri="{FF2B5EF4-FFF2-40B4-BE49-F238E27FC236}">
                    <a16:creationId xmlns:a16="http://schemas.microsoft.com/office/drawing/2014/main" id="{811744D2-2865-4FF2-7DB2-269BBA1384D5}"/>
                  </a:ext>
                </a:extLst>
              </p:cNvPr>
              <p:cNvSpPr/>
              <p:nvPr/>
            </p:nvSpPr>
            <p:spPr>
              <a:xfrm>
                <a:off x="3558824" y="4466575"/>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833" name="Graphic 642">
                <a:extLst>
                  <a:ext uri="{FF2B5EF4-FFF2-40B4-BE49-F238E27FC236}">
                    <a16:creationId xmlns:a16="http://schemas.microsoft.com/office/drawing/2014/main" id="{97B5F09B-79B3-61BE-1F82-2227EE006CA5}"/>
                  </a:ext>
                </a:extLst>
              </p:cNvPr>
              <p:cNvGrpSpPr/>
              <p:nvPr/>
            </p:nvGrpSpPr>
            <p:grpSpPr>
              <a:xfrm>
                <a:off x="3558824" y="4466575"/>
                <a:ext cx="152940" cy="99438"/>
                <a:chOff x="3558824" y="4466575"/>
                <a:chExt cx="152940" cy="99438"/>
              </a:xfrm>
              <a:grpFill/>
            </p:grpSpPr>
            <p:sp>
              <p:nvSpPr>
                <p:cNvPr id="3834" name="Freeform: Shape 3833">
                  <a:extLst>
                    <a:ext uri="{FF2B5EF4-FFF2-40B4-BE49-F238E27FC236}">
                      <a16:creationId xmlns:a16="http://schemas.microsoft.com/office/drawing/2014/main" id="{CD87B8EC-63B9-5A2B-3D6D-C8772F59B2A7}"/>
                    </a:ext>
                  </a:extLst>
                </p:cNvPr>
                <p:cNvSpPr/>
                <p:nvPr/>
              </p:nvSpPr>
              <p:spPr>
                <a:xfrm>
                  <a:off x="3558824" y="4466575"/>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35" name="Freeform: Shape 3834">
                  <a:extLst>
                    <a:ext uri="{FF2B5EF4-FFF2-40B4-BE49-F238E27FC236}">
                      <a16:creationId xmlns:a16="http://schemas.microsoft.com/office/drawing/2014/main" id="{5B02BAB5-622A-8B95-50BB-3E51EA34FC8B}"/>
                    </a:ext>
                  </a:extLst>
                </p:cNvPr>
                <p:cNvSpPr/>
                <p:nvPr/>
              </p:nvSpPr>
              <p:spPr>
                <a:xfrm>
                  <a:off x="3558824" y="4466575"/>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3826" name="Freeform: Shape 3825">
              <a:extLst>
                <a:ext uri="{FF2B5EF4-FFF2-40B4-BE49-F238E27FC236}">
                  <a16:creationId xmlns:a16="http://schemas.microsoft.com/office/drawing/2014/main" id="{6FF8B240-2850-D726-509D-1E64DB14BA0B}"/>
                </a:ext>
              </a:extLst>
            </p:cNvPr>
            <p:cNvSpPr/>
            <p:nvPr/>
          </p:nvSpPr>
          <p:spPr>
            <a:xfrm>
              <a:off x="4994413" y="3873600"/>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27" name="Freeform: Shape 3826">
              <a:extLst>
                <a:ext uri="{FF2B5EF4-FFF2-40B4-BE49-F238E27FC236}">
                  <a16:creationId xmlns:a16="http://schemas.microsoft.com/office/drawing/2014/main" id="{B9307347-EAD7-4688-E13F-51A473D9B4D9}"/>
                </a:ext>
              </a:extLst>
            </p:cNvPr>
            <p:cNvSpPr/>
            <p:nvPr/>
          </p:nvSpPr>
          <p:spPr>
            <a:xfrm>
              <a:off x="4780013" y="3925926"/>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28" name="Freeform: Shape 3827">
              <a:extLst>
                <a:ext uri="{FF2B5EF4-FFF2-40B4-BE49-F238E27FC236}">
                  <a16:creationId xmlns:a16="http://schemas.microsoft.com/office/drawing/2014/main" id="{10B4F5F6-3CE1-B266-C34C-0B69F06E6DA4}"/>
                </a:ext>
              </a:extLst>
            </p:cNvPr>
            <p:cNvSpPr/>
            <p:nvPr/>
          </p:nvSpPr>
          <p:spPr>
            <a:xfrm>
              <a:off x="5140747" y="3959209"/>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29" name="Freeform: Shape 3828">
              <a:extLst>
                <a:ext uri="{FF2B5EF4-FFF2-40B4-BE49-F238E27FC236}">
                  <a16:creationId xmlns:a16="http://schemas.microsoft.com/office/drawing/2014/main" id="{46BBECD1-1CB2-07CE-2621-46677C5721D5}"/>
                </a:ext>
              </a:extLst>
            </p:cNvPr>
            <p:cNvSpPr/>
            <p:nvPr/>
          </p:nvSpPr>
          <p:spPr>
            <a:xfrm>
              <a:off x="4926348" y="4011533"/>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31" name="RectangleLegend2">
              <a:extLst>
                <a:ext uri="{FF2B5EF4-FFF2-40B4-BE49-F238E27FC236}">
                  <a16:creationId xmlns:a16="http://schemas.microsoft.com/office/drawing/2014/main" id="{D4456DCB-1CE6-209D-0D10-8188E2D7E121}"/>
                </a:ext>
              </a:extLst>
            </p:cNvPr>
            <p:cNvSpPr>
              <a:spLocks/>
            </p:cNvSpPr>
            <p:nvPr/>
          </p:nvSpPr>
          <p:spPr>
            <a:xfrm>
              <a:off x="4717906" y="4138996"/>
              <a:ext cx="1402645" cy="225783"/>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Xmg </a:t>
              </a:r>
              <a:b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production scale</a:t>
              </a:r>
            </a:p>
          </p:txBody>
        </p:sp>
      </p:grpSp>
      <p:grpSp>
        <p:nvGrpSpPr>
          <p:cNvPr id="19" name="Graphic 455">
            <a:extLst>
              <a:ext uri="{FF2B5EF4-FFF2-40B4-BE49-F238E27FC236}">
                <a16:creationId xmlns:a16="http://schemas.microsoft.com/office/drawing/2014/main" id="{E4AC571E-5B1A-B692-D0F7-D6FAE59A8CEB}"/>
              </a:ext>
            </a:extLst>
          </p:cNvPr>
          <p:cNvGrpSpPr/>
          <p:nvPr/>
        </p:nvGrpSpPr>
        <p:grpSpPr>
          <a:xfrm>
            <a:off x="5933846" y="4429837"/>
            <a:ext cx="205200" cy="141055"/>
            <a:chOff x="2595171" y="4564360"/>
            <a:chExt cx="152940" cy="99440"/>
          </a:xfrm>
          <a:gradFill flip="none" rotWithShape="1">
            <a:gsLst>
              <a:gs pos="100000">
                <a:srgbClr val="008896"/>
              </a:gs>
              <a:gs pos="0">
                <a:srgbClr val="005A64"/>
              </a:gs>
            </a:gsLst>
            <a:lin ang="0" scaled="1"/>
            <a:tileRect/>
          </a:gradFill>
        </p:grpSpPr>
        <p:sp>
          <p:nvSpPr>
            <p:cNvPr id="4869" name="Freeform: Shape 4868">
              <a:extLst>
                <a:ext uri="{FF2B5EF4-FFF2-40B4-BE49-F238E27FC236}">
                  <a16:creationId xmlns:a16="http://schemas.microsoft.com/office/drawing/2014/main" id="{958AB540-D584-1190-1925-A3A9C494C606}"/>
                </a:ext>
              </a:extLst>
            </p:cNvPr>
            <p:cNvSpPr/>
            <p:nvPr/>
          </p:nvSpPr>
          <p:spPr>
            <a:xfrm>
              <a:off x="2595171" y="456436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870" name="Graphic 455">
              <a:extLst>
                <a:ext uri="{FF2B5EF4-FFF2-40B4-BE49-F238E27FC236}">
                  <a16:creationId xmlns:a16="http://schemas.microsoft.com/office/drawing/2014/main" id="{53FB195D-8066-A427-389D-31FF49029077}"/>
                </a:ext>
              </a:extLst>
            </p:cNvPr>
            <p:cNvGrpSpPr/>
            <p:nvPr/>
          </p:nvGrpSpPr>
          <p:grpSpPr>
            <a:xfrm>
              <a:off x="2595171" y="4564360"/>
              <a:ext cx="152940" cy="99438"/>
              <a:chOff x="2595171" y="4564360"/>
              <a:chExt cx="152940" cy="99438"/>
            </a:xfrm>
            <a:grpFill/>
          </p:grpSpPr>
          <p:sp>
            <p:nvSpPr>
              <p:cNvPr id="4871" name="Freeform: Shape 4870">
                <a:extLst>
                  <a:ext uri="{FF2B5EF4-FFF2-40B4-BE49-F238E27FC236}">
                    <a16:creationId xmlns:a16="http://schemas.microsoft.com/office/drawing/2014/main" id="{F1855AC7-25C0-4630-C908-77F67B556065}"/>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72" name="Freeform: Shape 4871">
                <a:extLst>
                  <a:ext uri="{FF2B5EF4-FFF2-40B4-BE49-F238E27FC236}">
                    <a16:creationId xmlns:a16="http://schemas.microsoft.com/office/drawing/2014/main" id="{8B1903E4-C767-AFD0-6AE0-229EDEC92EF8}"/>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20" name="Graphic 455">
            <a:extLst>
              <a:ext uri="{FF2B5EF4-FFF2-40B4-BE49-F238E27FC236}">
                <a16:creationId xmlns:a16="http://schemas.microsoft.com/office/drawing/2014/main" id="{6955DCEF-6098-1426-3C56-B1BBC0D2399C}"/>
              </a:ext>
            </a:extLst>
          </p:cNvPr>
          <p:cNvGrpSpPr/>
          <p:nvPr/>
        </p:nvGrpSpPr>
        <p:grpSpPr>
          <a:xfrm>
            <a:off x="5700074" y="4486913"/>
            <a:ext cx="205185" cy="141043"/>
            <a:chOff x="2420936" y="4604597"/>
            <a:chExt cx="152929" cy="99432"/>
          </a:xfrm>
          <a:gradFill flip="none" rotWithShape="1">
            <a:gsLst>
              <a:gs pos="100000">
                <a:srgbClr val="008896"/>
              </a:gs>
              <a:gs pos="0">
                <a:srgbClr val="005A64"/>
              </a:gs>
            </a:gsLst>
            <a:lin ang="0" scaled="1"/>
            <a:tileRect/>
          </a:gradFill>
        </p:grpSpPr>
        <p:sp>
          <p:nvSpPr>
            <p:cNvPr id="4865" name="Freeform: Shape 4864">
              <a:extLst>
                <a:ext uri="{FF2B5EF4-FFF2-40B4-BE49-F238E27FC236}">
                  <a16:creationId xmlns:a16="http://schemas.microsoft.com/office/drawing/2014/main" id="{0015A568-6F7A-D100-EA26-2B8A44DDE423}"/>
                </a:ext>
              </a:extLst>
            </p:cNvPr>
            <p:cNvSpPr/>
            <p:nvPr/>
          </p:nvSpPr>
          <p:spPr>
            <a:xfrm>
              <a:off x="2420936" y="460459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866" name="Graphic 455">
              <a:extLst>
                <a:ext uri="{FF2B5EF4-FFF2-40B4-BE49-F238E27FC236}">
                  <a16:creationId xmlns:a16="http://schemas.microsoft.com/office/drawing/2014/main" id="{F8CEE2AA-329D-0094-4A48-062CBF8583FD}"/>
                </a:ext>
              </a:extLst>
            </p:cNvPr>
            <p:cNvGrpSpPr/>
            <p:nvPr/>
          </p:nvGrpSpPr>
          <p:grpSpPr>
            <a:xfrm>
              <a:off x="2420937" y="4604597"/>
              <a:ext cx="152929" cy="99427"/>
              <a:chOff x="2420937" y="4604597"/>
              <a:chExt cx="152929" cy="99427"/>
            </a:xfrm>
            <a:grpFill/>
          </p:grpSpPr>
          <p:sp>
            <p:nvSpPr>
              <p:cNvPr id="4867" name="Freeform: Shape 4866">
                <a:extLst>
                  <a:ext uri="{FF2B5EF4-FFF2-40B4-BE49-F238E27FC236}">
                    <a16:creationId xmlns:a16="http://schemas.microsoft.com/office/drawing/2014/main" id="{82A194F9-F882-677E-6E8F-7B6AF3E6E21F}"/>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68" name="Freeform: Shape 4867">
                <a:extLst>
                  <a:ext uri="{FF2B5EF4-FFF2-40B4-BE49-F238E27FC236}">
                    <a16:creationId xmlns:a16="http://schemas.microsoft.com/office/drawing/2014/main" id="{9B14EC67-6A68-AD74-BC4C-D78E6E24A4E3}"/>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21" name="Graphic 455">
            <a:extLst>
              <a:ext uri="{FF2B5EF4-FFF2-40B4-BE49-F238E27FC236}">
                <a16:creationId xmlns:a16="http://schemas.microsoft.com/office/drawing/2014/main" id="{2D149162-880F-72AF-F7B2-DE67892DF349}"/>
              </a:ext>
            </a:extLst>
          </p:cNvPr>
          <p:cNvGrpSpPr/>
          <p:nvPr/>
        </p:nvGrpSpPr>
        <p:grpSpPr>
          <a:xfrm>
            <a:off x="5859664" y="4580259"/>
            <a:ext cx="205185" cy="141067"/>
            <a:chOff x="2539882" y="4670403"/>
            <a:chExt cx="152929" cy="99449"/>
          </a:xfrm>
          <a:gradFill flip="none" rotWithShape="1">
            <a:gsLst>
              <a:gs pos="100000">
                <a:srgbClr val="008896"/>
              </a:gs>
              <a:gs pos="0">
                <a:srgbClr val="005A64"/>
              </a:gs>
            </a:gsLst>
            <a:lin ang="0" scaled="1"/>
            <a:tileRect/>
          </a:gradFill>
        </p:grpSpPr>
        <p:sp>
          <p:nvSpPr>
            <p:cNvPr id="4861" name="Freeform: Shape 4860">
              <a:extLst>
                <a:ext uri="{FF2B5EF4-FFF2-40B4-BE49-F238E27FC236}">
                  <a16:creationId xmlns:a16="http://schemas.microsoft.com/office/drawing/2014/main" id="{BCB4391C-3B25-D1A2-1141-4552716401D4}"/>
                </a:ext>
              </a:extLst>
            </p:cNvPr>
            <p:cNvSpPr/>
            <p:nvPr/>
          </p:nvSpPr>
          <p:spPr>
            <a:xfrm>
              <a:off x="2539882" y="467040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862" name="Graphic 455">
              <a:extLst>
                <a:ext uri="{FF2B5EF4-FFF2-40B4-BE49-F238E27FC236}">
                  <a16:creationId xmlns:a16="http://schemas.microsoft.com/office/drawing/2014/main" id="{B2AE08E7-0A16-6724-95E7-49D3436B42FF}"/>
                </a:ext>
              </a:extLst>
            </p:cNvPr>
            <p:cNvGrpSpPr/>
            <p:nvPr/>
          </p:nvGrpSpPr>
          <p:grpSpPr>
            <a:xfrm>
              <a:off x="2539883" y="4670403"/>
              <a:ext cx="152929" cy="99449"/>
              <a:chOff x="2539883" y="4670403"/>
              <a:chExt cx="152929" cy="99449"/>
            </a:xfrm>
            <a:grpFill/>
          </p:grpSpPr>
          <p:sp>
            <p:nvSpPr>
              <p:cNvPr id="4863" name="Freeform: Shape 4862">
                <a:extLst>
                  <a:ext uri="{FF2B5EF4-FFF2-40B4-BE49-F238E27FC236}">
                    <a16:creationId xmlns:a16="http://schemas.microsoft.com/office/drawing/2014/main" id="{3C290777-8746-9EFB-45E0-31AE7C70411B}"/>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64" name="Freeform: Shape 4863">
                <a:extLst>
                  <a:ext uri="{FF2B5EF4-FFF2-40B4-BE49-F238E27FC236}">
                    <a16:creationId xmlns:a16="http://schemas.microsoft.com/office/drawing/2014/main" id="{8AABE6CD-5056-C442-9CFE-910BAB600BD0}"/>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22" name="Graphic 455">
            <a:extLst>
              <a:ext uri="{FF2B5EF4-FFF2-40B4-BE49-F238E27FC236}">
                <a16:creationId xmlns:a16="http://schemas.microsoft.com/office/drawing/2014/main" id="{89528350-3472-4C7E-204C-B8F51AD61110}"/>
              </a:ext>
            </a:extLst>
          </p:cNvPr>
          <p:cNvGrpSpPr/>
          <p:nvPr/>
        </p:nvGrpSpPr>
        <p:grpSpPr>
          <a:xfrm>
            <a:off x="6093482" y="4523198"/>
            <a:ext cx="205200" cy="141067"/>
            <a:chOff x="2714151" y="4630177"/>
            <a:chExt cx="152940" cy="99449"/>
          </a:xfrm>
          <a:gradFill flip="none" rotWithShape="1">
            <a:gsLst>
              <a:gs pos="100000">
                <a:srgbClr val="008896"/>
              </a:gs>
              <a:gs pos="0">
                <a:srgbClr val="005A64"/>
              </a:gs>
            </a:gsLst>
            <a:lin ang="0" scaled="1"/>
            <a:tileRect/>
          </a:gradFill>
        </p:grpSpPr>
        <p:sp>
          <p:nvSpPr>
            <p:cNvPr id="4857" name="Freeform: Shape 4856">
              <a:extLst>
                <a:ext uri="{FF2B5EF4-FFF2-40B4-BE49-F238E27FC236}">
                  <a16:creationId xmlns:a16="http://schemas.microsoft.com/office/drawing/2014/main" id="{C4DC6388-D202-2B7C-E354-ADD896C7746D}"/>
                </a:ext>
              </a:extLst>
            </p:cNvPr>
            <p:cNvSpPr/>
            <p:nvPr/>
          </p:nvSpPr>
          <p:spPr>
            <a:xfrm>
              <a:off x="2714151" y="463017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858" name="Graphic 455">
              <a:extLst>
                <a:ext uri="{FF2B5EF4-FFF2-40B4-BE49-F238E27FC236}">
                  <a16:creationId xmlns:a16="http://schemas.microsoft.com/office/drawing/2014/main" id="{9679813A-0BA2-1AE6-CA41-D5E150C74F43}"/>
                </a:ext>
              </a:extLst>
            </p:cNvPr>
            <p:cNvGrpSpPr/>
            <p:nvPr/>
          </p:nvGrpSpPr>
          <p:grpSpPr>
            <a:xfrm>
              <a:off x="2714152" y="4630177"/>
              <a:ext cx="152940" cy="99449"/>
              <a:chOff x="2714152" y="4630177"/>
              <a:chExt cx="152940" cy="99449"/>
            </a:xfrm>
            <a:grpFill/>
          </p:grpSpPr>
          <p:sp>
            <p:nvSpPr>
              <p:cNvPr id="4859" name="Freeform: Shape 4858">
                <a:extLst>
                  <a:ext uri="{FF2B5EF4-FFF2-40B4-BE49-F238E27FC236}">
                    <a16:creationId xmlns:a16="http://schemas.microsoft.com/office/drawing/2014/main" id="{F39A55DF-064E-87D4-1915-DB2CF908E768}"/>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60" name="Freeform: Shape 4859">
                <a:extLst>
                  <a:ext uri="{FF2B5EF4-FFF2-40B4-BE49-F238E27FC236}">
                    <a16:creationId xmlns:a16="http://schemas.microsoft.com/office/drawing/2014/main" id="{7F12E53D-B56D-39FF-DD01-80D3F36BBDC8}"/>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23" name="Freeform: Shape 22">
            <a:extLst>
              <a:ext uri="{FF2B5EF4-FFF2-40B4-BE49-F238E27FC236}">
                <a16:creationId xmlns:a16="http://schemas.microsoft.com/office/drawing/2014/main" id="{66A052F8-40C7-7F29-4C19-B1F6C3657DF7}"/>
              </a:ext>
            </a:extLst>
          </p:cNvPr>
          <p:cNvSpPr/>
          <p:nvPr/>
        </p:nvSpPr>
        <p:spPr>
          <a:xfrm>
            <a:off x="5934212" y="4391317"/>
            <a:ext cx="204849" cy="77712"/>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Freeform: Shape 23">
            <a:extLst>
              <a:ext uri="{FF2B5EF4-FFF2-40B4-BE49-F238E27FC236}">
                <a16:creationId xmlns:a16="http://schemas.microsoft.com/office/drawing/2014/main" id="{2193B8DB-FA17-D8BF-CC33-317B1D7C363E}"/>
              </a:ext>
            </a:extLst>
          </p:cNvPr>
          <p:cNvSpPr/>
          <p:nvPr/>
        </p:nvSpPr>
        <p:spPr>
          <a:xfrm>
            <a:off x="5700396" y="4448388"/>
            <a:ext cx="204853" cy="77712"/>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Freeform: Shape 24">
            <a:extLst>
              <a:ext uri="{FF2B5EF4-FFF2-40B4-BE49-F238E27FC236}">
                <a16:creationId xmlns:a16="http://schemas.microsoft.com/office/drawing/2014/main" id="{9790139A-3CA3-718D-0D9F-9F0B5EE3C838}"/>
              </a:ext>
            </a:extLst>
          </p:cNvPr>
          <p:cNvSpPr/>
          <p:nvPr/>
        </p:nvSpPr>
        <p:spPr>
          <a:xfrm>
            <a:off x="6093771" y="4484676"/>
            <a:ext cx="204897" cy="77720"/>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Freeform: Shape 25">
            <a:extLst>
              <a:ext uri="{FF2B5EF4-FFF2-40B4-BE49-F238E27FC236}">
                <a16:creationId xmlns:a16="http://schemas.microsoft.com/office/drawing/2014/main" id="{B39A3008-FA90-03BB-67CE-1D94AAC21F35}"/>
              </a:ext>
            </a:extLst>
          </p:cNvPr>
          <p:cNvSpPr/>
          <p:nvPr/>
        </p:nvSpPr>
        <p:spPr>
          <a:xfrm>
            <a:off x="5859988" y="4541735"/>
            <a:ext cx="204870" cy="77722"/>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27" name="Graphic 455">
            <a:extLst>
              <a:ext uri="{FF2B5EF4-FFF2-40B4-BE49-F238E27FC236}">
                <a16:creationId xmlns:a16="http://schemas.microsoft.com/office/drawing/2014/main" id="{069F00C5-FD20-A52F-3946-4E99B66335E0}"/>
              </a:ext>
            </a:extLst>
          </p:cNvPr>
          <p:cNvGrpSpPr/>
          <p:nvPr/>
        </p:nvGrpSpPr>
        <p:grpSpPr>
          <a:xfrm>
            <a:off x="5443620" y="4549507"/>
            <a:ext cx="205200" cy="141057"/>
            <a:chOff x="2229795" y="4648724"/>
            <a:chExt cx="152940" cy="99442"/>
          </a:xfrm>
          <a:gradFill flip="none" rotWithShape="1">
            <a:gsLst>
              <a:gs pos="100000">
                <a:srgbClr val="008896"/>
              </a:gs>
              <a:gs pos="0">
                <a:srgbClr val="005A64"/>
              </a:gs>
            </a:gsLst>
            <a:lin ang="0" scaled="1"/>
            <a:tileRect/>
          </a:gradFill>
        </p:grpSpPr>
        <p:sp>
          <p:nvSpPr>
            <p:cNvPr id="4853" name="Freeform: Shape 4852">
              <a:extLst>
                <a:ext uri="{FF2B5EF4-FFF2-40B4-BE49-F238E27FC236}">
                  <a16:creationId xmlns:a16="http://schemas.microsoft.com/office/drawing/2014/main" id="{3E200384-C43A-ECEB-5F88-7965047B15DB}"/>
                </a:ext>
              </a:extLst>
            </p:cNvPr>
            <p:cNvSpPr/>
            <p:nvPr/>
          </p:nvSpPr>
          <p:spPr>
            <a:xfrm>
              <a:off x="2229795" y="464872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854" name="Graphic 455">
              <a:extLst>
                <a:ext uri="{FF2B5EF4-FFF2-40B4-BE49-F238E27FC236}">
                  <a16:creationId xmlns:a16="http://schemas.microsoft.com/office/drawing/2014/main" id="{E1809D94-2F98-7A62-831C-C834D91A8C70}"/>
                </a:ext>
              </a:extLst>
            </p:cNvPr>
            <p:cNvGrpSpPr/>
            <p:nvPr/>
          </p:nvGrpSpPr>
          <p:grpSpPr>
            <a:xfrm>
              <a:off x="2229795" y="4648724"/>
              <a:ext cx="152940" cy="99438"/>
              <a:chOff x="2229795" y="4648724"/>
              <a:chExt cx="152940" cy="99438"/>
            </a:xfrm>
            <a:grpFill/>
          </p:grpSpPr>
          <p:sp>
            <p:nvSpPr>
              <p:cNvPr id="4855" name="Freeform: Shape 4854">
                <a:extLst>
                  <a:ext uri="{FF2B5EF4-FFF2-40B4-BE49-F238E27FC236}">
                    <a16:creationId xmlns:a16="http://schemas.microsoft.com/office/drawing/2014/main" id="{2098C164-FEF7-40D9-8A44-4332C9A42FB8}"/>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56" name="Freeform: Shape 4855">
                <a:extLst>
                  <a:ext uri="{FF2B5EF4-FFF2-40B4-BE49-F238E27FC236}">
                    <a16:creationId xmlns:a16="http://schemas.microsoft.com/office/drawing/2014/main" id="{DD87337F-055E-375E-AA86-61AE5C8161F5}"/>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28" name="Graphic 455">
            <a:extLst>
              <a:ext uri="{FF2B5EF4-FFF2-40B4-BE49-F238E27FC236}">
                <a16:creationId xmlns:a16="http://schemas.microsoft.com/office/drawing/2014/main" id="{7AB9F40E-67F4-3D3E-0F2B-5910F170FB5A}"/>
              </a:ext>
            </a:extLst>
          </p:cNvPr>
          <p:cNvGrpSpPr/>
          <p:nvPr/>
        </p:nvGrpSpPr>
        <p:grpSpPr>
          <a:xfrm>
            <a:off x="5603225" y="4642868"/>
            <a:ext cx="205200" cy="141051"/>
            <a:chOff x="2348752" y="4714541"/>
            <a:chExt cx="152940" cy="99438"/>
          </a:xfrm>
          <a:gradFill flip="none" rotWithShape="1">
            <a:gsLst>
              <a:gs pos="100000">
                <a:srgbClr val="008896"/>
              </a:gs>
              <a:gs pos="0">
                <a:srgbClr val="005A64"/>
              </a:gs>
            </a:gsLst>
            <a:lin ang="0" scaled="1"/>
            <a:tileRect/>
          </a:gradFill>
        </p:grpSpPr>
        <p:sp>
          <p:nvSpPr>
            <p:cNvPr id="10303" name="Freeform: Shape 10302">
              <a:extLst>
                <a:ext uri="{FF2B5EF4-FFF2-40B4-BE49-F238E27FC236}">
                  <a16:creationId xmlns:a16="http://schemas.microsoft.com/office/drawing/2014/main" id="{3F528641-5305-82AB-1134-E8E787D68CF1}"/>
                </a:ext>
              </a:extLst>
            </p:cNvPr>
            <p:cNvSpPr/>
            <p:nvPr/>
          </p:nvSpPr>
          <p:spPr>
            <a:xfrm>
              <a:off x="2348752" y="471454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800" name="Graphic 455">
              <a:extLst>
                <a:ext uri="{FF2B5EF4-FFF2-40B4-BE49-F238E27FC236}">
                  <a16:creationId xmlns:a16="http://schemas.microsoft.com/office/drawing/2014/main" id="{64F05B60-A554-9B63-B383-9BEED59A74D7}"/>
                </a:ext>
              </a:extLst>
            </p:cNvPr>
            <p:cNvGrpSpPr/>
            <p:nvPr/>
          </p:nvGrpSpPr>
          <p:grpSpPr>
            <a:xfrm>
              <a:off x="2348752" y="4714541"/>
              <a:ext cx="152940" cy="99438"/>
              <a:chOff x="2348752" y="4714541"/>
              <a:chExt cx="152940" cy="99438"/>
            </a:xfrm>
            <a:grpFill/>
          </p:grpSpPr>
          <p:sp>
            <p:nvSpPr>
              <p:cNvPr id="4851" name="Freeform: Shape 4850">
                <a:extLst>
                  <a:ext uri="{FF2B5EF4-FFF2-40B4-BE49-F238E27FC236}">
                    <a16:creationId xmlns:a16="http://schemas.microsoft.com/office/drawing/2014/main" id="{3A197608-05CD-6843-6927-08EBEEC40F4C}"/>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52" name="Freeform: Shape 4851">
                <a:extLst>
                  <a:ext uri="{FF2B5EF4-FFF2-40B4-BE49-F238E27FC236}">
                    <a16:creationId xmlns:a16="http://schemas.microsoft.com/office/drawing/2014/main" id="{2D222444-9514-FDE6-9E4C-2C65EFAE4C73}"/>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29" name="Freeform: Shape 28">
            <a:extLst>
              <a:ext uri="{FF2B5EF4-FFF2-40B4-BE49-F238E27FC236}">
                <a16:creationId xmlns:a16="http://schemas.microsoft.com/office/drawing/2014/main" id="{A11622DE-E778-E7B9-6237-8D6B92E36CD1}"/>
              </a:ext>
            </a:extLst>
          </p:cNvPr>
          <p:cNvSpPr/>
          <p:nvPr/>
        </p:nvSpPr>
        <p:spPr>
          <a:xfrm>
            <a:off x="5443968" y="4510977"/>
            <a:ext cx="204848" cy="7770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Freeform: Shape 29">
            <a:extLst>
              <a:ext uri="{FF2B5EF4-FFF2-40B4-BE49-F238E27FC236}">
                <a16:creationId xmlns:a16="http://schemas.microsoft.com/office/drawing/2014/main" id="{0C05A985-DE68-1BC8-8545-0A03ABEA4074}"/>
              </a:ext>
            </a:extLst>
          </p:cNvPr>
          <p:cNvSpPr/>
          <p:nvPr/>
        </p:nvSpPr>
        <p:spPr>
          <a:xfrm>
            <a:off x="5603548" y="4604337"/>
            <a:ext cx="204869" cy="77715"/>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Freeform: Shape 31">
            <a:extLst>
              <a:ext uri="{FF2B5EF4-FFF2-40B4-BE49-F238E27FC236}">
                <a16:creationId xmlns:a16="http://schemas.microsoft.com/office/drawing/2014/main" id="{F2E5C7FC-E8B7-7F7D-75A8-D0F82D7B426A}"/>
              </a:ext>
            </a:extLst>
          </p:cNvPr>
          <p:cNvSpPr/>
          <p:nvPr/>
        </p:nvSpPr>
        <p:spPr>
          <a:xfrm>
            <a:off x="5326235" y="4334270"/>
            <a:ext cx="319635" cy="492615"/>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002D32"/>
          </a:solidFill>
          <a:ln w="11275"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Freeform: Shape 32">
            <a:extLst>
              <a:ext uri="{FF2B5EF4-FFF2-40B4-BE49-F238E27FC236}">
                <a16:creationId xmlns:a16="http://schemas.microsoft.com/office/drawing/2014/main" id="{BBD7F186-9511-0700-69A8-F94B2BAF9EB8}"/>
              </a:ext>
            </a:extLst>
          </p:cNvPr>
          <p:cNvSpPr/>
          <p:nvPr/>
        </p:nvSpPr>
        <p:spPr>
          <a:xfrm>
            <a:off x="5323655" y="4331534"/>
            <a:ext cx="324762" cy="498077"/>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002D32"/>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Freeform: Shape 33">
            <a:extLst>
              <a:ext uri="{FF2B5EF4-FFF2-40B4-BE49-F238E27FC236}">
                <a16:creationId xmlns:a16="http://schemas.microsoft.com/office/drawing/2014/main" id="{80A756B7-E73D-B7B7-5F1F-75EAC9FE30EF}"/>
              </a:ext>
            </a:extLst>
          </p:cNvPr>
          <p:cNvSpPr/>
          <p:nvPr/>
        </p:nvSpPr>
        <p:spPr>
          <a:xfrm>
            <a:off x="5644868" y="4281959"/>
            <a:ext cx="981484" cy="544926"/>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005A6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A3C8C19B-7CE5-0AFB-3E1E-5F21C8BB92BB}"/>
              </a:ext>
            </a:extLst>
          </p:cNvPr>
          <p:cNvSpPr/>
          <p:nvPr/>
        </p:nvSpPr>
        <p:spPr>
          <a:xfrm>
            <a:off x="5642289" y="4279215"/>
            <a:ext cx="986611" cy="550398"/>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Freeform: Shape 35">
            <a:extLst>
              <a:ext uri="{FF2B5EF4-FFF2-40B4-BE49-F238E27FC236}">
                <a16:creationId xmlns:a16="http://schemas.microsoft.com/office/drawing/2014/main" id="{4FAE462F-A41B-580D-DC5E-93C7DC65A3E6}"/>
              </a:ext>
            </a:extLst>
          </p:cNvPr>
          <p:cNvSpPr/>
          <p:nvPr/>
        </p:nvSpPr>
        <p:spPr>
          <a:xfrm>
            <a:off x="5326235" y="4094949"/>
            <a:ext cx="1300117" cy="426332"/>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1" name="Graphic 641">
            <a:extLst>
              <a:ext uri="{FF2B5EF4-FFF2-40B4-BE49-F238E27FC236}">
                <a16:creationId xmlns:a16="http://schemas.microsoft.com/office/drawing/2014/main" id="{7B586FF1-16A3-0957-BDF1-AB3DEDC02015}"/>
              </a:ext>
            </a:extLst>
          </p:cNvPr>
          <p:cNvGrpSpPr/>
          <p:nvPr/>
        </p:nvGrpSpPr>
        <p:grpSpPr>
          <a:xfrm>
            <a:off x="6155184" y="4066442"/>
            <a:ext cx="205200" cy="141055"/>
            <a:chOff x="3257856" y="3944383"/>
            <a:chExt cx="152940" cy="99440"/>
          </a:xfrm>
          <a:gradFill flip="none" rotWithShape="1">
            <a:gsLst>
              <a:gs pos="100000">
                <a:srgbClr val="008896"/>
              </a:gs>
              <a:gs pos="0">
                <a:srgbClr val="005A64"/>
              </a:gs>
            </a:gsLst>
            <a:lin ang="0" scaled="1"/>
            <a:tileRect/>
          </a:gradFill>
        </p:grpSpPr>
        <p:sp>
          <p:nvSpPr>
            <p:cNvPr id="10299" name="Freeform: Shape 10298">
              <a:extLst>
                <a:ext uri="{FF2B5EF4-FFF2-40B4-BE49-F238E27FC236}">
                  <a16:creationId xmlns:a16="http://schemas.microsoft.com/office/drawing/2014/main" id="{314DCF57-46FC-24E9-5F59-7E531D7B9687}"/>
                </a:ext>
              </a:extLst>
            </p:cNvPr>
            <p:cNvSpPr/>
            <p:nvPr/>
          </p:nvSpPr>
          <p:spPr>
            <a:xfrm>
              <a:off x="3257856" y="3944383"/>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300" name="Graphic 641">
              <a:extLst>
                <a:ext uri="{FF2B5EF4-FFF2-40B4-BE49-F238E27FC236}">
                  <a16:creationId xmlns:a16="http://schemas.microsoft.com/office/drawing/2014/main" id="{5C70222B-FB22-2999-1FEB-79AD18549127}"/>
                </a:ext>
              </a:extLst>
            </p:cNvPr>
            <p:cNvGrpSpPr/>
            <p:nvPr/>
          </p:nvGrpSpPr>
          <p:grpSpPr>
            <a:xfrm>
              <a:off x="3257856" y="3944383"/>
              <a:ext cx="152940" cy="99438"/>
              <a:chOff x="3257856" y="3944383"/>
              <a:chExt cx="152940" cy="99438"/>
            </a:xfrm>
            <a:grpFill/>
          </p:grpSpPr>
          <p:sp>
            <p:nvSpPr>
              <p:cNvPr id="10301" name="Freeform: Shape 10300">
                <a:extLst>
                  <a:ext uri="{FF2B5EF4-FFF2-40B4-BE49-F238E27FC236}">
                    <a16:creationId xmlns:a16="http://schemas.microsoft.com/office/drawing/2014/main" id="{C6A610EB-4FD3-83F6-A22D-BDC7712DAFD5}"/>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02" name="Freeform: Shape 10301">
                <a:extLst>
                  <a:ext uri="{FF2B5EF4-FFF2-40B4-BE49-F238E27FC236}">
                    <a16:creationId xmlns:a16="http://schemas.microsoft.com/office/drawing/2014/main" id="{39E7AE84-EDA2-FF76-83F6-0A1345D66AEE}"/>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62" name="Graphic 641">
            <a:extLst>
              <a:ext uri="{FF2B5EF4-FFF2-40B4-BE49-F238E27FC236}">
                <a16:creationId xmlns:a16="http://schemas.microsoft.com/office/drawing/2014/main" id="{152FBEA8-390E-FF9E-2A6D-D58233F0A68B}"/>
              </a:ext>
            </a:extLst>
          </p:cNvPr>
          <p:cNvGrpSpPr/>
          <p:nvPr/>
        </p:nvGrpSpPr>
        <p:grpSpPr>
          <a:xfrm>
            <a:off x="5921412" y="4123518"/>
            <a:ext cx="205185" cy="141043"/>
            <a:chOff x="3083621" y="3984620"/>
            <a:chExt cx="152929" cy="99432"/>
          </a:xfrm>
          <a:gradFill flip="none" rotWithShape="1">
            <a:gsLst>
              <a:gs pos="100000">
                <a:srgbClr val="008896"/>
              </a:gs>
              <a:gs pos="0">
                <a:srgbClr val="005A64"/>
              </a:gs>
            </a:gsLst>
            <a:lin ang="0" scaled="1"/>
            <a:tileRect/>
          </a:gradFill>
        </p:grpSpPr>
        <p:sp>
          <p:nvSpPr>
            <p:cNvPr id="10295" name="Freeform: Shape 10294">
              <a:extLst>
                <a:ext uri="{FF2B5EF4-FFF2-40B4-BE49-F238E27FC236}">
                  <a16:creationId xmlns:a16="http://schemas.microsoft.com/office/drawing/2014/main" id="{B361CD14-5D8F-112B-A256-7F9F1310ED2D}"/>
                </a:ext>
              </a:extLst>
            </p:cNvPr>
            <p:cNvSpPr/>
            <p:nvPr/>
          </p:nvSpPr>
          <p:spPr>
            <a:xfrm>
              <a:off x="3083621" y="3984620"/>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296" name="Graphic 641">
              <a:extLst>
                <a:ext uri="{FF2B5EF4-FFF2-40B4-BE49-F238E27FC236}">
                  <a16:creationId xmlns:a16="http://schemas.microsoft.com/office/drawing/2014/main" id="{8C552E7A-392D-4BE0-0B15-468E6F5C8EB4}"/>
                </a:ext>
              </a:extLst>
            </p:cNvPr>
            <p:cNvGrpSpPr/>
            <p:nvPr/>
          </p:nvGrpSpPr>
          <p:grpSpPr>
            <a:xfrm>
              <a:off x="3083622" y="3984620"/>
              <a:ext cx="152929" cy="99427"/>
              <a:chOff x="3083622" y="3984620"/>
              <a:chExt cx="152929" cy="99427"/>
            </a:xfrm>
            <a:grpFill/>
          </p:grpSpPr>
          <p:sp>
            <p:nvSpPr>
              <p:cNvPr id="10297" name="Freeform: Shape 10296">
                <a:extLst>
                  <a:ext uri="{FF2B5EF4-FFF2-40B4-BE49-F238E27FC236}">
                    <a16:creationId xmlns:a16="http://schemas.microsoft.com/office/drawing/2014/main" id="{D5541465-098E-45FA-06F0-D5DB6A750D5A}"/>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298" name="Freeform: Shape 10297">
                <a:extLst>
                  <a:ext uri="{FF2B5EF4-FFF2-40B4-BE49-F238E27FC236}">
                    <a16:creationId xmlns:a16="http://schemas.microsoft.com/office/drawing/2014/main" id="{1FB57BEE-DF6B-FA51-6EEF-66A00962CE0F}"/>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63" name="Graphic 641">
            <a:extLst>
              <a:ext uri="{FF2B5EF4-FFF2-40B4-BE49-F238E27FC236}">
                <a16:creationId xmlns:a16="http://schemas.microsoft.com/office/drawing/2014/main" id="{9CEE2F5B-5C51-AF74-9760-1FDA4AF9CBD0}"/>
              </a:ext>
            </a:extLst>
          </p:cNvPr>
          <p:cNvGrpSpPr/>
          <p:nvPr/>
        </p:nvGrpSpPr>
        <p:grpSpPr>
          <a:xfrm>
            <a:off x="6081002" y="4216863"/>
            <a:ext cx="205185" cy="141067"/>
            <a:chOff x="3202567" y="4050426"/>
            <a:chExt cx="152929" cy="99449"/>
          </a:xfrm>
          <a:gradFill flip="none" rotWithShape="1">
            <a:gsLst>
              <a:gs pos="100000">
                <a:srgbClr val="008896"/>
              </a:gs>
              <a:gs pos="0">
                <a:srgbClr val="005A64"/>
              </a:gs>
            </a:gsLst>
            <a:lin ang="0" scaled="1"/>
            <a:tileRect/>
          </a:gradFill>
        </p:grpSpPr>
        <p:sp>
          <p:nvSpPr>
            <p:cNvPr id="10291" name="Freeform: Shape 10290">
              <a:extLst>
                <a:ext uri="{FF2B5EF4-FFF2-40B4-BE49-F238E27FC236}">
                  <a16:creationId xmlns:a16="http://schemas.microsoft.com/office/drawing/2014/main" id="{F99C5263-18F3-F000-FC3D-388FB093C9FE}"/>
                </a:ext>
              </a:extLst>
            </p:cNvPr>
            <p:cNvSpPr/>
            <p:nvPr/>
          </p:nvSpPr>
          <p:spPr>
            <a:xfrm>
              <a:off x="3202567" y="4050426"/>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292" name="Graphic 641">
              <a:extLst>
                <a:ext uri="{FF2B5EF4-FFF2-40B4-BE49-F238E27FC236}">
                  <a16:creationId xmlns:a16="http://schemas.microsoft.com/office/drawing/2014/main" id="{F21600CB-2285-883D-8A08-61A192825472}"/>
                </a:ext>
              </a:extLst>
            </p:cNvPr>
            <p:cNvGrpSpPr/>
            <p:nvPr/>
          </p:nvGrpSpPr>
          <p:grpSpPr>
            <a:xfrm>
              <a:off x="3202568" y="4050426"/>
              <a:ext cx="152929" cy="99449"/>
              <a:chOff x="3202568" y="4050426"/>
              <a:chExt cx="152929" cy="99449"/>
            </a:xfrm>
            <a:grpFill/>
          </p:grpSpPr>
          <p:sp>
            <p:nvSpPr>
              <p:cNvPr id="10293" name="Freeform: Shape 10292">
                <a:extLst>
                  <a:ext uri="{FF2B5EF4-FFF2-40B4-BE49-F238E27FC236}">
                    <a16:creationId xmlns:a16="http://schemas.microsoft.com/office/drawing/2014/main" id="{D48797CC-93C7-F52F-B944-05A75C1C7265}"/>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294" name="Freeform: Shape 10293">
                <a:extLst>
                  <a:ext uri="{FF2B5EF4-FFF2-40B4-BE49-F238E27FC236}">
                    <a16:creationId xmlns:a16="http://schemas.microsoft.com/office/drawing/2014/main" id="{1AAF2C8E-EA55-251F-3803-A74E4F05C072}"/>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48" name="Graphic 641">
            <a:extLst>
              <a:ext uri="{FF2B5EF4-FFF2-40B4-BE49-F238E27FC236}">
                <a16:creationId xmlns:a16="http://schemas.microsoft.com/office/drawing/2014/main" id="{C4AFCB97-6B42-56B3-1144-FBDAD5B57A2D}"/>
              </a:ext>
            </a:extLst>
          </p:cNvPr>
          <p:cNvGrpSpPr/>
          <p:nvPr/>
        </p:nvGrpSpPr>
        <p:grpSpPr>
          <a:xfrm>
            <a:off x="6314819" y="4159804"/>
            <a:ext cx="205200" cy="141067"/>
            <a:chOff x="3376836" y="4010200"/>
            <a:chExt cx="152940" cy="99449"/>
          </a:xfrm>
          <a:gradFill flip="none" rotWithShape="1">
            <a:gsLst>
              <a:gs pos="100000">
                <a:srgbClr val="008896"/>
              </a:gs>
              <a:gs pos="0">
                <a:srgbClr val="005A64"/>
              </a:gs>
            </a:gsLst>
            <a:lin ang="0" scaled="1"/>
            <a:tileRect/>
          </a:gradFill>
        </p:grpSpPr>
        <p:sp>
          <p:nvSpPr>
            <p:cNvPr id="10287" name="Freeform: Shape 10286">
              <a:extLst>
                <a:ext uri="{FF2B5EF4-FFF2-40B4-BE49-F238E27FC236}">
                  <a16:creationId xmlns:a16="http://schemas.microsoft.com/office/drawing/2014/main" id="{3D55DE3F-7AC8-870B-5A89-33121B208E59}"/>
                </a:ext>
              </a:extLst>
            </p:cNvPr>
            <p:cNvSpPr/>
            <p:nvPr/>
          </p:nvSpPr>
          <p:spPr>
            <a:xfrm>
              <a:off x="3376836" y="4010200"/>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288" name="Graphic 641">
              <a:extLst>
                <a:ext uri="{FF2B5EF4-FFF2-40B4-BE49-F238E27FC236}">
                  <a16:creationId xmlns:a16="http://schemas.microsoft.com/office/drawing/2014/main" id="{33D8CD0D-FBF9-937A-3D7D-528D209DC218}"/>
                </a:ext>
              </a:extLst>
            </p:cNvPr>
            <p:cNvGrpSpPr/>
            <p:nvPr/>
          </p:nvGrpSpPr>
          <p:grpSpPr>
            <a:xfrm>
              <a:off x="3376837" y="4010200"/>
              <a:ext cx="152940" cy="99449"/>
              <a:chOff x="3376837" y="4010200"/>
              <a:chExt cx="152940" cy="99449"/>
            </a:xfrm>
            <a:grpFill/>
          </p:grpSpPr>
          <p:sp>
            <p:nvSpPr>
              <p:cNvPr id="10289" name="Freeform: Shape 10288">
                <a:extLst>
                  <a:ext uri="{FF2B5EF4-FFF2-40B4-BE49-F238E27FC236}">
                    <a16:creationId xmlns:a16="http://schemas.microsoft.com/office/drawing/2014/main" id="{CEE51E57-68AB-BAEA-6640-66BDB5831627}"/>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290" name="Freeform: Shape 10289">
                <a:extLst>
                  <a:ext uri="{FF2B5EF4-FFF2-40B4-BE49-F238E27FC236}">
                    <a16:creationId xmlns:a16="http://schemas.microsoft.com/office/drawing/2014/main" id="{61CF60EB-03D4-A943-06E0-5E5DFC2EF114}"/>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449" name="Freeform: Shape 448">
            <a:extLst>
              <a:ext uri="{FF2B5EF4-FFF2-40B4-BE49-F238E27FC236}">
                <a16:creationId xmlns:a16="http://schemas.microsoft.com/office/drawing/2014/main" id="{4DA845B7-9038-4125-A4F8-00E9E82F71BA}"/>
              </a:ext>
            </a:extLst>
          </p:cNvPr>
          <p:cNvSpPr/>
          <p:nvPr/>
        </p:nvSpPr>
        <p:spPr>
          <a:xfrm>
            <a:off x="6155550" y="4027922"/>
            <a:ext cx="204849" cy="77712"/>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1" name="Freeform: Shape 450">
            <a:extLst>
              <a:ext uri="{FF2B5EF4-FFF2-40B4-BE49-F238E27FC236}">
                <a16:creationId xmlns:a16="http://schemas.microsoft.com/office/drawing/2014/main" id="{3628035C-DB82-D00B-E8B4-B7F893265869}"/>
              </a:ext>
            </a:extLst>
          </p:cNvPr>
          <p:cNvSpPr/>
          <p:nvPr/>
        </p:nvSpPr>
        <p:spPr>
          <a:xfrm>
            <a:off x="5921734" y="4084994"/>
            <a:ext cx="204853" cy="77712"/>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4" name="Freeform: Shape 453">
            <a:extLst>
              <a:ext uri="{FF2B5EF4-FFF2-40B4-BE49-F238E27FC236}">
                <a16:creationId xmlns:a16="http://schemas.microsoft.com/office/drawing/2014/main" id="{1C8FF36B-7A29-4D6A-F7EC-A4161EC20A15}"/>
              </a:ext>
            </a:extLst>
          </p:cNvPr>
          <p:cNvSpPr/>
          <p:nvPr/>
        </p:nvSpPr>
        <p:spPr>
          <a:xfrm>
            <a:off x="6315109" y="4121280"/>
            <a:ext cx="204897" cy="77720"/>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6" name="Freeform: Shape 455">
            <a:extLst>
              <a:ext uri="{FF2B5EF4-FFF2-40B4-BE49-F238E27FC236}">
                <a16:creationId xmlns:a16="http://schemas.microsoft.com/office/drawing/2014/main" id="{6EA372A1-4795-ECE7-C2F9-8284F4EB1F8E}"/>
              </a:ext>
            </a:extLst>
          </p:cNvPr>
          <p:cNvSpPr/>
          <p:nvPr/>
        </p:nvSpPr>
        <p:spPr>
          <a:xfrm>
            <a:off x="6081326" y="4178341"/>
            <a:ext cx="204870" cy="77722"/>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0" name="RectangleLegend2">
            <a:extLst>
              <a:ext uri="{FF2B5EF4-FFF2-40B4-BE49-F238E27FC236}">
                <a16:creationId xmlns:a16="http://schemas.microsoft.com/office/drawing/2014/main" id="{A1DD15AD-9B3D-C7B3-C9AF-6F46A89560C5}"/>
              </a:ext>
            </a:extLst>
          </p:cNvPr>
          <p:cNvSpPr>
            <a:spLocks/>
          </p:cNvSpPr>
          <p:nvPr/>
        </p:nvSpPr>
        <p:spPr>
          <a:xfrm>
            <a:off x="5364433" y="4437350"/>
            <a:ext cx="1529615" cy="229550"/>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R&amp;D production </a:t>
            </a:r>
            <a:b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process for mRNA</a:t>
            </a:r>
          </a:p>
        </p:txBody>
      </p:sp>
      <p:grpSp>
        <p:nvGrpSpPr>
          <p:cNvPr id="3631" name="Group 3630">
            <a:extLst>
              <a:ext uri="{FF2B5EF4-FFF2-40B4-BE49-F238E27FC236}">
                <a16:creationId xmlns:a16="http://schemas.microsoft.com/office/drawing/2014/main" id="{6E15FD1A-E742-4413-9B63-376D957E9D11}"/>
              </a:ext>
            </a:extLst>
          </p:cNvPr>
          <p:cNvGrpSpPr/>
          <p:nvPr/>
        </p:nvGrpSpPr>
        <p:grpSpPr>
          <a:xfrm>
            <a:off x="5664958" y="4147583"/>
            <a:ext cx="364804" cy="272940"/>
            <a:chOff x="7204514" y="5278735"/>
            <a:chExt cx="334523" cy="250284"/>
          </a:xfrm>
        </p:grpSpPr>
        <p:grpSp>
          <p:nvGrpSpPr>
            <p:cNvPr id="3781" name="Graphic 641">
              <a:extLst>
                <a:ext uri="{FF2B5EF4-FFF2-40B4-BE49-F238E27FC236}">
                  <a16:creationId xmlns:a16="http://schemas.microsoft.com/office/drawing/2014/main" id="{FCDE3EF0-EB61-EBAE-8446-181442EC0B00}"/>
                </a:ext>
              </a:extLst>
            </p:cNvPr>
            <p:cNvGrpSpPr/>
            <p:nvPr/>
          </p:nvGrpSpPr>
          <p:grpSpPr>
            <a:xfrm>
              <a:off x="7204514" y="5314066"/>
              <a:ext cx="188167" cy="129348"/>
              <a:chOff x="2892480" y="4028747"/>
              <a:chExt cx="152940" cy="99442"/>
            </a:xfrm>
            <a:gradFill flip="none" rotWithShape="1">
              <a:gsLst>
                <a:gs pos="100000">
                  <a:srgbClr val="008896"/>
                </a:gs>
                <a:gs pos="0">
                  <a:srgbClr val="005A64"/>
                </a:gs>
              </a:gsLst>
              <a:lin ang="0" scaled="1"/>
              <a:tileRect/>
            </a:gradFill>
          </p:grpSpPr>
          <p:sp>
            <p:nvSpPr>
              <p:cNvPr id="3789" name="Freeform: Shape 3788">
                <a:extLst>
                  <a:ext uri="{FF2B5EF4-FFF2-40B4-BE49-F238E27FC236}">
                    <a16:creationId xmlns:a16="http://schemas.microsoft.com/office/drawing/2014/main" id="{11B44739-1FEF-FBB2-6D44-818377D9EC3A}"/>
                  </a:ext>
                </a:extLst>
              </p:cNvPr>
              <p:cNvSpPr/>
              <p:nvPr/>
            </p:nvSpPr>
            <p:spPr>
              <a:xfrm>
                <a:off x="2892480" y="4028747"/>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790" name="Graphic 641">
                <a:extLst>
                  <a:ext uri="{FF2B5EF4-FFF2-40B4-BE49-F238E27FC236}">
                    <a16:creationId xmlns:a16="http://schemas.microsoft.com/office/drawing/2014/main" id="{601CE52D-7E82-E044-BEA3-D93605B67949}"/>
                  </a:ext>
                </a:extLst>
              </p:cNvPr>
              <p:cNvGrpSpPr/>
              <p:nvPr/>
            </p:nvGrpSpPr>
            <p:grpSpPr>
              <a:xfrm>
                <a:off x="2892480" y="4028747"/>
                <a:ext cx="152940" cy="99438"/>
                <a:chOff x="2892480" y="4028747"/>
                <a:chExt cx="152940" cy="99438"/>
              </a:xfrm>
              <a:grpFill/>
            </p:grpSpPr>
            <p:sp>
              <p:nvSpPr>
                <p:cNvPr id="3791" name="Freeform: Shape 3790">
                  <a:extLst>
                    <a:ext uri="{FF2B5EF4-FFF2-40B4-BE49-F238E27FC236}">
                      <a16:creationId xmlns:a16="http://schemas.microsoft.com/office/drawing/2014/main" id="{5FB98A22-8770-4102-23B1-8F80ECE09FF9}"/>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92" name="Freeform: Shape 3791">
                  <a:extLst>
                    <a:ext uri="{FF2B5EF4-FFF2-40B4-BE49-F238E27FC236}">
                      <a16:creationId xmlns:a16="http://schemas.microsoft.com/office/drawing/2014/main" id="{2C4FF876-0A2C-85DC-77BA-18B81524259D}"/>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3782" name="Graphic 641">
              <a:extLst>
                <a:ext uri="{FF2B5EF4-FFF2-40B4-BE49-F238E27FC236}">
                  <a16:creationId xmlns:a16="http://schemas.microsoft.com/office/drawing/2014/main" id="{077B1327-21F1-99D1-3FF6-E20F79609BEB}"/>
                </a:ext>
              </a:extLst>
            </p:cNvPr>
            <p:cNvGrpSpPr/>
            <p:nvPr/>
          </p:nvGrpSpPr>
          <p:grpSpPr>
            <a:xfrm>
              <a:off x="7350870" y="5399676"/>
              <a:ext cx="188167" cy="129343"/>
              <a:chOff x="3011437" y="4094564"/>
              <a:chExt cx="152940" cy="99438"/>
            </a:xfrm>
            <a:gradFill flip="none" rotWithShape="1">
              <a:gsLst>
                <a:gs pos="100000">
                  <a:srgbClr val="008896"/>
                </a:gs>
                <a:gs pos="0">
                  <a:srgbClr val="005A64"/>
                </a:gs>
              </a:gsLst>
              <a:lin ang="0" scaled="1"/>
              <a:tileRect/>
            </a:gradFill>
          </p:grpSpPr>
          <p:sp>
            <p:nvSpPr>
              <p:cNvPr id="3785" name="Freeform: Shape 3784">
                <a:extLst>
                  <a:ext uri="{FF2B5EF4-FFF2-40B4-BE49-F238E27FC236}">
                    <a16:creationId xmlns:a16="http://schemas.microsoft.com/office/drawing/2014/main" id="{9F779C8A-36AA-9F00-A299-8E09132E329E}"/>
                  </a:ext>
                </a:extLst>
              </p:cNvPr>
              <p:cNvSpPr/>
              <p:nvPr/>
            </p:nvSpPr>
            <p:spPr>
              <a:xfrm>
                <a:off x="3011437" y="4094564"/>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786" name="Graphic 641">
                <a:extLst>
                  <a:ext uri="{FF2B5EF4-FFF2-40B4-BE49-F238E27FC236}">
                    <a16:creationId xmlns:a16="http://schemas.microsoft.com/office/drawing/2014/main" id="{2FC1CAFE-5D93-FEBF-AC0A-B39A3AFBA802}"/>
                  </a:ext>
                </a:extLst>
              </p:cNvPr>
              <p:cNvGrpSpPr/>
              <p:nvPr/>
            </p:nvGrpSpPr>
            <p:grpSpPr>
              <a:xfrm>
                <a:off x="3011437" y="4094564"/>
                <a:ext cx="152940" cy="99438"/>
                <a:chOff x="3011437" y="4094564"/>
                <a:chExt cx="152940" cy="99438"/>
              </a:xfrm>
              <a:grpFill/>
            </p:grpSpPr>
            <p:sp>
              <p:nvSpPr>
                <p:cNvPr id="3787" name="Freeform: Shape 3786">
                  <a:extLst>
                    <a:ext uri="{FF2B5EF4-FFF2-40B4-BE49-F238E27FC236}">
                      <a16:creationId xmlns:a16="http://schemas.microsoft.com/office/drawing/2014/main" id="{A7B2559D-5B6F-66FF-B320-1438AA445355}"/>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88" name="Freeform: Shape 3787">
                  <a:extLst>
                    <a:ext uri="{FF2B5EF4-FFF2-40B4-BE49-F238E27FC236}">
                      <a16:creationId xmlns:a16="http://schemas.microsoft.com/office/drawing/2014/main" id="{F3CFA89C-B0C1-F230-CB0A-FE0408460026}"/>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3783" name="Freeform: Shape 3782">
              <a:extLst>
                <a:ext uri="{FF2B5EF4-FFF2-40B4-BE49-F238E27FC236}">
                  <a16:creationId xmlns:a16="http://schemas.microsoft.com/office/drawing/2014/main" id="{616F112C-5180-4875-B918-1D55930BB887}"/>
                </a:ext>
              </a:extLst>
            </p:cNvPr>
            <p:cNvSpPr/>
            <p:nvPr/>
          </p:nvSpPr>
          <p:spPr>
            <a:xfrm>
              <a:off x="7204833" y="5278735"/>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84" name="Freeform: Shape 3783">
              <a:extLst>
                <a:ext uri="{FF2B5EF4-FFF2-40B4-BE49-F238E27FC236}">
                  <a16:creationId xmlns:a16="http://schemas.microsoft.com/office/drawing/2014/main" id="{43D21326-0BE1-6963-F59A-A0F01B168A87}"/>
                </a:ext>
              </a:extLst>
            </p:cNvPr>
            <p:cNvSpPr/>
            <p:nvPr/>
          </p:nvSpPr>
          <p:spPr>
            <a:xfrm>
              <a:off x="7351167" y="5364344"/>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85" name="Group 484">
            <a:extLst>
              <a:ext uri="{FF2B5EF4-FFF2-40B4-BE49-F238E27FC236}">
                <a16:creationId xmlns:a16="http://schemas.microsoft.com/office/drawing/2014/main" id="{5AEE206B-E168-42DB-F103-1820E247B2DA}"/>
              </a:ext>
            </a:extLst>
          </p:cNvPr>
          <p:cNvGrpSpPr/>
          <p:nvPr/>
        </p:nvGrpSpPr>
        <p:grpSpPr>
          <a:xfrm>
            <a:off x="5561311" y="3661702"/>
            <a:ext cx="1572388" cy="801688"/>
            <a:chOff x="7050108" y="2630788"/>
            <a:chExt cx="1441868" cy="735142"/>
          </a:xfrm>
        </p:grpSpPr>
        <p:sp>
          <p:nvSpPr>
            <p:cNvPr id="9800" name="Freeform: Shape 9799">
              <a:extLst>
                <a:ext uri="{FF2B5EF4-FFF2-40B4-BE49-F238E27FC236}">
                  <a16:creationId xmlns:a16="http://schemas.microsoft.com/office/drawing/2014/main" id="{2BA47E28-FE9A-E205-83FA-8609D69C1676}"/>
                </a:ext>
              </a:extLst>
            </p:cNvPr>
            <p:cNvSpPr/>
            <p:nvPr/>
          </p:nvSpPr>
          <p:spPr>
            <a:xfrm>
              <a:off x="7052488" y="2911706"/>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B8B8B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01" name="Freeform: Shape 9800">
              <a:extLst>
                <a:ext uri="{FF2B5EF4-FFF2-40B4-BE49-F238E27FC236}">
                  <a16:creationId xmlns:a16="http://schemas.microsoft.com/office/drawing/2014/main" id="{C2A7BBBC-D2B3-32A2-B4E2-7E1775603270}"/>
                </a:ext>
              </a:extLst>
            </p:cNvPr>
            <p:cNvSpPr/>
            <p:nvPr/>
          </p:nvSpPr>
          <p:spPr>
            <a:xfrm>
              <a:off x="7050122" y="2909197"/>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8B8B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02" name="Freeform: Shape 9801">
              <a:extLst>
                <a:ext uri="{FF2B5EF4-FFF2-40B4-BE49-F238E27FC236}">
                  <a16:creationId xmlns:a16="http://schemas.microsoft.com/office/drawing/2014/main" id="{C1D1ADC4-E286-F19C-7639-19D5501780D4}"/>
                </a:ext>
              </a:extLst>
            </p:cNvPr>
            <p:cNvSpPr/>
            <p:nvPr/>
          </p:nvSpPr>
          <p:spPr>
            <a:xfrm>
              <a:off x="7344673" y="2863737"/>
              <a:ext cx="900013" cy="499693"/>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D0D0D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03" name="Freeform: Shape 9802">
              <a:extLst>
                <a:ext uri="{FF2B5EF4-FFF2-40B4-BE49-F238E27FC236}">
                  <a16:creationId xmlns:a16="http://schemas.microsoft.com/office/drawing/2014/main" id="{0DDFE7A6-214F-65EC-9420-97B124BED14C}"/>
                </a:ext>
              </a:extLst>
            </p:cNvPr>
            <p:cNvSpPr/>
            <p:nvPr/>
          </p:nvSpPr>
          <p:spPr>
            <a:xfrm>
              <a:off x="7052488" y="2692250"/>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04" name="Freeform: Shape 9803">
              <a:extLst>
                <a:ext uri="{FF2B5EF4-FFF2-40B4-BE49-F238E27FC236}">
                  <a16:creationId xmlns:a16="http://schemas.microsoft.com/office/drawing/2014/main" id="{9A5D2C26-5DC6-97C2-0995-B69A74998D30}"/>
                </a:ext>
              </a:extLst>
            </p:cNvPr>
            <p:cNvSpPr/>
            <p:nvPr/>
          </p:nvSpPr>
          <p:spPr>
            <a:xfrm>
              <a:off x="7050108" y="2689793"/>
              <a:ext cx="1196920" cy="395841"/>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D0D0D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05" name="Freeform: Shape 9804">
              <a:extLst>
                <a:ext uri="{FF2B5EF4-FFF2-40B4-BE49-F238E27FC236}">
                  <a16:creationId xmlns:a16="http://schemas.microsoft.com/office/drawing/2014/main" id="{ECB7698D-115C-B645-3C36-97B789594174}"/>
                </a:ext>
              </a:extLst>
            </p:cNvPr>
            <p:cNvSpPr/>
            <p:nvPr/>
          </p:nvSpPr>
          <p:spPr>
            <a:xfrm>
              <a:off x="7812628" y="2666111"/>
              <a:ext cx="188167" cy="129346"/>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806" name="Graphic 653">
              <a:extLst>
                <a:ext uri="{FF2B5EF4-FFF2-40B4-BE49-F238E27FC236}">
                  <a16:creationId xmlns:a16="http://schemas.microsoft.com/office/drawing/2014/main" id="{D5727977-0221-3B38-EE6F-FBA4935537F6}"/>
                </a:ext>
              </a:extLst>
            </p:cNvPr>
            <p:cNvGrpSpPr/>
            <p:nvPr/>
          </p:nvGrpSpPr>
          <p:grpSpPr>
            <a:xfrm>
              <a:off x="7812628" y="2666111"/>
              <a:ext cx="188167" cy="129343"/>
              <a:chOff x="5730744" y="3445287"/>
              <a:chExt cx="152940" cy="99438"/>
            </a:xfrm>
            <a:gradFill>
              <a:gsLst>
                <a:gs pos="100000">
                  <a:srgbClr val="F0F0F0"/>
                </a:gs>
                <a:gs pos="0">
                  <a:srgbClr val="D0D0D0"/>
                </a:gs>
              </a:gsLst>
              <a:lin ang="0" scaled="1"/>
            </a:gradFill>
          </p:grpSpPr>
          <p:sp>
            <p:nvSpPr>
              <p:cNvPr id="4672" name="Freeform: Shape 4671">
                <a:extLst>
                  <a:ext uri="{FF2B5EF4-FFF2-40B4-BE49-F238E27FC236}">
                    <a16:creationId xmlns:a16="http://schemas.microsoft.com/office/drawing/2014/main" id="{A284DABB-622A-6888-A3D5-2CA4BA53E78B}"/>
                  </a:ext>
                </a:extLst>
              </p:cNvPr>
              <p:cNvSpPr/>
              <p:nvPr/>
            </p:nvSpPr>
            <p:spPr>
              <a:xfrm>
                <a:off x="5730744" y="3445287"/>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73" name="Freeform: Shape 4672">
                <a:extLst>
                  <a:ext uri="{FF2B5EF4-FFF2-40B4-BE49-F238E27FC236}">
                    <a16:creationId xmlns:a16="http://schemas.microsoft.com/office/drawing/2014/main" id="{4570159A-7204-7066-AB61-034539746CA7}"/>
                  </a:ext>
                </a:extLst>
              </p:cNvPr>
              <p:cNvSpPr/>
              <p:nvPr/>
            </p:nvSpPr>
            <p:spPr>
              <a:xfrm>
                <a:off x="5730744" y="3445287"/>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9807" name="Freeform: Shape 9806">
              <a:extLst>
                <a:ext uri="{FF2B5EF4-FFF2-40B4-BE49-F238E27FC236}">
                  <a16:creationId xmlns:a16="http://schemas.microsoft.com/office/drawing/2014/main" id="{4E832D08-5660-6D72-36F4-EF27ECD0CDAA}"/>
                </a:ext>
              </a:extLst>
            </p:cNvPr>
            <p:cNvSpPr/>
            <p:nvPr/>
          </p:nvSpPr>
          <p:spPr>
            <a:xfrm>
              <a:off x="7598261" y="2718449"/>
              <a:ext cx="188153" cy="129335"/>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808" name="Graphic 653">
              <a:extLst>
                <a:ext uri="{FF2B5EF4-FFF2-40B4-BE49-F238E27FC236}">
                  <a16:creationId xmlns:a16="http://schemas.microsoft.com/office/drawing/2014/main" id="{41EAA31C-1FDF-A806-044F-F94E6196EA55}"/>
                </a:ext>
              </a:extLst>
            </p:cNvPr>
            <p:cNvGrpSpPr/>
            <p:nvPr/>
          </p:nvGrpSpPr>
          <p:grpSpPr>
            <a:xfrm>
              <a:off x="7598262" y="2718449"/>
              <a:ext cx="188153" cy="129328"/>
              <a:chOff x="5556510" y="3485524"/>
              <a:chExt cx="152929" cy="99427"/>
            </a:xfrm>
            <a:gradFill>
              <a:gsLst>
                <a:gs pos="100000">
                  <a:srgbClr val="F0F0F0"/>
                </a:gs>
                <a:gs pos="0">
                  <a:srgbClr val="D0D0D0"/>
                </a:gs>
              </a:gsLst>
              <a:lin ang="0" scaled="1"/>
            </a:gradFill>
          </p:grpSpPr>
          <p:sp>
            <p:nvSpPr>
              <p:cNvPr id="4663" name="Freeform: Shape 4662">
                <a:extLst>
                  <a:ext uri="{FF2B5EF4-FFF2-40B4-BE49-F238E27FC236}">
                    <a16:creationId xmlns:a16="http://schemas.microsoft.com/office/drawing/2014/main" id="{FD9698F7-1462-57C0-FE38-E362D8BA2B73}"/>
                  </a:ext>
                </a:extLst>
              </p:cNvPr>
              <p:cNvSpPr/>
              <p:nvPr/>
            </p:nvSpPr>
            <p:spPr>
              <a:xfrm>
                <a:off x="5556510" y="3485524"/>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71" name="Freeform: Shape 4670">
                <a:extLst>
                  <a:ext uri="{FF2B5EF4-FFF2-40B4-BE49-F238E27FC236}">
                    <a16:creationId xmlns:a16="http://schemas.microsoft.com/office/drawing/2014/main" id="{35AFC181-2FC8-B5FA-CBC3-138BEE367E1B}"/>
                  </a:ext>
                </a:extLst>
              </p:cNvPr>
              <p:cNvSpPr/>
              <p:nvPr/>
            </p:nvSpPr>
            <p:spPr>
              <a:xfrm>
                <a:off x="5556510" y="3485524"/>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9809" name="Freeform: Shape 9808">
              <a:extLst>
                <a:ext uri="{FF2B5EF4-FFF2-40B4-BE49-F238E27FC236}">
                  <a16:creationId xmlns:a16="http://schemas.microsoft.com/office/drawing/2014/main" id="{09520DEB-FF1E-5DB0-F82E-CB22BCC57CA0}"/>
                </a:ext>
              </a:extLst>
            </p:cNvPr>
            <p:cNvSpPr/>
            <p:nvPr/>
          </p:nvSpPr>
          <p:spPr>
            <a:xfrm>
              <a:off x="7744604" y="2804045"/>
              <a:ext cx="188153" cy="129357"/>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810" name="Graphic 653">
              <a:extLst>
                <a:ext uri="{FF2B5EF4-FFF2-40B4-BE49-F238E27FC236}">
                  <a16:creationId xmlns:a16="http://schemas.microsoft.com/office/drawing/2014/main" id="{DE9D1D16-FC84-A7B8-C0ED-4B320740FEED}"/>
                </a:ext>
              </a:extLst>
            </p:cNvPr>
            <p:cNvGrpSpPr/>
            <p:nvPr/>
          </p:nvGrpSpPr>
          <p:grpSpPr>
            <a:xfrm>
              <a:off x="7744605" y="2804045"/>
              <a:ext cx="188153" cy="129357"/>
              <a:chOff x="5675456" y="3551330"/>
              <a:chExt cx="152929" cy="99449"/>
            </a:xfrm>
            <a:gradFill>
              <a:gsLst>
                <a:gs pos="100000">
                  <a:srgbClr val="F0F0F0"/>
                </a:gs>
                <a:gs pos="0">
                  <a:srgbClr val="D0D0D0"/>
                </a:gs>
              </a:gsLst>
              <a:lin ang="0" scaled="1"/>
            </a:gradFill>
          </p:grpSpPr>
          <p:sp>
            <p:nvSpPr>
              <p:cNvPr id="4653" name="Freeform: Shape 4652">
                <a:extLst>
                  <a:ext uri="{FF2B5EF4-FFF2-40B4-BE49-F238E27FC236}">
                    <a16:creationId xmlns:a16="http://schemas.microsoft.com/office/drawing/2014/main" id="{37F57314-5019-0B0B-8E0E-D35713517CF2}"/>
                  </a:ext>
                </a:extLst>
              </p:cNvPr>
              <p:cNvSpPr/>
              <p:nvPr/>
            </p:nvSpPr>
            <p:spPr>
              <a:xfrm>
                <a:off x="5675456" y="3551330"/>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54" name="Freeform: Shape 4653">
                <a:extLst>
                  <a:ext uri="{FF2B5EF4-FFF2-40B4-BE49-F238E27FC236}">
                    <a16:creationId xmlns:a16="http://schemas.microsoft.com/office/drawing/2014/main" id="{4C56D350-E8DD-A98A-2B26-B1A57640DECC}"/>
                  </a:ext>
                </a:extLst>
              </p:cNvPr>
              <p:cNvSpPr/>
              <p:nvPr/>
            </p:nvSpPr>
            <p:spPr>
              <a:xfrm>
                <a:off x="5675456" y="3551330"/>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9811" name="Freeform: Shape 9810">
              <a:extLst>
                <a:ext uri="{FF2B5EF4-FFF2-40B4-BE49-F238E27FC236}">
                  <a16:creationId xmlns:a16="http://schemas.microsoft.com/office/drawing/2014/main" id="{E887AA8A-B60C-6C46-EC66-5B2A536759CB}"/>
                </a:ext>
              </a:extLst>
            </p:cNvPr>
            <p:cNvSpPr/>
            <p:nvPr/>
          </p:nvSpPr>
          <p:spPr>
            <a:xfrm>
              <a:off x="7959012" y="2751722"/>
              <a:ext cx="188167" cy="129357"/>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812" name="Graphic 653">
              <a:extLst>
                <a:ext uri="{FF2B5EF4-FFF2-40B4-BE49-F238E27FC236}">
                  <a16:creationId xmlns:a16="http://schemas.microsoft.com/office/drawing/2014/main" id="{6C82B8E9-E2E2-4628-5769-D4C82A4B3F16}"/>
                </a:ext>
              </a:extLst>
            </p:cNvPr>
            <p:cNvGrpSpPr/>
            <p:nvPr/>
          </p:nvGrpSpPr>
          <p:grpSpPr>
            <a:xfrm>
              <a:off x="7959013" y="2751722"/>
              <a:ext cx="188167" cy="129357"/>
              <a:chOff x="5849725" y="3511104"/>
              <a:chExt cx="152940" cy="99449"/>
            </a:xfrm>
            <a:gradFill>
              <a:gsLst>
                <a:gs pos="100000">
                  <a:srgbClr val="F0F0F0"/>
                </a:gs>
                <a:gs pos="0">
                  <a:srgbClr val="D0D0D0"/>
                </a:gs>
              </a:gsLst>
              <a:lin ang="0" scaled="1"/>
            </a:gradFill>
          </p:grpSpPr>
          <p:sp>
            <p:nvSpPr>
              <p:cNvPr id="4545" name="Freeform: Shape 4544">
                <a:extLst>
                  <a:ext uri="{FF2B5EF4-FFF2-40B4-BE49-F238E27FC236}">
                    <a16:creationId xmlns:a16="http://schemas.microsoft.com/office/drawing/2014/main" id="{0B3160BC-454F-8AC3-55A8-C2DA1674BE4A}"/>
                  </a:ext>
                </a:extLst>
              </p:cNvPr>
              <p:cNvSpPr/>
              <p:nvPr/>
            </p:nvSpPr>
            <p:spPr>
              <a:xfrm>
                <a:off x="5849725" y="3511104"/>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49" name="Freeform: Shape 4648">
                <a:extLst>
                  <a:ext uri="{FF2B5EF4-FFF2-40B4-BE49-F238E27FC236}">
                    <a16:creationId xmlns:a16="http://schemas.microsoft.com/office/drawing/2014/main" id="{E8B3504D-C58E-91A2-E14B-5676B08C2025}"/>
                  </a:ext>
                </a:extLst>
              </p:cNvPr>
              <p:cNvSpPr/>
              <p:nvPr/>
            </p:nvSpPr>
            <p:spPr>
              <a:xfrm>
                <a:off x="5849725" y="3511104"/>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9813" name="Freeform: Shape 9812">
              <a:extLst>
                <a:ext uri="{FF2B5EF4-FFF2-40B4-BE49-F238E27FC236}">
                  <a16:creationId xmlns:a16="http://schemas.microsoft.com/office/drawing/2014/main" id="{2CAD245C-0188-AC47-5657-B02D5368218C}"/>
                </a:ext>
              </a:extLst>
            </p:cNvPr>
            <p:cNvSpPr/>
            <p:nvPr/>
          </p:nvSpPr>
          <p:spPr>
            <a:xfrm>
              <a:off x="7812964" y="2630788"/>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14" name="Freeform: Shape 9813">
              <a:extLst>
                <a:ext uri="{FF2B5EF4-FFF2-40B4-BE49-F238E27FC236}">
                  <a16:creationId xmlns:a16="http://schemas.microsoft.com/office/drawing/2014/main" id="{68F2FE19-DCCE-9933-04CA-0A81488EACBB}"/>
                </a:ext>
              </a:extLst>
            </p:cNvPr>
            <p:cNvSpPr/>
            <p:nvPr/>
          </p:nvSpPr>
          <p:spPr>
            <a:xfrm>
              <a:off x="7598557" y="2683122"/>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15" name="Freeform: Shape 9814">
              <a:extLst>
                <a:ext uri="{FF2B5EF4-FFF2-40B4-BE49-F238E27FC236}">
                  <a16:creationId xmlns:a16="http://schemas.microsoft.com/office/drawing/2014/main" id="{9784E309-0893-5927-4FED-1C4FD1D99DAB}"/>
                </a:ext>
              </a:extLst>
            </p:cNvPr>
            <p:cNvSpPr/>
            <p:nvPr/>
          </p:nvSpPr>
          <p:spPr>
            <a:xfrm>
              <a:off x="7959278" y="2716396"/>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16" name="Freeform: Shape 9815">
              <a:extLst>
                <a:ext uri="{FF2B5EF4-FFF2-40B4-BE49-F238E27FC236}">
                  <a16:creationId xmlns:a16="http://schemas.microsoft.com/office/drawing/2014/main" id="{50D6D399-0CA0-F7E5-63A6-86CE44316D92}"/>
                </a:ext>
              </a:extLst>
            </p:cNvPr>
            <p:cNvSpPr/>
            <p:nvPr/>
          </p:nvSpPr>
          <p:spPr>
            <a:xfrm>
              <a:off x="7744901" y="2768720"/>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17" name="Freeform: Shape 9816">
              <a:extLst>
                <a:ext uri="{FF2B5EF4-FFF2-40B4-BE49-F238E27FC236}">
                  <a16:creationId xmlns:a16="http://schemas.microsoft.com/office/drawing/2014/main" id="{373342E6-702D-083E-8D69-2D3FE69D2B82}"/>
                </a:ext>
              </a:extLst>
            </p:cNvPr>
            <p:cNvSpPr/>
            <p:nvPr/>
          </p:nvSpPr>
          <p:spPr>
            <a:xfrm>
              <a:off x="7363095" y="2775846"/>
              <a:ext cx="188167" cy="129348"/>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818" name="Graphic 653">
              <a:extLst>
                <a:ext uri="{FF2B5EF4-FFF2-40B4-BE49-F238E27FC236}">
                  <a16:creationId xmlns:a16="http://schemas.microsoft.com/office/drawing/2014/main" id="{9FA0EE72-A0D2-E347-A8AE-DCFC9525E8DB}"/>
                </a:ext>
              </a:extLst>
            </p:cNvPr>
            <p:cNvGrpSpPr/>
            <p:nvPr/>
          </p:nvGrpSpPr>
          <p:grpSpPr>
            <a:xfrm>
              <a:off x="7363095" y="2775846"/>
              <a:ext cx="188167" cy="129343"/>
              <a:chOff x="5365368" y="3529651"/>
              <a:chExt cx="152940" cy="99438"/>
            </a:xfrm>
            <a:gradFill>
              <a:gsLst>
                <a:gs pos="100000">
                  <a:srgbClr val="F0F0F0"/>
                </a:gs>
                <a:gs pos="0">
                  <a:srgbClr val="D0D0D0"/>
                </a:gs>
              </a:gsLst>
              <a:lin ang="0" scaled="1"/>
            </a:gradFill>
          </p:grpSpPr>
          <p:sp>
            <p:nvSpPr>
              <p:cNvPr id="9837" name="Freeform: Shape 9836">
                <a:extLst>
                  <a:ext uri="{FF2B5EF4-FFF2-40B4-BE49-F238E27FC236}">
                    <a16:creationId xmlns:a16="http://schemas.microsoft.com/office/drawing/2014/main" id="{88C23F49-EB9E-CAFB-0E39-1885CD5078B1}"/>
                  </a:ext>
                </a:extLst>
              </p:cNvPr>
              <p:cNvSpPr/>
              <p:nvPr/>
            </p:nvSpPr>
            <p:spPr>
              <a:xfrm>
                <a:off x="5365368" y="3529651"/>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44" name="Freeform: Shape 4543">
                <a:extLst>
                  <a:ext uri="{FF2B5EF4-FFF2-40B4-BE49-F238E27FC236}">
                    <a16:creationId xmlns:a16="http://schemas.microsoft.com/office/drawing/2014/main" id="{B9B1F678-F4FF-CBF3-AF62-F45A11AA1486}"/>
                  </a:ext>
                </a:extLst>
              </p:cNvPr>
              <p:cNvSpPr/>
              <p:nvPr/>
            </p:nvSpPr>
            <p:spPr>
              <a:xfrm>
                <a:off x="5365368" y="3529651"/>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9819" name="Freeform: Shape 9818">
              <a:extLst>
                <a:ext uri="{FF2B5EF4-FFF2-40B4-BE49-F238E27FC236}">
                  <a16:creationId xmlns:a16="http://schemas.microsoft.com/office/drawing/2014/main" id="{3B3B104F-9353-8E7A-F61F-0ECA39A0F955}"/>
                </a:ext>
              </a:extLst>
            </p:cNvPr>
            <p:cNvSpPr/>
            <p:nvPr/>
          </p:nvSpPr>
          <p:spPr>
            <a:xfrm>
              <a:off x="7148700" y="2828169"/>
              <a:ext cx="188153" cy="129346"/>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820" name="Graphic 653">
              <a:extLst>
                <a:ext uri="{FF2B5EF4-FFF2-40B4-BE49-F238E27FC236}">
                  <a16:creationId xmlns:a16="http://schemas.microsoft.com/office/drawing/2014/main" id="{0B2199B0-FC8C-98AF-46C4-770BBE4B2DB8}"/>
                </a:ext>
              </a:extLst>
            </p:cNvPr>
            <p:cNvGrpSpPr/>
            <p:nvPr/>
          </p:nvGrpSpPr>
          <p:grpSpPr>
            <a:xfrm>
              <a:off x="7148700" y="2828169"/>
              <a:ext cx="188153" cy="129343"/>
              <a:chOff x="5191110" y="3569876"/>
              <a:chExt cx="152929" cy="99438"/>
            </a:xfrm>
            <a:gradFill>
              <a:gsLst>
                <a:gs pos="100000">
                  <a:srgbClr val="F0F0F0"/>
                </a:gs>
                <a:gs pos="0">
                  <a:srgbClr val="D0D0D0"/>
                </a:gs>
              </a:gsLst>
              <a:lin ang="0" scaled="1"/>
            </a:gradFill>
          </p:grpSpPr>
          <p:sp>
            <p:nvSpPr>
              <p:cNvPr id="9835" name="Freeform: Shape 9834">
                <a:extLst>
                  <a:ext uri="{FF2B5EF4-FFF2-40B4-BE49-F238E27FC236}">
                    <a16:creationId xmlns:a16="http://schemas.microsoft.com/office/drawing/2014/main" id="{7891731B-DA84-377C-C5C3-C72914FFC8E8}"/>
                  </a:ext>
                </a:extLst>
              </p:cNvPr>
              <p:cNvSpPr/>
              <p:nvPr/>
            </p:nvSpPr>
            <p:spPr>
              <a:xfrm>
                <a:off x="5191110" y="3569876"/>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36" name="Freeform: Shape 9835">
                <a:extLst>
                  <a:ext uri="{FF2B5EF4-FFF2-40B4-BE49-F238E27FC236}">
                    <a16:creationId xmlns:a16="http://schemas.microsoft.com/office/drawing/2014/main" id="{5E7C8EAC-16AE-C23E-B18D-E24DB7B3724C}"/>
                  </a:ext>
                </a:extLst>
              </p:cNvPr>
              <p:cNvSpPr/>
              <p:nvPr/>
            </p:nvSpPr>
            <p:spPr>
              <a:xfrm>
                <a:off x="5191110" y="3569876"/>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9821" name="Freeform: Shape 9820">
              <a:extLst>
                <a:ext uri="{FF2B5EF4-FFF2-40B4-BE49-F238E27FC236}">
                  <a16:creationId xmlns:a16="http://schemas.microsoft.com/office/drawing/2014/main" id="{0DE0B3D6-8980-EE03-B75B-13161D6D7226}"/>
                </a:ext>
              </a:extLst>
            </p:cNvPr>
            <p:cNvSpPr/>
            <p:nvPr/>
          </p:nvSpPr>
          <p:spPr>
            <a:xfrm>
              <a:off x="7295043" y="2913765"/>
              <a:ext cx="188180" cy="129369"/>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822" name="Graphic 653">
              <a:extLst>
                <a:ext uri="{FF2B5EF4-FFF2-40B4-BE49-F238E27FC236}">
                  <a16:creationId xmlns:a16="http://schemas.microsoft.com/office/drawing/2014/main" id="{F3E1E112-8CC9-8391-0260-D58594D97E67}"/>
                </a:ext>
              </a:extLst>
            </p:cNvPr>
            <p:cNvGrpSpPr/>
            <p:nvPr/>
          </p:nvGrpSpPr>
          <p:grpSpPr>
            <a:xfrm>
              <a:off x="7295043" y="2913765"/>
              <a:ext cx="188180" cy="129373"/>
              <a:chOff x="5310056" y="3635682"/>
              <a:chExt cx="152951" cy="99461"/>
            </a:xfrm>
            <a:gradFill>
              <a:gsLst>
                <a:gs pos="100000">
                  <a:srgbClr val="F0F0F0"/>
                </a:gs>
                <a:gs pos="0">
                  <a:srgbClr val="D0D0D0"/>
                </a:gs>
              </a:gsLst>
              <a:lin ang="0" scaled="1"/>
            </a:gradFill>
          </p:grpSpPr>
          <p:sp>
            <p:nvSpPr>
              <p:cNvPr id="9832" name="Freeform: Shape 9831">
                <a:extLst>
                  <a:ext uri="{FF2B5EF4-FFF2-40B4-BE49-F238E27FC236}">
                    <a16:creationId xmlns:a16="http://schemas.microsoft.com/office/drawing/2014/main" id="{624EA8CB-3457-DF28-A8C6-A7FA9BB0B49B}"/>
                  </a:ext>
                </a:extLst>
              </p:cNvPr>
              <p:cNvSpPr/>
              <p:nvPr/>
            </p:nvSpPr>
            <p:spPr>
              <a:xfrm>
                <a:off x="5310056" y="3635682"/>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33" name="Freeform: Shape 9832">
                <a:extLst>
                  <a:ext uri="{FF2B5EF4-FFF2-40B4-BE49-F238E27FC236}">
                    <a16:creationId xmlns:a16="http://schemas.microsoft.com/office/drawing/2014/main" id="{ED2C34A4-6A0C-36DA-16A5-4CADA8D946C7}"/>
                  </a:ext>
                </a:extLst>
              </p:cNvPr>
              <p:cNvSpPr/>
              <p:nvPr/>
            </p:nvSpPr>
            <p:spPr>
              <a:xfrm>
                <a:off x="5310056" y="3635682"/>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9823" name="Freeform: Shape 9822">
              <a:extLst>
                <a:ext uri="{FF2B5EF4-FFF2-40B4-BE49-F238E27FC236}">
                  <a16:creationId xmlns:a16="http://schemas.microsoft.com/office/drawing/2014/main" id="{D1E9E4DF-47D7-A4FD-7B5C-8D15ACD5A54E}"/>
                </a:ext>
              </a:extLst>
            </p:cNvPr>
            <p:cNvSpPr/>
            <p:nvPr/>
          </p:nvSpPr>
          <p:spPr>
            <a:xfrm>
              <a:off x="7509451" y="2861457"/>
              <a:ext cx="188167" cy="129343"/>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824" name="Graphic 653">
              <a:extLst>
                <a:ext uri="{FF2B5EF4-FFF2-40B4-BE49-F238E27FC236}">
                  <a16:creationId xmlns:a16="http://schemas.microsoft.com/office/drawing/2014/main" id="{C001459B-11AB-8DD5-D732-3E5E91FECE79}"/>
                </a:ext>
              </a:extLst>
            </p:cNvPr>
            <p:cNvGrpSpPr/>
            <p:nvPr/>
          </p:nvGrpSpPr>
          <p:grpSpPr>
            <a:xfrm>
              <a:off x="7509451" y="2861457"/>
              <a:ext cx="188167" cy="129343"/>
              <a:chOff x="5484325" y="3595468"/>
              <a:chExt cx="152940" cy="99438"/>
            </a:xfrm>
            <a:gradFill>
              <a:gsLst>
                <a:gs pos="100000">
                  <a:srgbClr val="F0F0F0"/>
                </a:gs>
                <a:gs pos="0">
                  <a:srgbClr val="D0D0D0"/>
                </a:gs>
              </a:gsLst>
              <a:lin ang="0" scaled="1"/>
            </a:gradFill>
          </p:grpSpPr>
          <p:sp>
            <p:nvSpPr>
              <p:cNvPr id="9830" name="Freeform: Shape 9829">
                <a:extLst>
                  <a:ext uri="{FF2B5EF4-FFF2-40B4-BE49-F238E27FC236}">
                    <a16:creationId xmlns:a16="http://schemas.microsoft.com/office/drawing/2014/main" id="{954F3BB7-47EA-78A0-B092-1754341DC7F4}"/>
                  </a:ext>
                </a:extLst>
              </p:cNvPr>
              <p:cNvSpPr/>
              <p:nvPr/>
            </p:nvSpPr>
            <p:spPr>
              <a:xfrm>
                <a:off x="5484325" y="3595468"/>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31" name="Freeform: Shape 9830">
                <a:extLst>
                  <a:ext uri="{FF2B5EF4-FFF2-40B4-BE49-F238E27FC236}">
                    <a16:creationId xmlns:a16="http://schemas.microsoft.com/office/drawing/2014/main" id="{3458C03D-9067-6AEC-E182-C5229CB01CE5}"/>
                  </a:ext>
                </a:extLst>
              </p:cNvPr>
              <p:cNvSpPr/>
              <p:nvPr/>
            </p:nvSpPr>
            <p:spPr>
              <a:xfrm>
                <a:off x="5484325" y="3595468"/>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9825" name="Freeform: Shape 9824">
              <a:extLst>
                <a:ext uri="{FF2B5EF4-FFF2-40B4-BE49-F238E27FC236}">
                  <a16:creationId xmlns:a16="http://schemas.microsoft.com/office/drawing/2014/main" id="{7F3049E6-03E3-3213-A4E2-70A08681A94F}"/>
                </a:ext>
              </a:extLst>
            </p:cNvPr>
            <p:cNvSpPr/>
            <p:nvPr/>
          </p:nvSpPr>
          <p:spPr>
            <a:xfrm>
              <a:off x="7363414" y="2740516"/>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26" name="Freeform: Shape 9825">
              <a:extLst>
                <a:ext uri="{FF2B5EF4-FFF2-40B4-BE49-F238E27FC236}">
                  <a16:creationId xmlns:a16="http://schemas.microsoft.com/office/drawing/2014/main" id="{7F3CD53E-6F99-C3EF-85EE-167EA81AFD0B}"/>
                </a:ext>
              </a:extLst>
            </p:cNvPr>
            <p:cNvSpPr/>
            <p:nvPr/>
          </p:nvSpPr>
          <p:spPr>
            <a:xfrm>
              <a:off x="7149014" y="2792842"/>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27" name="Freeform: Shape 9826">
              <a:extLst>
                <a:ext uri="{FF2B5EF4-FFF2-40B4-BE49-F238E27FC236}">
                  <a16:creationId xmlns:a16="http://schemas.microsoft.com/office/drawing/2014/main" id="{185C4A9E-6E17-208B-3C6E-5D89C72F24D9}"/>
                </a:ext>
              </a:extLst>
            </p:cNvPr>
            <p:cNvSpPr/>
            <p:nvPr/>
          </p:nvSpPr>
          <p:spPr>
            <a:xfrm>
              <a:off x="7509748" y="2826125"/>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28" name="Freeform: Shape 9827">
              <a:extLst>
                <a:ext uri="{FF2B5EF4-FFF2-40B4-BE49-F238E27FC236}">
                  <a16:creationId xmlns:a16="http://schemas.microsoft.com/office/drawing/2014/main" id="{1221DDCA-786E-CC0C-40D6-B9E4ACEBDAC4}"/>
                </a:ext>
              </a:extLst>
            </p:cNvPr>
            <p:cNvSpPr/>
            <p:nvPr/>
          </p:nvSpPr>
          <p:spPr>
            <a:xfrm>
              <a:off x="7295348" y="2878449"/>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829" name="RectangleLegend2">
              <a:extLst>
                <a:ext uri="{FF2B5EF4-FFF2-40B4-BE49-F238E27FC236}">
                  <a16:creationId xmlns:a16="http://schemas.microsoft.com/office/drawing/2014/main" id="{43869FA4-B705-17B1-FDCD-C1867838EDEF}"/>
                </a:ext>
              </a:extLst>
            </p:cNvPr>
            <p:cNvSpPr>
              <a:spLocks/>
            </p:cNvSpPr>
            <p:nvPr/>
          </p:nvSpPr>
          <p:spPr>
            <a:xfrm>
              <a:off x="7089331" y="3004199"/>
              <a:ext cx="1402645" cy="210495"/>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Ordering tool for R&amp;D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roduction</a:t>
              </a:r>
            </a:p>
          </p:txBody>
        </p:sp>
      </p:grpSp>
      <p:grpSp>
        <p:nvGrpSpPr>
          <p:cNvPr id="5039" name="Group 5038">
            <a:extLst>
              <a:ext uri="{FF2B5EF4-FFF2-40B4-BE49-F238E27FC236}">
                <a16:creationId xmlns:a16="http://schemas.microsoft.com/office/drawing/2014/main" id="{1E036DDB-BA8C-408F-84D2-7ADA5EA6915D}"/>
              </a:ext>
            </a:extLst>
          </p:cNvPr>
          <p:cNvGrpSpPr/>
          <p:nvPr/>
        </p:nvGrpSpPr>
        <p:grpSpPr>
          <a:xfrm>
            <a:off x="6284577" y="3168205"/>
            <a:ext cx="1572602" cy="801690"/>
            <a:chOff x="6452087" y="3417415"/>
            <a:chExt cx="1442064" cy="735143"/>
          </a:xfrm>
        </p:grpSpPr>
        <p:sp>
          <p:nvSpPr>
            <p:cNvPr id="5040" name="Freeform: Shape 5039">
              <a:extLst>
                <a:ext uri="{FF2B5EF4-FFF2-40B4-BE49-F238E27FC236}">
                  <a16:creationId xmlns:a16="http://schemas.microsoft.com/office/drawing/2014/main" id="{E2B182CF-50F5-0176-085B-8C15473DC203}"/>
                </a:ext>
              </a:extLst>
            </p:cNvPr>
            <p:cNvSpPr/>
            <p:nvPr/>
          </p:nvSpPr>
          <p:spPr>
            <a:xfrm>
              <a:off x="6454467" y="3698333"/>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8D982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41" name="Freeform: Shape 5040">
              <a:extLst>
                <a:ext uri="{FF2B5EF4-FFF2-40B4-BE49-F238E27FC236}">
                  <a16:creationId xmlns:a16="http://schemas.microsoft.com/office/drawing/2014/main" id="{D6ABB849-02A9-C469-4DE3-02189D8D28A6}"/>
                </a:ext>
              </a:extLst>
            </p:cNvPr>
            <p:cNvSpPr/>
            <p:nvPr/>
          </p:nvSpPr>
          <p:spPr>
            <a:xfrm>
              <a:off x="6452102" y="3695824"/>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B900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42" name="Freeform: Shape 5041">
              <a:extLst>
                <a:ext uri="{FF2B5EF4-FFF2-40B4-BE49-F238E27FC236}">
                  <a16:creationId xmlns:a16="http://schemas.microsoft.com/office/drawing/2014/main" id="{BFF0659C-47E6-663D-A0C6-76E1F73B3714}"/>
                </a:ext>
              </a:extLst>
            </p:cNvPr>
            <p:cNvSpPr/>
            <p:nvPr/>
          </p:nvSpPr>
          <p:spPr>
            <a:xfrm>
              <a:off x="6746652" y="3650364"/>
              <a:ext cx="900013" cy="499693"/>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BECE33"/>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43" name="Freeform: Shape 5042">
              <a:extLst>
                <a:ext uri="{FF2B5EF4-FFF2-40B4-BE49-F238E27FC236}">
                  <a16:creationId xmlns:a16="http://schemas.microsoft.com/office/drawing/2014/main" id="{70C2E9B8-38E0-5E84-64D7-228A7A3CAE46}"/>
                </a:ext>
              </a:extLst>
            </p:cNvPr>
            <p:cNvSpPr/>
            <p:nvPr/>
          </p:nvSpPr>
          <p:spPr>
            <a:xfrm>
              <a:off x="6744286" y="3647847"/>
              <a:ext cx="904715" cy="504711"/>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44" name="Freeform: Shape 5043">
              <a:extLst>
                <a:ext uri="{FF2B5EF4-FFF2-40B4-BE49-F238E27FC236}">
                  <a16:creationId xmlns:a16="http://schemas.microsoft.com/office/drawing/2014/main" id="{52C0F95F-C78E-EAAC-2E0D-9A6E9030F7F6}"/>
                </a:ext>
              </a:extLst>
            </p:cNvPr>
            <p:cNvSpPr/>
            <p:nvPr/>
          </p:nvSpPr>
          <p:spPr>
            <a:xfrm>
              <a:off x="6454467" y="3478877"/>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45" name="Freeform: Shape 5044">
              <a:extLst>
                <a:ext uri="{FF2B5EF4-FFF2-40B4-BE49-F238E27FC236}">
                  <a16:creationId xmlns:a16="http://schemas.microsoft.com/office/drawing/2014/main" id="{3CE46420-7D9F-5868-3684-090B58CC74E2}"/>
                </a:ext>
              </a:extLst>
            </p:cNvPr>
            <p:cNvSpPr/>
            <p:nvPr/>
          </p:nvSpPr>
          <p:spPr>
            <a:xfrm>
              <a:off x="6452087" y="3476420"/>
              <a:ext cx="1196920" cy="395841"/>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FFE9BA"/>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46" name="Graphic 648">
              <a:extLst>
                <a:ext uri="{FF2B5EF4-FFF2-40B4-BE49-F238E27FC236}">
                  <a16:creationId xmlns:a16="http://schemas.microsoft.com/office/drawing/2014/main" id="{F9330776-8C4A-0DC9-B152-2A1B78428EF9}"/>
                </a:ext>
              </a:extLst>
            </p:cNvPr>
            <p:cNvGrpSpPr/>
            <p:nvPr/>
          </p:nvGrpSpPr>
          <p:grpSpPr>
            <a:xfrm>
              <a:off x="7214607" y="3452738"/>
              <a:ext cx="188167" cy="129346"/>
              <a:chOff x="5076275" y="4141580"/>
              <a:chExt cx="152940" cy="99440"/>
            </a:xfrm>
            <a:gradFill>
              <a:gsLst>
                <a:gs pos="100000">
                  <a:srgbClr val="D0DB67"/>
                </a:gs>
                <a:gs pos="0">
                  <a:srgbClr val="BECE33"/>
                </a:gs>
              </a:gsLst>
              <a:lin ang="0" scaled="1"/>
            </a:gradFill>
          </p:grpSpPr>
          <p:sp>
            <p:nvSpPr>
              <p:cNvPr id="5146" name="Freeform: Shape 5145">
                <a:extLst>
                  <a:ext uri="{FF2B5EF4-FFF2-40B4-BE49-F238E27FC236}">
                    <a16:creationId xmlns:a16="http://schemas.microsoft.com/office/drawing/2014/main" id="{067B5DC0-E40B-0DC3-F6BA-8058424FBFE6}"/>
                  </a:ext>
                </a:extLst>
              </p:cNvPr>
              <p:cNvSpPr/>
              <p:nvPr/>
            </p:nvSpPr>
            <p:spPr>
              <a:xfrm>
                <a:off x="5076275" y="414158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147" name="Graphic 648">
                <a:extLst>
                  <a:ext uri="{FF2B5EF4-FFF2-40B4-BE49-F238E27FC236}">
                    <a16:creationId xmlns:a16="http://schemas.microsoft.com/office/drawing/2014/main" id="{ADDBF845-8F2F-A1F3-8BE4-3B081AF98078}"/>
                  </a:ext>
                </a:extLst>
              </p:cNvPr>
              <p:cNvGrpSpPr/>
              <p:nvPr/>
            </p:nvGrpSpPr>
            <p:grpSpPr>
              <a:xfrm>
                <a:off x="5076275" y="4141580"/>
                <a:ext cx="152940" cy="99438"/>
                <a:chOff x="5076275" y="4141580"/>
                <a:chExt cx="152940" cy="99438"/>
              </a:xfrm>
              <a:grpFill/>
            </p:grpSpPr>
            <p:sp>
              <p:nvSpPr>
                <p:cNvPr id="5148" name="Freeform: Shape 5147">
                  <a:extLst>
                    <a:ext uri="{FF2B5EF4-FFF2-40B4-BE49-F238E27FC236}">
                      <a16:creationId xmlns:a16="http://schemas.microsoft.com/office/drawing/2014/main" id="{9CA9A6C9-0F66-EC18-E5E5-4882CDA5EB57}"/>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49" name="Freeform: Shape 5148">
                  <a:extLst>
                    <a:ext uri="{FF2B5EF4-FFF2-40B4-BE49-F238E27FC236}">
                      <a16:creationId xmlns:a16="http://schemas.microsoft.com/office/drawing/2014/main" id="{65E7D417-42A3-BD05-5839-1F04AF40CF8C}"/>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5047" name="Graphic 648">
              <a:extLst>
                <a:ext uri="{FF2B5EF4-FFF2-40B4-BE49-F238E27FC236}">
                  <a16:creationId xmlns:a16="http://schemas.microsoft.com/office/drawing/2014/main" id="{35F8D9C9-6528-9C12-97E8-260C4E740826}"/>
                </a:ext>
              </a:extLst>
            </p:cNvPr>
            <p:cNvGrpSpPr/>
            <p:nvPr/>
          </p:nvGrpSpPr>
          <p:grpSpPr>
            <a:xfrm>
              <a:off x="7000240" y="3505075"/>
              <a:ext cx="188153" cy="129335"/>
              <a:chOff x="4902040" y="4181817"/>
              <a:chExt cx="152929" cy="99432"/>
            </a:xfrm>
            <a:gradFill>
              <a:gsLst>
                <a:gs pos="100000">
                  <a:srgbClr val="D0DB67"/>
                </a:gs>
                <a:gs pos="0">
                  <a:srgbClr val="BECE33"/>
                </a:gs>
              </a:gsLst>
              <a:lin ang="0" scaled="1"/>
            </a:gradFill>
          </p:grpSpPr>
          <p:sp>
            <p:nvSpPr>
              <p:cNvPr id="5087" name="Freeform: Shape 5086">
                <a:extLst>
                  <a:ext uri="{FF2B5EF4-FFF2-40B4-BE49-F238E27FC236}">
                    <a16:creationId xmlns:a16="http://schemas.microsoft.com/office/drawing/2014/main" id="{858A7560-CBA9-E541-192C-B65EB8653784}"/>
                  </a:ext>
                </a:extLst>
              </p:cNvPr>
              <p:cNvSpPr/>
              <p:nvPr/>
            </p:nvSpPr>
            <p:spPr>
              <a:xfrm>
                <a:off x="4902040" y="418181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88" name="Graphic 648">
                <a:extLst>
                  <a:ext uri="{FF2B5EF4-FFF2-40B4-BE49-F238E27FC236}">
                    <a16:creationId xmlns:a16="http://schemas.microsoft.com/office/drawing/2014/main" id="{A1676387-EA30-1C82-5628-771429E8937C}"/>
                  </a:ext>
                </a:extLst>
              </p:cNvPr>
              <p:cNvGrpSpPr/>
              <p:nvPr/>
            </p:nvGrpSpPr>
            <p:grpSpPr>
              <a:xfrm>
                <a:off x="4902041" y="4181817"/>
                <a:ext cx="152929" cy="99427"/>
                <a:chOff x="4902041" y="4181817"/>
                <a:chExt cx="152929" cy="99427"/>
              </a:xfrm>
              <a:grpFill/>
            </p:grpSpPr>
            <p:sp>
              <p:nvSpPr>
                <p:cNvPr id="5090" name="Freeform: Shape 5089">
                  <a:extLst>
                    <a:ext uri="{FF2B5EF4-FFF2-40B4-BE49-F238E27FC236}">
                      <a16:creationId xmlns:a16="http://schemas.microsoft.com/office/drawing/2014/main" id="{9A0B49F4-0369-B314-980B-B518901D6524}"/>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45" name="Freeform: Shape 5144">
                  <a:extLst>
                    <a:ext uri="{FF2B5EF4-FFF2-40B4-BE49-F238E27FC236}">
                      <a16:creationId xmlns:a16="http://schemas.microsoft.com/office/drawing/2014/main" id="{79692D2A-5019-117D-E811-9C5E3290895F}"/>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5048" name="Graphic 648">
              <a:extLst>
                <a:ext uri="{FF2B5EF4-FFF2-40B4-BE49-F238E27FC236}">
                  <a16:creationId xmlns:a16="http://schemas.microsoft.com/office/drawing/2014/main" id="{48DA8D07-6FD2-FDE4-0DD0-53D3113B9E1C}"/>
                </a:ext>
              </a:extLst>
            </p:cNvPr>
            <p:cNvGrpSpPr/>
            <p:nvPr/>
          </p:nvGrpSpPr>
          <p:grpSpPr>
            <a:xfrm>
              <a:off x="7146583" y="3590672"/>
              <a:ext cx="188153" cy="129357"/>
              <a:chOff x="5020986" y="4247623"/>
              <a:chExt cx="152929" cy="99449"/>
            </a:xfrm>
            <a:gradFill>
              <a:gsLst>
                <a:gs pos="100000">
                  <a:srgbClr val="D0DB67"/>
                </a:gs>
                <a:gs pos="0">
                  <a:srgbClr val="BECE33"/>
                </a:gs>
              </a:gsLst>
              <a:lin ang="0" scaled="1"/>
            </a:gradFill>
          </p:grpSpPr>
          <p:sp>
            <p:nvSpPr>
              <p:cNvPr id="5083" name="Freeform: Shape 5082">
                <a:extLst>
                  <a:ext uri="{FF2B5EF4-FFF2-40B4-BE49-F238E27FC236}">
                    <a16:creationId xmlns:a16="http://schemas.microsoft.com/office/drawing/2014/main" id="{FB7BB10A-F211-B4A6-0FF3-60220893AE5E}"/>
                  </a:ext>
                </a:extLst>
              </p:cNvPr>
              <p:cNvSpPr/>
              <p:nvPr/>
            </p:nvSpPr>
            <p:spPr>
              <a:xfrm>
                <a:off x="5020986" y="424762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84" name="Graphic 648">
                <a:extLst>
                  <a:ext uri="{FF2B5EF4-FFF2-40B4-BE49-F238E27FC236}">
                    <a16:creationId xmlns:a16="http://schemas.microsoft.com/office/drawing/2014/main" id="{6C81D7ED-DD7A-0011-955D-C1575D291088}"/>
                  </a:ext>
                </a:extLst>
              </p:cNvPr>
              <p:cNvGrpSpPr/>
              <p:nvPr/>
            </p:nvGrpSpPr>
            <p:grpSpPr>
              <a:xfrm>
                <a:off x="5020987" y="4247623"/>
                <a:ext cx="152929" cy="99449"/>
                <a:chOff x="5020987" y="4247623"/>
                <a:chExt cx="152929" cy="99449"/>
              </a:xfrm>
              <a:grpFill/>
            </p:grpSpPr>
            <p:sp>
              <p:nvSpPr>
                <p:cNvPr id="5085" name="Freeform: Shape 5084">
                  <a:extLst>
                    <a:ext uri="{FF2B5EF4-FFF2-40B4-BE49-F238E27FC236}">
                      <a16:creationId xmlns:a16="http://schemas.microsoft.com/office/drawing/2014/main" id="{CCC0D297-BE44-7F91-A2AC-4BCF3B4FC0C3}"/>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86" name="Freeform: Shape 5085">
                  <a:extLst>
                    <a:ext uri="{FF2B5EF4-FFF2-40B4-BE49-F238E27FC236}">
                      <a16:creationId xmlns:a16="http://schemas.microsoft.com/office/drawing/2014/main" id="{CB4697A2-A357-84AA-296F-925539FC1A49}"/>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5049" name="Graphic 648">
              <a:extLst>
                <a:ext uri="{FF2B5EF4-FFF2-40B4-BE49-F238E27FC236}">
                  <a16:creationId xmlns:a16="http://schemas.microsoft.com/office/drawing/2014/main" id="{20AE11D9-3CE9-3C2E-324A-43FC8D7C68DF}"/>
                </a:ext>
              </a:extLst>
            </p:cNvPr>
            <p:cNvGrpSpPr/>
            <p:nvPr/>
          </p:nvGrpSpPr>
          <p:grpSpPr>
            <a:xfrm>
              <a:off x="7360991" y="3538348"/>
              <a:ext cx="188167" cy="129357"/>
              <a:chOff x="5195255" y="4207397"/>
              <a:chExt cx="152940" cy="99449"/>
            </a:xfrm>
            <a:gradFill>
              <a:gsLst>
                <a:gs pos="100000">
                  <a:srgbClr val="D0DB67"/>
                </a:gs>
                <a:gs pos="0">
                  <a:srgbClr val="BECE33"/>
                </a:gs>
              </a:gsLst>
              <a:lin ang="0" scaled="1"/>
            </a:gradFill>
          </p:grpSpPr>
          <p:sp>
            <p:nvSpPr>
              <p:cNvPr id="5079" name="Freeform: Shape 5078">
                <a:extLst>
                  <a:ext uri="{FF2B5EF4-FFF2-40B4-BE49-F238E27FC236}">
                    <a16:creationId xmlns:a16="http://schemas.microsoft.com/office/drawing/2014/main" id="{8E859109-529B-9829-F081-EBB95BFA0F57}"/>
                  </a:ext>
                </a:extLst>
              </p:cNvPr>
              <p:cNvSpPr/>
              <p:nvPr/>
            </p:nvSpPr>
            <p:spPr>
              <a:xfrm>
                <a:off x="5195255" y="420739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80" name="Graphic 648">
                <a:extLst>
                  <a:ext uri="{FF2B5EF4-FFF2-40B4-BE49-F238E27FC236}">
                    <a16:creationId xmlns:a16="http://schemas.microsoft.com/office/drawing/2014/main" id="{65673EFD-FAD9-D8FA-C033-50D9963049CA}"/>
                  </a:ext>
                </a:extLst>
              </p:cNvPr>
              <p:cNvGrpSpPr/>
              <p:nvPr/>
            </p:nvGrpSpPr>
            <p:grpSpPr>
              <a:xfrm>
                <a:off x="5195256" y="4207397"/>
                <a:ext cx="152940" cy="99449"/>
                <a:chOff x="5195256" y="4207397"/>
                <a:chExt cx="152940" cy="99449"/>
              </a:xfrm>
              <a:grpFill/>
            </p:grpSpPr>
            <p:sp>
              <p:nvSpPr>
                <p:cNvPr id="5081" name="Freeform: Shape 5080">
                  <a:extLst>
                    <a:ext uri="{FF2B5EF4-FFF2-40B4-BE49-F238E27FC236}">
                      <a16:creationId xmlns:a16="http://schemas.microsoft.com/office/drawing/2014/main" id="{0AB35E39-E838-5D7A-5A65-46123A87E712}"/>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82" name="Freeform: Shape 5081">
                  <a:extLst>
                    <a:ext uri="{FF2B5EF4-FFF2-40B4-BE49-F238E27FC236}">
                      <a16:creationId xmlns:a16="http://schemas.microsoft.com/office/drawing/2014/main" id="{7F9B0B24-8D80-046A-95AE-256E4BA90615}"/>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5050" name="Freeform: Shape 5049">
              <a:extLst>
                <a:ext uri="{FF2B5EF4-FFF2-40B4-BE49-F238E27FC236}">
                  <a16:creationId xmlns:a16="http://schemas.microsoft.com/office/drawing/2014/main" id="{3B5B30D4-7D7E-A962-D105-EFCC52CBE59E}"/>
                </a:ext>
              </a:extLst>
            </p:cNvPr>
            <p:cNvSpPr/>
            <p:nvPr/>
          </p:nvSpPr>
          <p:spPr>
            <a:xfrm>
              <a:off x="7214943" y="3417415"/>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51" name="Freeform: Shape 5050">
              <a:extLst>
                <a:ext uri="{FF2B5EF4-FFF2-40B4-BE49-F238E27FC236}">
                  <a16:creationId xmlns:a16="http://schemas.microsoft.com/office/drawing/2014/main" id="{2C24E2E7-EAA1-6E6B-2423-65C17CF468DB}"/>
                </a:ext>
              </a:extLst>
            </p:cNvPr>
            <p:cNvSpPr/>
            <p:nvPr/>
          </p:nvSpPr>
          <p:spPr>
            <a:xfrm>
              <a:off x="7000536" y="3469749"/>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52" name="Freeform: Shape 5051">
              <a:extLst>
                <a:ext uri="{FF2B5EF4-FFF2-40B4-BE49-F238E27FC236}">
                  <a16:creationId xmlns:a16="http://schemas.microsoft.com/office/drawing/2014/main" id="{2593F473-05A6-FEDE-7357-F86440CCB133}"/>
                </a:ext>
              </a:extLst>
            </p:cNvPr>
            <p:cNvSpPr/>
            <p:nvPr/>
          </p:nvSpPr>
          <p:spPr>
            <a:xfrm>
              <a:off x="7361257" y="3503023"/>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53" name="Freeform: Shape 5052">
              <a:extLst>
                <a:ext uri="{FF2B5EF4-FFF2-40B4-BE49-F238E27FC236}">
                  <a16:creationId xmlns:a16="http://schemas.microsoft.com/office/drawing/2014/main" id="{1DC722DB-7FFE-611E-5ECB-5128E0C9826B}"/>
                </a:ext>
              </a:extLst>
            </p:cNvPr>
            <p:cNvSpPr/>
            <p:nvPr/>
          </p:nvSpPr>
          <p:spPr>
            <a:xfrm>
              <a:off x="7146880" y="3555346"/>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54" name="Graphic 648">
              <a:extLst>
                <a:ext uri="{FF2B5EF4-FFF2-40B4-BE49-F238E27FC236}">
                  <a16:creationId xmlns:a16="http://schemas.microsoft.com/office/drawing/2014/main" id="{6BC3063B-C369-4287-5303-3844EB1A7BC5}"/>
                </a:ext>
              </a:extLst>
            </p:cNvPr>
            <p:cNvGrpSpPr/>
            <p:nvPr/>
          </p:nvGrpSpPr>
          <p:grpSpPr>
            <a:xfrm>
              <a:off x="6765074" y="3562473"/>
              <a:ext cx="188167" cy="129348"/>
              <a:chOff x="4710899" y="4225944"/>
              <a:chExt cx="152940" cy="99442"/>
            </a:xfrm>
            <a:gradFill>
              <a:gsLst>
                <a:gs pos="100000">
                  <a:srgbClr val="D0DB67"/>
                </a:gs>
                <a:gs pos="0">
                  <a:srgbClr val="BECE33"/>
                </a:gs>
              </a:gsLst>
              <a:lin ang="0" scaled="1"/>
            </a:gradFill>
          </p:grpSpPr>
          <p:sp>
            <p:nvSpPr>
              <p:cNvPr id="5075" name="Freeform: Shape 5074">
                <a:extLst>
                  <a:ext uri="{FF2B5EF4-FFF2-40B4-BE49-F238E27FC236}">
                    <a16:creationId xmlns:a16="http://schemas.microsoft.com/office/drawing/2014/main" id="{03BC9CC9-6097-8C2F-CC25-0ABB6651B956}"/>
                  </a:ext>
                </a:extLst>
              </p:cNvPr>
              <p:cNvSpPr/>
              <p:nvPr/>
            </p:nvSpPr>
            <p:spPr>
              <a:xfrm>
                <a:off x="4710899" y="422594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76" name="Graphic 648">
                <a:extLst>
                  <a:ext uri="{FF2B5EF4-FFF2-40B4-BE49-F238E27FC236}">
                    <a16:creationId xmlns:a16="http://schemas.microsoft.com/office/drawing/2014/main" id="{7B4A2F4C-E273-B80F-E6FC-E978851C073D}"/>
                  </a:ext>
                </a:extLst>
              </p:cNvPr>
              <p:cNvGrpSpPr/>
              <p:nvPr/>
            </p:nvGrpSpPr>
            <p:grpSpPr>
              <a:xfrm>
                <a:off x="4710899" y="4225944"/>
                <a:ext cx="152940" cy="99438"/>
                <a:chOff x="4710899" y="4225944"/>
                <a:chExt cx="152940" cy="99438"/>
              </a:xfrm>
              <a:grpFill/>
            </p:grpSpPr>
            <p:sp>
              <p:nvSpPr>
                <p:cNvPr id="5077" name="Freeform: Shape 5076">
                  <a:extLst>
                    <a:ext uri="{FF2B5EF4-FFF2-40B4-BE49-F238E27FC236}">
                      <a16:creationId xmlns:a16="http://schemas.microsoft.com/office/drawing/2014/main" id="{28D45304-58FD-EE73-F19D-7B4A3B30AC15}"/>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78" name="Freeform: Shape 5077">
                  <a:extLst>
                    <a:ext uri="{FF2B5EF4-FFF2-40B4-BE49-F238E27FC236}">
                      <a16:creationId xmlns:a16="http://schemas.microsoft.com/office/drawing/2014/main" id="{B6AAB545-7CD1-6401-939A-5DE763EAE450}"/>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5055" name="Graphic 648">
              <a:extLst>
                <a:ext uri="{FF2B5EF4-FFF2-40B4-BE49-F238E27FC236}">
                  <a16:creationId xmlns:a16="http://schemas.microsoft.com/office/drawing/2014/main" id="{C1676FFB-6AF5-910B-58A8-304849BE75FF}"/>
                </a:ext>
              </a:extLst>
            </p:cNvPr>
            <p:cNvGrpSpPr/>
            <p:nvPr/>
          </p:nvGrpSpPr>
          <p:grpSpPr>
            <a:xfrm>
              <a:off x="6550679" y="3614795"/>
              <a:ext cx="188153" cy="129346"/>
              <a:chOff x="4536641" y="4266169"/>
              <a:chExt cx="152929" cy="99440"/>
            </a:xfrm>
            <a:gradFill>
              <a:gsLst>
                <a:gs pos="100000">
                  <a:srgbClr val="D0DB67"/>
                </a:gs>
                <a:gs pos="0">
                  <a:srgbClr val="BECE33"/>
                </a:gs>
              </a:gsLst>
              <a:lin ang="0" scaled="1"/>
            </a:gradFill>
          </p:grpSpPr>
          <p:sp>
            <p:nvSpPr>
              <p:cNvPr id="5071" name="Freeform: Shape 5070">
                <a:extLst>
                  <a:ext uri="{FF2B5EF4-FFF2-40B4-BE49-F238E27FC236}">
                    <a16:creationId xmlns:a16="http://schemas.microsoft.com/office/drawing/2014/main" id="{DABCF90D-69E1-9372-BD27-754420FF7B9F}"/>
                  </a:ext>
                </a:extLst>
              </p:cNvPr>
              <p:cNvSpPr/>
              <p:nvPr/>
            </p:nvSpPr>
            <p:spPr>
              <a:xfrm>
                <a:off x="4536641" y="4266169"/>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72" name="Graphic 648">
                <a:extLst>
                  <a:ext uri="{FF2B5EF4-FFF2-40B4-BE49-F238E27FC236}">
                    <a16:creationId xmlns:a16="http://schemas.microsoft.com/office/drawing/2014/main" id="{CFB083C8-4854-6610-07F6-F739E8250155}"/>
                  </a:ext>
                </a:extLst>
              </p:cNvPr>
              <p:cNvGrpSpPr/>
              <p:nvPr/>
            </p:nvGrpSpPr>
            <p:grpSpPr>
              <a:xfrm>
                <a:off x="4536641" y="4266169"/>
                <a:ext cx="152929" cy="99438"/>
                <a:chOff x="4536641" y="4266169"/>
                <a:chExt cx="152929" cy="99438"/>
              </a:xfrm>
              <a:grpFill/>
            </p:grpSpPr>
            <p:sp>
              <p:nvSpPr>
                <p:cNvPr id="5073" name="Freeform: Shape 5072">
                  <a:extLst>
                    <a:ext uri="{FF2B5EF4-FFF2-40B4-BE49-F238E27FC236}">
                      <a16:creationId xmlns:a16="http://schemas.microsoft.com/office/drawing/2014/main" id="{A5225EE3-2BA5-0AAC-0866-C2153DEDB9CC}"/>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74" name="Freeform: Shape 5073">
                  <a:extLst>
                    <a:ext uri="{FF2B5EF4-FFF2-40B4-BE49-F238E27FC236}">
                      <a16:creationId xmlns:a16="http://schemas.microsoft.com/office/drawing/2014/main" id="{F3D47630-9A7F-BBB0-8E07-75229561D4BF}"/>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5056" name="Graphic 648">
              <a:extLst>
                <a:ext uri="{FF2B5EF4-FFF2-40B4-BE49-F238E27FC236}">
                  <a16:creationId xmlns:a16="http://schemas.microsoft.com/office/drawing/2014/main" id="{345081AF-2872-2D59-BA38-0F83E5B9AE20}"/>
                </a:ext>
              </a:extLst>
            </p:cNvPr>
            <p:cNvGrpSpPr/>
            <p:nvPr/>
          </p:nvGrpSpPr>
          <p:grpSpPr>
            <a:xfrm>
              <a:off x="6697022" y="3700392"/>
              <a:ext cx="188180" cy="129373"/>
              <a:chOff x="4655587" y="4331975"/>
              <a:chExt cx="152951" cy="99461"/>
            </a:xfrm>
            <a:gradFill>
              <a:gsLst>
                <a:gs pos="100000">
                  <a:srgbClr val="D0DB67"/>
                </a:gs>
                <a:gs pos="0">
                  <a:srgbClr val="BECE33"/>
                </a:gs>
              </a:gsLst>
              <a:lin ang="0" scaled="1"/>
            </a:gradFill>
          </p:grpSpPr>
          <p:sp>
            <p:nvSpPr>
              <p:cNvPr id="5067" name="Freeform: Shape 5066">
                <a:extLst>
                  <a:ext uri="{FF2B5EF4-FFF2-40B4-BE49-F238E27FC236}">
                    <a16:creationId xmlns:a16="http://schemas.microsoft.com/office/drawing/2014/main" id="{760D5E5B-1900-4ECA-BCFD-4E6914E48B9D}"/>
                  </a:ext>
                </a:extLst>
              </p:cNvPr>
              <p:cNvSpPr/>
              <p:nvPr/>
            </p:nvSpPr>
            <p:spPr>
              <a:xfrm>
                <a:off x="4655587" y="4331975"/>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68" name="Graphic 648">
                <a:extLst>
                  <a:ext uri="{FF2B5EF4-FFF2-40B4-BE49-F238E27FC236}">
                    <a16:creationId xmlns:a16="http://schemas.microsoft.com/office/drawing/2014/main" id="{DECA2662-C00E-4E0F-101E-B9918389B731}"/>
                  </a:ext>
                </a:extLst>
              </p:cNvPr>
              <p:cNvGrpSpPr/>
              <p:nvPr/>
            </p:nvGrpSpPr>
            <p:grpSpPr>
              <a:xfrm>
                <a:off x="4655587" y="4331975"/>
                <a:ext cx="152951" cy="99461"/>
                <a:chOff x="4655587" y="4331975"/>
                <a:chExt cx="152951" cy="99461"/>
              </a:xfrm>
              <a:grpFill/>
            </p:grpSpPr>
            <p:sp>
              <p:nvSpPr>
                <p:cNvPr id="5069" name="Freeform: Shape 5068">
                  <a:extLst>
                    <a:ext uri="{FF2B5EF4-FFF2-40B4-BE49-F238E27FC236}">
                      <a16:creationId xmlns:a16="http://schemas.microsoft.com/office/drawing/2014/main" id="{5C60F3DC-8A83-2E8B-136D-3E96BCC26587}"/>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70" name="Freeform: Shape 5069">
                  <a:extLst>
                    <a:ext uri="{FF2B5EF4-FFF2-40B4-BE49-F238E27FC236}">
                      <a16:creationId xmlns:a16="http://schemas.microsoft.com/office/drawing/2014/main" id="{D6CA2C16-2ABB-56F2-1DB3-2C74B847E286}"/>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5057" name="Graphic 648">
              <a:extLst>
                <a:ext uri="{FF2B5EF4-FFF2-40B4-BE49-F238E27FC236}">
                  <a16:creationId xmlns:a16="http://schemas.microsoft.com/office/drawing/2014/main" id="{E5788873-23BE-A494-61EC-1F0014694CB5}"/>
                </a:ext>
              </a:extLst>
            </p:cNvPr>
            <p:cNvGrpSpPr/>
            <p:nvPr/>
          </p:nvGrpSpPr>
          <p:grpSpPr>
            <a:xfrm>
              <a:off x="6911430" y="3648084"/>
              <a:ext cx="188167" cy="129343"/>
              <a:chOff x="4829856" y="4291761"/>
              <a:chExt cx="152940" cy="99438"/>
            </a:xfrm>
            <a:gradFill>
              <a:gsLst>
                <a:gs pos="100000">
                  <a:srgbClr val="D0DB67"/>
                </a:gs>
                <a:gs pos="0">
                  <a:srgbClr val="BECE33"/>
                </a:gs>
              </a:gsLst>
              <a:lin ang="0" scaled="1"/>
            </a:gradFill>
          </p:grpSpPr>
          <p:sp>
            <p:nvSpPr>
              <p:cNvPr id="5063" name="Freeform: Shape 5062">
                <a:extLst>
                  <a:ext uri="{FF2B5EF4-FFF2-40B4-BE49-F238E27FC236}">
                    <a16:creationId xmlns:a16="http://schemas.microsoft.com/office/drawing/2014/main" id="{773F42F6-9ED2-FDBE-BC13-246222E38988}"/>
                  </a:ext>
                </a:extLst>
              </p:cNvPr>
              <p:cNvSpPr/>
              <p:nvPr/>
            </p:nvSpPr>
            <p:spPr>
              <a:xfrm>
                <a:off x="4829856" y="429176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64" name="Graphic 648">
                <a:extLst>
                  <a:ext uri="{FF2B5EF4-FFF2-40B4-BE49-F238E27FC236}">
                    <a16:creationId xmlns:a16="http://schemas.microsoft.com/office/drawing/2014/main" id="{44EA7C99-F794-3DAB-B6EA-1BEBE259238B}"/>
                  </a:ext>
                </a:extLst>
              </p:cNvPr>
              <p:cNvGrpSpPr/>
              <p:nvPr/>
            </p:nvGrpSpPr>
            <p:grpSpPr>
              <a:xfrm>
                <a:off x="4829856" y="4291761"/>
                <a:ext cx="152940" cy="99438"/>
                <a:chOff x="4829856" y="4291761"/>
                <a:chExt cx="152940" cy="99438"/>
              </a:xfrm>
              <a:grpFill/>
            </p:grpSpPr>
            <p:sp>
              <p:nvSpPr>
                <p:cNvPr id="5065" name="Freeform: Shape 5064">
                  <a:extLst>
                    <a:ext uri="{FF2B5EF4-FFF2-40B4-BE49-F238E27FC236}">
                      <a16:creationId xmlns:a16="http://schemas.microsoft.com/office/drawing/2014/main" id="{EE0A49D1-7EC1-926C-5FBE-B7DEEA6D245D}"/>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66" name="Freeform: Shape 5065">
                  <a:extLst>
                    <a:ext uri="{FF2B5EF4-FFF2-40B4-BE49-F238E27FC236}">
                      <a16:creationId xmlns:a16="http://schemas.microsoft.com/office/drawing/2014/main" id="{F31FAC29-4471-487F-52F3-1ECCF5B5416F}"/>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5058" name="Freeform: Shape 5057">
              <a:extLst>
                <a:ext uri="{FF2B5EF4-FFF2-40B4-BE49-F238E27FC236}">
                  <a16:creationId xmlns:a16="http://schemas.microsoft.com/office/drawing/2014/main" id="{CA63D35A-E960-B837-D14E-CC94BF4EA4C4}"/>
                </a:ext>
              </a:extLst>
            </p:cNvPr>
            <p:cNvSpPr/>
            <p:nvPr/>
          </p:nvSpPr>
          <p:spPr>
            <a:xfrm>
              <a:off x="6765393" y="3527142"/>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59" name="Freeform: Shape 5058">
              <a:extLst>
                <a:ext uri="{FF2B5EF4-FFF2-40B4-BE49-F238E27FC236}">
                  <a16:creationId xmlns:a16="http://schemas.microsoft.com/office/drawing/2014/main" id="{F0760504-CB18-A01A-66E5-C369160D4692}"/>
                </a:ext>
              </a:extLst>
            </p:cNvPr>
            <p:cNvSpPr/>
            <p:nvPr/>
          </p:nvSpPr>
          <p:spPr>
            <a:xfrm>
              <a:off x="6550993" y="3579469"/>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60" name="Freeform: Shape 5059">
              <a:extLst>
                <a:ext uri="{FF2B5EF4-FFF2-40B4-BE49-F238E27FC236}">
                  <a16:creationId xmlns:a16="http://schemas.microsoft.com/office/drawing/2014/main" id="{DAF273AD-4DEF-786D-5900-F9828C2C4430}"/>
                </a:ext>
              </a:extLst>
            </p:cNvPr>
            <p:cNvSpPr/>
            <p:nvPr/>
          </p:nvSpPr>
          <p:spPr>
            <a:xfrm>
              <a:off x="6911727" y="3612752"/>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61" name="Freeform: Shape 5060">
              <a:extLst>
                <a:ext uri="{FF2B5EF4-FFF2-40B4-BE49-F238E27FC236}">
                  <a16:creationId xmlns:a16="http://schemas.microsoft.com/office/drawing/2014/main" id="{5B88130F-FA94-1A95-A4AC-5B8A90176AB3}"/>
                </a:ext>
              </a:extLst>
            </p:cNvPr>
            <p:cNvSpPr/>
            <p:nvPr/>
          </p:nvSpPr>
          <p:spPr>
            <a:xfrm>
              <a:off x="6697327" y="3665076"/>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62" name="RectangleLegend2">
              <a:extLst>
                <a:ext uri="{FF2B5EF4-FFF2-40B4-BE49-F238E27FC236}">
                  <a16:creationId xmlns:a16="http://schemas.microsoft.com/office/drawing/2014/main" id="{05C33889-FBC0-3D4C-1512-C0D666AADE08}"/>
                </a:ext>
              </a:extLst>
            </p:cNvPr>
            <p:cNvSpPr>
              <a:spLocks/>
            </p:cNvSpPr>
            <p:nvPr/>
          </p:nvSpPr>
          <p:spPr>
            <a:xfrm>
              <a:off x="6491506" y="3801178"/>
              <a:ext cx="1402645" cy="210495"/>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BioNTainer</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roduction hall</a:t>
              </a:r>
            </a:p>
          </p:txBody>
        </p:sp>
      </p:grpSp>
      <p:grpSp>
        <p:nvGrpSpPr>
          <p:cNvPr id="4982" name="Group 4981">
            <a:extLst>
              <a:ext uri="{FF2B5EF4-FFF2-40B4-BE49-F238E27FC236}">
                <a16:creationId xmlns:a16="http://schemas.microsoft.com/office/drawing/2014/main" id="{FE878D20-CD19-B7E9-C961-8508E7862550}"/>
              </a:ext>
            </a:extLst>
          </p:cNvPr>
          <p:cNvGrpSpPr/>
          <p:nvPr/>
        </p:nvGrpSpPr>
        <p:grpSpPr>
          <a:xfrm>
            <a:off x="5290186" y="3413896"/>
            <a:ext cx="1572602" cy="801690"/>
            <a:chOff x="6452087" y="3417415"/>
            <a:chExt cx="1442064" cy="735143"/>
          </a:xfrm>
        </p:grpSpPr>
        <p:sp>
          <p:nvSpPr>
            <p:cNvPr id="4983" name="Freeform: Shape 4982">
              <a:extLst>
                <a:ext uri="{FF2B5EF4-FFF2-40B4-BE49-F238E27FC236}">
                  <a16:creationId xmlns:a16="http://schemas.microsoft.com/office/drawing/2014/main" id="{A2EABC3C-E8D9-6436-1F6E-A4E5416B7E96}"/>
                </a:ext>
              </a:extLst>
            </p:cNvPr>
            <p:cNvSpPr/>
            <p:nvPr/>
          </p:nvSpPr>
          <p:spPr>
            <a:xfrm>
              <a:off x="6454467" y="3698333"/>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8D982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84" name="Freeform: Shape 4983">
              <a:extLst>
                <a:ext uri="{FF2B5EF4-FFF2-40B4-BE49-F238E27FC236}">
                  <a16:creationId xmlns:a16="http://schemas.microsoft.com/office/drawing/2014/main" id="{93AE9B2D-535E-9621-DDCA-255C03E028C4}"/>
                </a:ext>
              </a:extLst>
            </p:cNvPr>
            <p:cNvSpPr/>
            <p:nvPr/>
          </p:nvSpPr>
          <p:spPr>
            <a:xfrm>
              <a:off x="6452102" y="3695824"/>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B900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85" name="Freeform: Shape 4984">
              <a:extLst>
                <a:ext uri="{FF2B5EF4-FFF2-40B4-BE49-F238E27FC236}">
                  <a16:creationId xmlns:a16="http://schemas.microsoft.com/office/drawing/2014/main" id="{F6B8BBE4-4E7D-A3ED-8042-15E1E470CCFF}"/>
                </a:ext>
              </a:extLst>
            </p:cNvPr>
            <p:cNvSpPr/>
            <p:nvPr/>
          </p:nvSpPr>
          <p:spPr>
            <a:xfrm>
              <a:off x="6746652" y="3650364"/>
              <a:ext cx="900013" cy="499693"/>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BECE33"/>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86" name="Freeform: Shape 4985">
              <a:extLst>
                <a:ext uri="{FF2B5EF4-FFF2-40B4-BE49-F238E27FC236}">
                  <a16:creationId xmlns:a16="http://schemas.microsoft.com/office/drawing/2014/main" id="{54758A1C-5054-5CB6-1361-5007FFB0EDB7}"/>
                </a:ext>
              </a:extLst>
            </p:cNvPr>
            <p:cNvSpPr/>
            <p:nvPr/>
          </p:nvSpPr>
          <p:spPr>
            <a:xfrm>
              <a:off x="6744286" y="3647847"/>
              <a:ext cx="904715" cy="504711"/>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87" name="Freeform: Shape 4986">
              <a:extLst>
                <a:ext uri="{FF2B5EF4-FFF2-40B4-BE49-F238E27FC236}">
                  <a16:creationId xmlns:a16="http://schemas.microsoft.com/office/drawing/2014/main" id="{BC349679-BD15-49D5-7FA7-29B2F94FDED8}"/>
                </a:ext>
              </a:extLst>
            </p:cNvPr>
            <p:cNvSpPr/>
            <p:nvPr/>
          </p:nvSpPr>
          <p:spPr>
            <a:xfrm>
              <a:off x="6454467" y="3478877"/>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88" name="Freeform: Shape 4987">
              <a:extLst>
                <a:ext uri="{FF2B5EF4-FFF2-40B4-BE49-F238E27FC236}">
                  <a16:creationId xmlns:a16="http://schemas.microsoft.com/office/drawing/2014/main" id="{500F6413-D8AA-8237-BA7A-DC15FD9D018F}"/>
                </a:ext>
              </a:extLst>
            </p:cNvPr>
            <p:cNvSpPr/>
            <p:nvPr/>
          </p:nvSpPr>
          <p:spPr>
            <a:xfrm>
              <a:off x="6452087" y="3476420"/>
              <a:ext cx="1196920" cy="395841"/>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FFE9BA"/>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989" name="Graphic 648">
              <a:extLst>
                <a:ext uri="{FF2B5EF4-FFF2-40B4-BE49-F238E27FC236}">
                  <a16:creationId xmlns:a16="http://schemas.microsoft.com/office/drawing/2014/main" id="{43FBF962-2BA3-AA48-EBE1-3A168B51170C}"/>
                </a:ext>
              </a:extLst>
            </p:cNvPr>
            <p:cNvGrpSpPr/>
            <p:nvPr/>
          </p:nvGrpSpPr>
          <p:grpSpPr>
            <a:xfrm>
              <a:off x="7214607" y="3452738"/>
              <a:ext cx="188167" cy="129346"/>
              <a:chOff x="5076275" y="4141580"/>
              <a:chExt cx="152940" cy="99440"/>
            </a:xfrm>
            <a:gradFill>
              <a:gsLst>
                <a:gs pos="100000">
                  <a:srgbClr val="D0DB67"/>
                </a:gs>
                <a:gs pos="0">
                  <a:srgbClr val="BECE33"/>
                </a:gs>
              </a:gsLst>
              <a:lin ang="0" scaled="1"/>
            </a:gradFill>
          </p:grpSpPr>
          <p:sp>
            <p:nvSpPr>
              <p:cNvPr id="5035" name="Freeform: Shape 5034">
                <a:extLst>
                  <a:ext uri="{FF2B5EF4-FFF2-40B4-BE49-F238E27FC236}">
                    <a16:creationId xmlns:a16="http://schemas.microsoft.com/office/drawing/2014/main" id="{2E7DFD63-25E4-AC2B-0647-696F1FE8F5D6}"/>
                  </a:ext>
                </a:extLst>
              </p:cNvPr>
              <p:cNvSpPr/>
              <p:nvPr/>
            </p:nvSpPr>
            <p:spPr>
              <a:xfrm>
                <a:off x="5076275" y="414158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36" name="Graphic 648">
                <a:extLst>
                  <a:ext uri="{FF2B5EF4-FFF2-40B4-BE49-F238E27FC236}">
                    <a16:creationId xmlns:a16="http://schemas.microsoft.com/office/drawing/2014/main" id="{D6431D2D-7A08-A239-8492-781DCE6A609A}"/>
                  </a:ext>
                </a:extLst>
              </p:cNvPr>
              <p:cNvGrpSpPr/>
              <p:nvPr/>
            </p:nvGrpSpPr>
            <p:grpSpPr>
              <a:xfrm>
                <a:off x="5076275" y="4141580"/>
                <a:ext cx="152940" cy="99438"/>
                <a:chOff x="5076275" y="4141580"/>
                <a:chExt cx="152940" cy="99438"/>
              </a:xfrm>
              <a:grpFill/>
            </p:grpSpPr>
            <p:sp>
              <p:nvSpPr>
                <p:cNvPr id="5037" name="Freeform: Shape 5036">
                  <a:extLst>
                    <a:ext uri="{FF2B5EF4-FFF2-40B4-BE49-F238E27FC236}">
                      <a16:creationId xmlns:a16="http://schemas.microsoft.com/office/drawing/2014/main" id="{E146C630-E354-2587-3791-981B6F0C1C5B}"/>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38" name="Freeform: Shape 5037">
                  <a:extLst>
                    <a:ext uri="{FF2B5EF4-FFF2-40B4-BE49-F238E27FC236}">
                      <a16:creationId xmlns:a16="http://schemas.microsoft.com/office/drawing/2014/main" id="{9641433F-1E40-48CB-6339-293831103714}"/>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990" name="Graphic 648">
              <a:extLst>
                <a:ext uri="{FF2B5EF4-FFF2-40B4-BE49-F238E27FC236}">
                  <a16:creationId xmlns:a16="http://schemas.microsoft.com/office/drawing/2014/main" id="{150D40CC-930B-578C-9C1D-D3C2186BFEB4}"/>
                </a:ext>
              </a:extLst>
            </p:cNvPr>
            <p:cNvGrpSpPr/>
            <p:nvPr/>
          </p:nvGrpSpPr>
          <p:grpSpPr>
            <a:xfrm>
              <a:off x="7000240" y="3505075"/>
              <a:ext cx="188153" cy="129335"/>
              <a:chOff x="4902040" y="4181817"/>
              <a:chExt cx="152929" cy="99432"/>
            </a:xfrm>
            <a:gradFill>
              <a:gsLst>
                <a:gs pos="100000">
                  <a:srgbClr val="D0DB67"/>
                </a:gs>
                <a:gs pos="0">
                  <a:srgbClr val="BECE33"/>
                </a:gs>
              </a:gsLst>
              <a:lin ang="0" scaled="1"/>
            </a:gradFill>
          </p:grpSpPr>
          <p:sp>
            <p:nvSpPr>
              <p:cNvPr id="5030" name="Freeform: Shape 5029">
                <a:extLst>
                  <a:ext uri="{FF2B5EF4-FFF2-40B4-BE49-F238E27FC236}">
                    <a16:creationId xmlns:a16="http://schemas.microsoft.com/office/drawing/2014/main" id="{54DE322C-580F-9C04-03BD-2FF1B69F122A}"/>
                  </a:ext>
                </a:extLst>
              </p:cNvPr>
              <p:cNvSpPr/>
              <p:nvPr/>
            </p:nvSpPr>
            <p:spPr>
              <a:xfrm>
                <a:off x="4902040" y="418181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31" name="Graphic 648">
                <a:extLst>
                  <a:ext uri="{FF2B5EF4-FFF2-40B4-BE49-F238E27FC236}">
                    <a16:creationId xmlns:a16="http://schemas.microsoft.com/office/drawing/2014/main" id="{2F8306FF-EFC9-63A5-3A78-CB8D25551946}"/>
                  </a:ext>
                </a:extLst>
              </p:cNvPr>
              <p:cNvGrpSpPr/>
              <p:nvPr/>
            </p:nvGrpSpPr>
            <p:grpSpPr>
              <a:xfrm>
                <a:off x="4902041" y="4181817"/>
                <a:ext cx="152929" cy="99427"/>
                <a:chOff x="4902041" y="4181817"/>
                <a:chExt cx="152929" cy="99427"/>
              </a:xfrm>
              <a:grpFill/>
            </p:grpSpPr>
            <p:sp>
              <p:nvSpPr>
                <p:cNvPr id="5033" name="Freeform: Shape 5032">
                  <a:extLst>
                    <a:ext uri="{FF2B5EF4-FFF2-40B4-BE49-F238E27FC236}">
                      <a16:creationId xmlns:a16="http://schemas.microsoft.com/office/drawing/2014/main" id="{C45BBCA8-F739-C810-BC31-619864C07C9D}"/>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34" name="Freeform: Shape 5033">
                  <a:extLst>
                    <a:ext uri="{FF2B5EF4-FFF2-40B4-BE49-F238E27FC236}">
                      <a16:creationId xmlns:a16="http://schemas.microsoft.com/office/drawing/2014/main" id="{6D9CBF63-3849-CDC5-59B2-99D34459287C}"/>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991" name="Graphic 648">
              <a:extLst>
                <a:ext uri="{FF2B5EF4-FFF2-40B4-BE49-F238E27FC236}">
                  <a16:creationId xmlns:a16="http://schemas.microsoft.com/office/drawing/2014/main" id="{E7082F3E-ECB8-E5D6-976D-DCE0D6F329AF}"/>
                </a:ext>
              </a:extLst>
            </p:cNvPr>
            <p:cNvGrpSpPr/>
            <p:nvPr/>
          </p:nvGrpSpPr>
          <p:grpSpPr>
            <a:xfrm>
              <a:off x="7146583" y="3590672"/>
              <a:ext cx="188153" cy="129357"/>
              <a:chOff x="5020986" y="4247623"/>
              <a:chExt cx="152929" cy="99449"/>
            </a:xfrm>
            <a:gradFill>
              <a:gsLst>
                <a:gs pos="100000">
                  <a:srgbClr val="D0DB67"/>
                </a:gs>
                <a:gs pos="0">
                  <a:srgbClr val="BECE33"/>
                </a:gs>
              </a:gsLst>
              <a:lin ang="0" scaled="1"/>
            </a:gradFill>
          </p:grpSpPr>
          <p:sp>
            <p:nvSpPr>
              <p:cNvPr id="5026" name="Freeform: Shape 5025">
                <a:extLst>
                  <a:ext uri="{FF2B5EF4-FFF2-40B4-BE49-F238E27FC236}">
                    <a16:creationId xmlns:a16="http://schemas.microsoft.com/office/drawing/2014/main" id="{88289069-D5A6-F7A5-6594-313ADBB9EED1}"/>
                  </a:ext>
                </a:extLst>
              </p:cNvPr>
              <p:cNvSpPr/>
              <p:nvPr/>
            </p:nvSpPr>
            <p:spPr>
              <a:xfrm>
                <a:off x="5020986" y="424762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27" name="Graphic 648">
                <a:extLst>
                  <a:ext uri="{FF2B5EF4-FFF2-40B4-BE49-F238E27FC236}">
                    <a16:creationId xmlns:a16="http://schemas.microsoft.com/office/drawing/2014/main" id="{4AD340E8-EF49-3898-8F15-61ABC9C3E805}"/>
                  </a:ext>
                </a:extLst>
              </p:cNvPr>
              <p:cNvGrpSpPr/>
              <p:nvPr/>
            </p:nvGrpSpPr>
            <p:grpSpPr>
              <a:xfrm>
                <a:off x="5020987" y="4247623"/>
                <a:ext cx="152929" cy="99449"/>
                <a:chOff x="5020987" y="4247623"/>
                <a:chExt cx="152929" cy="99449"/>
              </a:xfrm>
              <a:grpFill/>
            </p:grpSpPr>
            <p:sp>
              <p:nvSpPr>
                <p:cNvPr id="5028" name="Freeform: Shape 5027">
                  <a:extLst>
                    <a:ext uri="{FF2B5EF4-FFF2-40B4-BE49-F238E27FC236}">
                      <a16:creationId xmlns:a16="http://schemas.microsoft.com/office/drawing/2014/main" id="{398FCB73-4B6A-C517-317A-CC4C311E3FCD}"/>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29" name="Freeform: Shape 5028">
                  <a:extLst>
                    <a:ext uri="{FF2B5EF4-FFF2-40B4-BE49-F238E27FC236}">
                      <a16:creationId xmlns:a16="http://schemas.microsoft.com/office/drawing/2014/main" id="{5CA12D19-6639-1441-0BF7-B9C23662DD46}"/>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992" name="Graphic 648">
              <a:extLst>
                <a:ext uri="{FF2B5EF4-FFF2-40B4-BE49-F238E27FC236}">
                  <a16:creationId xmlns:a16="http://schemas.microsoft.com/office/drawing/2014/main" id="{3C3CF359-1F9D-F482-4BC5-7962E776B102}"/>
                </a:ext>
              </a:extLst>
            </p:cNvPr>
            <p:cNvGrpSpPr/>
            <p:nvPr/>
          </p:nvGrpSpPr>
          <p:grpSpPr>
            <a:xfrm>
              <a:off x="7360991" y="3538348"/>
              <a:ext cx="188167" cy="129357"/>
              <a:chOff x="5195255" y="4207397"/>
              <a:chExt cx="152940" cy="99449"/>
            </a:xfrm>
            <a:gradFill>
              <a:gsLst>
                <a:gs pos="100000">
                  <a:srgbClr val="D0DB67"/>
                </a:gs>
                <a:gs pos="0">
                  <a:srgbClr val="BECE33"/>
                </a:gs>
              </a:gsLst>
              <a:lin ang="0" scaled="1"/>
            </a:gradFill>
          </p:grpSpPr>
          <p:sp>
            <p:nvSpPr>
              <p:cNvPr id="5022" name="Freeform: Shape 5021">
                <a:extLst>
                  <a:ext uri="{FF2B5EF4-FFF2-40B4-BE49-F238E27FC236}">
                    <a16:creationId xmlns:a16="http://schemas.microsoft.com/office/drawing/2014/main" id="{D2F625D5-D5FC-5837-4555-3CD1D4B5AE62}"/>
                  </a:ext>
                </a:extLst>
              </p:cNvPr>
              <p:cNvSpPr/>
              <p:nvPr/>
            </p:nvSpPr>
            <p:spPr>
              <a:xfrm>
                <a:off x="5195255" y="420739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23" name="Graphic 648">
                <a:extLst>
                  <a:ext uri="{FF2B5EF4-FFF2-40B4-BE49-F238E27FC236}">
                    <a16:creationId xmlns:a16="http://schemas.microsoft.com/office/drawing/2014/main" id="{E3A6A84B-3DD5-C524-4A89-8AE92D9FC396}"/>
                  </a:ext>
                </a:extLst>
              </p:cNvPr>
              <p:cNvGrpSpPr/>
              <p:nvPr/>
            </p:nvGrpSpPr>
            <p:grpSpPr>
              <a:xfrm>
                <a:off x="5195256" y="4207397"/>
                <a:ext cx="152940" cy="99449"/>
                <a:chOff x="5195256" y="4207397"/>
                <a:chExt cx="152940" cy="99449"/>
              </a:xfrm>
              <a:grpFill/>
            </p:grpSpPr>
            <p:sp>
              <p:nvSpPr>
                <p:cNvPr id="5024" name="Freeform: Shape 5023">
                  <a:extLst>
                    <a:ext uri="{FF2B5EF4-FFF2-40B4-BE49-F238E27FC236}">
                      <a16:creationId xmlns:a16="http://schemas.microsoft.com/office/drawing/2014/main" id="{3BB33772-9ECA-38D3-1AB3-5119A049FD49}"/>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25" name="Freeform: Shape 5024">
                  <a:extLst>
                    <a:ext uri="{FF2B5EF4-FFF2-40B4-BE49-F238E27FC236}">
                      <a16:creationId xmlns:a16="http://schemas.microsoft.com/office/drawing/2014/main" id="{F263425A-3B31-6CCF-A30E-92E883C71EF8}"/>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4993" name="Freeform: Shape 4992">
              <a:extLst>
                <a:ext uri="{FF2B5EF4-FFF2-40B4-BE49-F238E27FC236}">
                  <a16:creationId xmlns:a16="http://schemas.microsoft.com/office/drawing/2014/main" id="{39D13B34-5768-F821-068A-72C80923EBF5}"/>
                </a:ext>
              </a:extLst>
            </p:cNvPr>
            <p:cNvSpPr/>
            <p:nvPr/>
          </p:nvSpPr>
          <p:spPr>
            <a:xfrm>
              <a:off x="7214943" y="3417415"/>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94" name="Freeform: Shape 4993">
              <a:extLst>
                <a:ext uri="{FF2B5EF4-FFF2-40B4-BE49-F238E27FC236}">
                  <a16:creationId xmlns:a16="http://schemas.microsoft.com/office/drawing/2014/main" id="{33B9CA2C-7103-5C9B-AD95-0BA6FAD53D70}"/>
                </a:ext>
              </a:extLst>
            </p:cNvPr>
            <p:cNvSpPr/>
            <p:nvPr/>
          </p:nvSpPr>
          <p:spPr>
            <a:xfrm>
              <a:off x="7000536" y="3469749"/>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95" name="Freeform: Shape 4994">
              <a:extLst>
                <a:ext uri="{FF2B5EF4-FFF2-40B4-BE49-F238E27FC236}">
                  <a16:creationId xmlns:a16="http://schemas.microsoft.com/office/drawing/2014/main" id="{30F00914-F14E-F2BB-EFBC-7AEE935C833A}"/>
                </a:ext>
              </a:extLst>
            </p:cNvPr>
            <p:cNvSpPr/>
            <p:nvPr/>
          </p:nvSpPr>
          <p:spPr>
            <a:xfrm>
              <a:off x="7361257" y="3503023"/>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96" name="Freeform: Shape 4995">
              <a:extLst>
                <a:ext uri="{FF2B5EF4-FFF2-40B4-BE49-F238E27FC236}">
                  <a16:creationId xmlns:a16="http://schemas.microsoft.com/office/drawing/2014/main" id="{A38BE488-35C2-D527-BE71-E43F7FB75D46}"/>
                </a:ext>
              </a:extLst>
            </p:cNvPr>
            <p:cNvSpPr/>
            <p:nvPr/>
          </p:nvSpPr>
          <p:spPr>
            <a:xfrm>
              <a:off x="7146880" y="3555346"/>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997" name="Graphic 648">
              <a:extLst>
                <a:ext uri="{FF2B5EF4-FFF2-40B4-BE49-F238E27FC236}">
                  <a16:creationId xmlns:a16="http://schemas.microsoft.com/office/drawing/2014/main" id="{0F591D64-6D26-AC99-FFD5-54DA3BCADAB7}"/>
                </a:ext>
              </a:extLst>
            </p:cNvPr>
            <p:cNvGrpSpPr/>
            <p:nvPr/>
          </p:nvGrpSpPr>
          <p:grpSpPr>
            <a:xfrm>
              <a:off x="6765074" y="3562473"/>
              <a:ext cx="188167" cy="129348"/>
              <a:chOff x="4710899" y="4225944"/>
              <a:chExt cx="152940" cy="99442"/>
            </a:xfrm>
            <a:gradFill>
              <a:gsLst>
                <a:gs pos="100000">
                  <a:srgbClr val="D0DB67"/>
                </a:gs>
                <a:gs pos="0">
                  <a:srgbClr val="BECE33"/>
                </a:gs>
              </a:gsLst>
              <a:lin ang="0" scaled="1"/>
            </a:gradFill>
          </p:grpSpPr>
          <p:sp>
            <p:nvSpPr>
              <p:cNvPr id="5018" name="Freeform: Shape 5017">
                <a:extLst>
                  <a:ext uri="{FF2B5EF4-FFF2-40B4-BE49-F238E27FC236}">
                    <a16:creationId xmlns:a16="http://schemas.microsoft.com/office/drawing/2014/main" id="{B0CA87E5-755A-99BD-7125-23A7534D0B90}"/>
                  </a:ext>
                </a:extLst>
              </p:cNvPr>
              <p:cNvSpPr/>
              <p:nvPr/>
            </p:nvSpPr>
            <p:spPr>
              <a:xfrm>
                <a:off x="4710899" y="422594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19" name="Graphic 648">
                <a:extLst>
                  <a:ext uri="{FF2B5EF4-FFF2-40B4-BE49-F238E27FC236}">
                    <a16:creationId xmlns:a16="http://schemas.microsoft.com/office/drawing/2014/main" id="{46EB3762-54F8-AA9D-D2E1-759CE874C6BA}"/>
                  </a:ext>
                </a:extLst>
              </p:cNvPr>
              <p:cNvGrpSpPr/>
              <p:nvPr/>
            </p:nvGrpSpPr>
            <p:grpSpPr>
              <a:xfrm>
                <a:off x="4710899" y="4225944"/>
                <a:ext cx="152940" cy="99438"/>
                <a:chOff x="4710899" y="4225944"/>
                <a:chExt cx="152940" cy="99438"/>
              </a:xfrm>
              <a:grpFill/>
            </p:grpSpPr>
            <p:sp>
              <p:nvSpPr>
                <p:cNvPr id="5020" name="Freeform: Shape 5019">
                  <a:extLst>
                    <a:ext uri="{FF2B5EF4-FFF2-40B4-BE49-F238E27FC236}">
                      <a16:creationId xmlns:a16="http://schemas.microsoft.com/office/drawing/2014/main" id="{DC6B1EBD-DCA0-47EF-88A2-46C10CB40F3F}"/>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21" name="Freeform: Shape 5020">
                  <a:extLst>
                    <a:ext uri="{FF2B5EF4-FFF2-40B4-BE49-F238E27FC236}">
                      <a16:creationId xmlns:a16="http://schemas.microsoft.com/office/drawing/2014/main" id="{4CEDE92B-1274-C2B4-DD3B-88EBC13F8762}"/>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998" name="Graphic 648">
              <a:extLst>
                <a:ext uri="{FF2B5EF4-FFF2-40B4-BE49-F238E27FC236}">
                  <a16:creationId xmlns:a16="http://schemas.microsoft.com/office/drawing/2014/main" id="{72E9B7F8-A1FE-E18B-A68C-79EB531AD484}"/>
                </a:ext>
              </a:extLst>
            </p:cNvPr>
            <p:cNvGrpSpPr/>
            <p:nvPr/>
          </p:nvGrpSpPr>
          <p:grpSpPr>
            <a:xfrm>
              <a:off x="6550679" y="3614795"/>
              <a:ext cx="188153" cy="129346"/>
              <a:chOff x="4536641" y="4266169"/>
              <a:chExt cx="152929" cy="99440"/>
            </a:xfrm>
            <a:gradFill>
              <a:gsLst>
                <a:gs pos="100000">
                  <a:srgbClr val="D0DB67"/>
                </a:gs>
                <a:gs pos="0">
                  <a:srgbClr val="BECE33"/>
                </a:gs>
              </a:gsLst>
              <a:lin ang="0" scaled="1"/>
            </a:gradFill>
          </p:grpSpPr>
          <p:sp>
            <p:nvSpPr>
              <p:cNvPr id="5014" name="Freeform: Shape 5013">
                <a:extLst>
                  <a:ext uri="{FF2B5EF4-FFF2-40B4-BE49-F238E27FC236}">
                    <a16:creationId xmlns:a16="http://schemas.microsoft.com/office/drawing/2014/main" id="{C70DE326-0EAA-6825-C90F-23A47E43A76D}"/>
                  </a:ext>
                </a:extLst>
              </p:cNvPr>
              <p:cNvSpPr/>
              <p:nvPr/>
            </p:nvSpPr>
            <p:spPr>
              <a:xfrm>
                <a:off x="4536641" y="4266169"/>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15" name="Graphic 648">
                <a:extLst>
                  <a:ext uri="{FF2B5EF4-FFF2-40B4-BE49-F238E27FC236}">
                    <a16:creationId xmlns:a16="http://schemas.microsoft.com/office/drawing/2014/main" id="{57D8F63D-7515-4ACF-B142-FE109D976C38}"/>
                  </a:ext>
                </a:extLst>
              </p:cNvPr>
              <p:cNvGrpSpPr/>
              <p:nvPr/>
            </p:nvGrpSpPr>
            <p:grpSpPr>
              <a:xfrm>
                <a:off x="4536641" y="4266169"/>
                <a:ext cx="152929" cy="99438"/>
                <a:chOff x="4536641" y="4266169"/>
                <a:chExt cx="152929" cy="99438"/>
              </a:xfrm>
              <a:grpFill/>
            </p:grpSpPr>
            <p:sp>
              <p:nvSpPr>
                <p:cNvPr id="5016" name="Freeform: Shape 5015">
                  <a:extLst>
                    <a:ext uri="{FF2B5EF4-FFF2-40B4-BE49-F238E27FC236}">
                      <a16:creationId xmlns:a16="http://schemas.microsoft.com/office/drawing/2014/main" id="{4AEFCA1B-7637-56DE-C41E-A9824F496963}"/>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17" name="Freeform: Shape 5016">
                  <a:extLst>
                    <a:ext uri="{FF2B5EF4-FFF2-40B4-BE49-F238E27FC236}">
                      <a16:creationId xmlns:a16="http://schemas.microsoft.com/office/drawing/2014/main" id="{8E29FE6E-CDE8-F6D6-C2B1-AD8717A993DC}"/>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999" name="Graphic 648">
              <a:extLst>
                <a:ext uri="{FF2B5EF4-FFF2-40B4-BE49-F238E27FC236}">
                  <a16:creationId xmlns:a16="http://schemas.microsoft.com/office/drawing/2014/main" id="{BD18DEFA-C23C-4F31-7588-24C3F2214C1A}"/>
                </a:ext>
              </a:extLst>
            </p:cNvPr>
            <p:cNvGrpSpPr/>
            <p:nvPr/>
          </p:nvGrpSpPr>
          <p:grpSpPr>
            <a:xfrm>
              <a:off x="6697022" y="3700392"/>
              <a:ext cx="188180" cy="129373"/>
              <a:chOff x="4655587" y="4331975"/>
              <a:chExt cx="152951" cy="99461"/>
            </a:xfrm>
            <a:gradFill>
              <a:gsLst>
                <a:gs pos="100000">
                  <a:srgbClr val="D0DB67"/>
                </a:gs>
                <a:gs pos="0">
                  <a:srgbClr val="BECE33"/>
                </a:gs>
              </a:gsLst>
              <a:lin ang="0" scaled="1"/>
            </a:gradFill>
          </p:grpSpPr>
          <p:sp>
            <p:nvSpPr>
              <p:cNvPr id="5010" name="Freeform: Shape 5009">
                <a:extLst>
                  <a:ext uri="{FF2B5EF4-FFF2-40B4-BE49-F238E27FC236}">
                    <a16:creationId xmlns:a16="http://schemas.microsoft.com/office/drawing/2014/main" id="{FDF30E2F-3019-779B-320A-35A3E7F08EF9}"/>
                  </a:ext>
                </a:extLst>
              </p:cNvPr>
              <p:cNvSpPr/>
              <p:nvPr/>
            </p:nvSpPr>
            <p:spPr>
              <a:xfrm>
                <a:off x="4655587" y="4331975"/>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11" name="Graphic 648">
                <a:extLst>
                  <a:ext uri="{FF2B5EF4-FFF2-40B4-BE49-F238E27FC236}">
                    <a16:creationId xmlns:a16="http://schemas.microsoft.com/office/drawing/2014/main" id="{F81810FA-F54C-87B0-E361-63E5BD4D565F}"/>
                  </a:ext>
                </a:extLst>
              </p:cNvPr>
              <p:cNvGrpSpPr/>
              <p:nvPr/>
            </p:nvGrpSpPr>
            <p:grpSpPr>
              <a:xfrm>
                <a:off x="4655587" y="4331975"/>
                <a:ext cx="152951" cy="99461"/>
                <a:chOff x="4655587" y="4331975"/>
                <a:chExt cx="152951" cy="99461"/>
              </a:xfrm>
              <a:grpFill/>
            </p:grpSpPr>
            <p:sp>
              <p:nvSpPr>
                <p:cNvPr id="5012" name="Freeform: Shape 5011">
                  <a:extLst>
                    <a:ext uri="{FF2B5EF4-FFF2-40B4-BE49-F238E27FC236}">
                      <a16:creationId xmlns:a16="http://schemas.microsoft.com/office/drawing/2014/main" id="{360A7CB5-986E-F653-91A4-21FAB70B0C95}"/>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13" name="Freeform: Shape 5012">
                  <a:extLst>
                    <a:ext uri="{FF2B5EF4-FFF2-40B4-BE49-F238E27FC236}">
                      <a16:creationId xmlns:a16="http://schemas.microsoft.com/office/drawing/2014/main" id="{80A225B9-4002-E551-2022-FE192E46FDF6}"/>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5000" name="Graphic 648">
              <a:extLst>
                <a:ext uri="{FF2B5EF4-FFF2-40B4-BE49-F238E27FC236}">
                  <a16:creationId xmlns:a16="http://schemas.microsoft.com/office/drawing/2014/main" id="{4A9EA67C-1B9C-D99F-DB0D-5DE667729138}"/>
                </a:ext>
              </a:extLst>
            </p:cNvPr>
            <p:cNvGrpSpPr/>
            <p:nvPr/>
          </p:nvGrpSpPr>
          <p:grpSpPr>
            <a:xfrm>
              <a:off x="6911430" y="3648084"/>
              <a:ext cx="188167" cy="129343"/>
              <a:chOff x="4829856" y="4291761"/>
              <a:chExt cx="152940" cy="99438"/>
            </a:xfrm>
            <a:gradFill>
              <a:gsLst>
                <a:gs pos="100000">
                  <a:srgbClr val="D0DB67"/>
                </a:gs>
                <a:gs pos="0">
                  <a:srgbClr val="BECE33"/>
                </a:gs>
              </a:gsLst>
              <a:lin ang="0" scaled="1"/>
            </a:gradFill>
          </p:grpSpPr>
          <p:sp>
            <p:nvSpPr>
              <p:cNvPr id="5006" name="Freeform: Shape 5005">
                <a:extLst>
                  <a:ext uri="{FF2B5EF4-FFF2-40B4-BE49-F238E27FC236}">
                    <a16:creationId xmlns:a16="http://schemas.microsoft.com/office/drawing/2014/main" id="{90BA037F-F82C-687D-8679-F6EBAAEB90BB}"/>
                  </a:ext>
                </a:extLst>
              </p:cNvPr>
              <p:cNvSpPr/>
              <p:nvPr/>
            </p:nvSpPr>
            <p:spPr>
              <a:xfrm>
                <a:off x="4829856" y="429176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5007" name="Graphic 648">
                <a:extLst>
                  <a:ext uri="{FF2B5EF4-FFF2-40B4-BE49-F238E27FC236}">
                    <a16:creationId xmlns:a16="http://schemas.microsoft.com/office/drawing/2014/main" id="{1B165FFA-5BFD-9B8F-6C49-3EEFF58FF3EA}"/>
                  </a:ext>
                </a:extLst>
              </p:cNvPr>
              <p:cNvGrpSpPr/>
              <p:nvPr/>
            </p:nvGrpSpPr>
            <p:grpSpPr>
              <a:xfrm>
                <a:off x="4829856" y="4291761"/>
                <a:ext cx="152940" cy="99438"/>
                <a:chOff x="4829856" y="4291761"/>
                <a:chExt cx="152940" cy="99438"/>
              </a:xfrm>
              <a:grpFill/>
            </p:grpSpPr>
            <p:sp>
              <p:nvSpPr>
                <p:cNvPr id="5008" name="Freeform: Shape 5007">
                  <a:extLst>
                    <a:ext uri="{FF2B5EF4-FFF2-40B4-BE49-F238E27FC236}">
                      <a16:creationId xmlns:a16="http://schemas.microsoft.com/office/drawing/2014/main" id="{1F0A83FE-DF35-E85A-ADB3-DF9373AA4F18}"/>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09" name="Freeform: Shape 5008">
                  <a:extLst>
                    <a:ext uri="{FF2B5EF4-FFF2-40B4-BE49-F238E27FC236}">
                      <a16:creationId xmlns:a16="http://schemas.microsoft.com/office/drawing/2014/main" id="{DA50D7DD-B4EF-C3B2-8AF1-759D4449B3D5}"/>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5001" name="Freeform: Shape 5000">
              <a:extLst>
                <a:ext uri="{FF2B5EF4-FFF2-40B4-BE49-F238E27FC236}">
                  <a16:creationId xmlns:a16="http://schemas.microsoft.com/office/drawing/2014/main" id="{75DB6646-CDCA-4922-BE72-FD77F7AF9B34}"/>
                </a:ext>
              </a:extLst>
            </p:cNvPr>
            <p:cNvSpPr/>
            <p:nvPr/>
          </p:nvSpPr>
          <p:spPr>
            <a:xfrm>
              <a:off x="6765393" y="3527142"/>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02" name="Freeform: Shape 5001">
              <a:extLst>
                <a:ext uri="{FF2B5EF4-FFF2-40B4-BE49-F238E27FC236}">
                  <a16:creationId xmlns:a16="http://schemas.microsoft.com/office/drawing/2014/main" id="{79A161F8-2902-B9A8-0AAC-3381DED2BAA7}"/>
                </a:ext>
              </a:extLst>
            </p:cNvPr>
            <p:cNvSpPr/>
            <p:nvPr/>
          </p:nvSpPr>
          <p:spPr>
            <a:xfrm>
              <a:off x="6550993" y="3579469"/>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03" name="Freeform: Shape 5002">
              <a:extLst>
                <a:ext uri="{FF2B5EF4-FFF2-40B4-BE49-F238E27FC236}">
                  <a16:creationId xmlns:a16="http://schemas.microsoft.com/office/drawing/2014/main" id="{AD7CD019-AC4B-404B-5987-4C526112B984}"/>
                </a:ext>
              </a:extLst>
            </p:cNvPr>
            <p:cNvSpPr/>
            <p:nvPr/>
          </p:nvSpPr>
          <p:spPr>
            <a:xfrm>
              <a:off x="6911727" y="3612752"/>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04" name="Freeform: Shape 5003">
              <a:extLst>
                <a:ext uri="{FF2B5EF4-FFF2-40B4-BE49-F238E27FC236}">
                  <a16:creationId xmlns:a16="http://schemas.microsoft.com/office/drawing/2014/main" id="{F64B168E-07D7-8870-0F03-52426B2D45EF}"/>
                </a:ext>
              </a:extLst>
            </p:cNvPr>
            <p:cNvSpPr/>
            <p:nvPr/>
          </p:nvSpPr>
          <p:spPr>
            <a:xfrm>
              <a:off x="6697327" y="3665076"/>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05" name="RectangleLegend2">
              <a:extLst>
                <a:ext uri="{FF2B5EF4-FFF2-40B4-BE49-F238E27FC236}">
                  <a16:creationId xmlns:a16="http://schemas.microsoft.com/office/drawing/2014/main" id="{57E6E3B7-4024-0E19-02F7-C6F285B8CB6A}"/>
                </a:ext>
              </a:extLst>
            </p:cNvPr>
            <p:cNvSpPr>
              <a:spLocks/>
            </p:cNvSpPr>
            <p:nvPr/>
          </p:nvSpPr>
          <p:spPr>
            <a:xfrm>
              <a:off x="6491506" y="3801178"/>
              <a:ext cx="1402645" cy="210495"/>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BioNTainers</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for GMP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roduction</a:t>
              </a:r>
            </a:p>
          </p:txBody>
        </p:sp>
      </p:grpSp>
      <p:grpSp>
        <p:nvGrpSpPr>
          <p:cNvPr id="10363" name="Group 10362">
            <a:extLst>
              <a:ext uri="{FF2B5EF4-FFF2-40B4-BE49-F238E27FC236}">
                <a16:creationId xmlns:a16="http://schemas.microsoft.com/office/drawing/2014/main" id="{F214FB64-E794-00DB-2DBE-58DCC76CA4F2}"/>
              </a:ext>
            </a:extLst>
          </p:cNvPr>
          <p:cNvGrpSpPr/>
          <p:nvPr/>
        </p:nvGrpSpPr>
        <p:grpSpPr>
          <a:xfrm>
            <a:off x="6583303" y="2780372"/>
            <a:ext cx="1572602" cy="801690"/>
            <a:chOff x="6452087" y="3417415"/>
            <a:chExt cx="1442064" cy="735143"/>
          </a:xfrm>
        </p:grpSpPr>
        <p:sp>
          <p:nvSpPr>
            <p:cNvPr id="10364" name="Freeform: Shape 10363">
              <a:extLst>
                <a:ext uri="{FF2B5EF4-FFF2-40B4-BE49-F238E27FC236}">
                  <a16:creationId xmlns:a16="http://schemas.microsoft.com/office/drawing/2014/main" id="{9DB1FEEF-DD85-0BC4-F7B5-7E8C3BFD2448}"/>
                </a:ext>
              </a:extLst>
            </p:cNvPr>
            <p:cNvSpPr/>
            <p:nvPr/>
          </p:nvSpPr>
          <p:spPr>
            <a:xfrm>
              <a:off x="6454467" y="3698333"/>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8D982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65" name="Freeform: Shape 10364">
              <a:extLst>
                <a:ext uri="{FF2B5EF4-FFF2-40B4-BE49-F238E27FC236}">
                  <a16:creationId xmlns:a16="http://schemas.microsoft.com/office/drawing/2014/main" id="{3CA6F43B-8234-C212-D9BF-B5E905B71871}"/>
                </a:ext>
              </a:extLst>
            </p:cNvPr>
            <p:cNvSpPr/>
            <p:nvPr/>
          </p:nvSpPr>
          <p:spPr>
            <a:xfrm>
              <a:off x="6452102" y="3695824"/>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B900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66" name="Freeform: Shape 10365">
              <a:extLst>
                <a:ext uri="{FF2B5EF4-FFF2-40B4-BE49-F238E27FC236}">
                  <a16:creationId xmlns:a16="http://schemas.microsoft.com/office/drawing/2014/main" id="{25150754-4184-B3AB-3D72-5227A299D83D}"/>
                </a:ext>
              </a:extLst>
            </p:cNvPr>
            <p:cNvSpPr/>
            <p:nvPr/>
          </p:nvSpPr>
          <p:spPr>
            <a:xfrm>
              <a:off x="6746652" y="3650364"/>
              <a:ext cx="900013" cy="499693"/>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BECE33"/>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67" name="Freeform: Shape 10366">
              <a:extLst>
                <a:ext uri="{FF2B5EF4-FFF2-40B4-BE49-F238E27FC236}">
                  <a16:creationId xmlns:a16="http://schemas.microsoft.com/office/drawing/2014/main" id="{6137C402-24C4-335C-D254-92422A8E5D80}"/>
                </a:ext>
              </a:extLst>
            </p:cNvPr>
            <p:cNvSpPr/>
            <p:nvPr/>
          </p:nvSpPr>
          <p:spPr>
            <a:xfrm>
              <a:off x="6744286" y="3647847"/>
              <a:ext cx="904715" cy="504711"/>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68" name="Freeform: Shape 10367">
              <a:extLst>
                <a:ext uri="{FF2B5EF4-FFF2-40B4-BE49-F238E27FC236}">
                  <a16:creationId xmlns:a16="http://schemas.microsoft.com/office/drawing/2014/main" id="{6248C78E-853E-AE2E-D287-519A01EE4322}"/>
                </a:ext>
              </a:extLst>
            </p:cNvPr>
            <p:cNvSpPr/>
            <p:nvPr/>
          </p:nvSpPr>
          <p:spPr>
            <a:xfrm>
              <a:off x="6454467" y="3478877"/>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69" name="Freeform: Shape 10368">
              <a:extLst>
                <a:ext uri="{FF2B5EF4-FFF2-40B4-BE49-F238E27FC236}">
                  <a16:creationId xmlns:a16="http://schemas.microsoft.com/office/drawing/2014/main" id="{401ABBEA-B3BA-CE8A-FB37-25B8A5617835}"/>
                </a:ext>
              </a:extLst>
            </p:cNvPr>
            <p:cNvSpPr/>
            <p:nvPr/>
          </p:nvSpPr>
          <p:spPr>
            <a:xfrm>
              <a:off x="6452087" y="3476420"/>
              <a:ext cx="1196920" cy="395841"/>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FFE9BA"/>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370" name="Graphic 648">
              <a:extLst>
                <a:ext uri="{FF2B5EF4-FFF2-40B4-BE49-F238E27FC236}">
                  <a16:creationId xmlns:a16="http://schemas.microsoft.com/office/drawing/2014/main" id="{1B917AAE-9A5B-59F8-3415-AC712B47D653}"/>
                </a:ext>
              </a:extLst>
            </p:cNvPr>
            <p:cNvGrpSpPr/>
            <p:nvPr/>
          </p:nvGrpSpPr>
          <p:grpSpPr>
            <a:xfrm>
              <a:off x="7214607" y="3452738"/>
              <a:ext cx="188167" cy="129346"/>
              <a:chOff x="5076275" y="4141580"/>
              <a:chExt cx="152940" cy="99440"/>
            </a:xfrm>
            <a:gradFill>
              <a:gsLst>
                <a:gs pos="100000">
                  <a:srgbClr val="D0DB67"/>
                </a:gs>
                <a:gs pos="0">
                  <a:srgbClr val="BECE33"/>
                </a:gs>
              </a:gsLst>
              <a:lin ang="0" scaled="1"/>
            </a:gradFill>
          </p:grpSpPr>
          <p:sp>
            <p:nvSpPr>
              <p:cNvPr id="10415" name="Freeform: Shape 10414">
                <a:extLst>
                  <a:ext uri="{FF2B5EF4-FFF2-40B4-BE49-F238E27FC236}">
                    <a16:creationId xmlns:a16="http://schemas.microsoft.com/office/drawing/2014/main" id="{9F9ADB56-815D-52D3-4132-FB5F7BA65428}"/>
                  </a:ext>
                </a:extLst>
              </p:cNvPr>
              <p:cNvSpPr/>
              <p:nvPr/>
            </p:nvSpPr>
            <p:spPr>
              <a:xfrm>
                <a:off x="5076275" y="414158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16" name="Graphic 648">
                <a:extLst>
                  <a:ext uri="{FF2B5EF4-FFF2-40B4-BE49-F238E27FC236}">
                    <a16:creationId xmlns:a16="http://schemas.microsoft.com/office/drawing/2014/main" id="{54CD9382-AA2E-40FC-5E1A-5A8F114DB2F5}"/>
                  </a:ext>
                </a:extLst>
              </p:cNvPr>
              <p:cNvGrpSpPr/>
              <p:nvPr/>
            </p:nvGrpSpPr>
            <p:grpSpPr>
              <a:xfrm>
                <a:off x="5076275" y="4141580"/>
                <a:ext cx="152940" cy="99438"/>
                <a:chOff x="5076275" y="4141580"/>
                <a:chExt cx="152940" cy="99438"/>
              </a:xfrm>
              <a:grpFill/>
            </p:grpSpPr>
            <p:sp>
              <p:nvSpPr>
                <p:cNvPr id="10417" name="Freeform: Shape 10416">
                  <a:extLst>
                    <a:ext uri="{FF2B5EF4-FFF2-40B4-BE49-F238E27FC236}">
                      <a16:creationId xmlns:a16="http://schemas.microsoft.com/office/drawing/2014/main" id="{F165223F-7A14-B1FE-1C4F-84B9B47E57D2}"/>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18" name="Freeform: Shape 10417">
                  <a:extLst>
                    <a:ext uri="{FF2B5EF4-FFF2-40B4-BE49-F238E27FC236}">
                      <a16:creationId xmlns:a16="http://schemas.microsoft.com/office/drawing/2014/main" id="{5486DD0F-DA14-BEED-6A93-B45503342C91}"/>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371" name="Graphic 648">
              <a:extLst>
                <a:ext uri="{FF2B5EF4-FFF2-40B4-BE49-F238E27FC236}">
                  <a16:creationId xmlns:a16="http://schemas.microsoft.com/office/drawing/2014/main" id="{EFDB27B9-BFC8-2EFA-6E58-B3521C5050C1}"/>
                </a:ext>
              </a:extLst>
            </p:cNvPr>
            <p:cNvGrpSpPr/>
            <p:nvPr/>
          </p:nvGrpSpPr>
          <p:grpSpPr>
            <a:xfrm>
              <a:off x="7000240" y="3505075"/>
              <a:ext cx="188153" cy="129335"/>
              <a:chOff x="4902040" y="4181817"/>
              <a:chExt cx="152929" cy="99432"/>
            </a:xfrm>
            <a:gradFill>
              <a:gsLst>
                <a:gs pos="100000">
                  <a:srgbClr val="D0DB67"/>
                </a:gs>
                <a:gs pos="0">
                  <a:srgbClr val="BECE33"/>
                </a:gs>
              </a:gsLst>
              <a:lin ang="0" scaled="1"/>
            </a:gradFill>
          </p:grpSpPr>
          <p:sp>
            <p:nvSpPr>
              <p:cNvPr id="10411" name="Freeform: Shape 10410">
                <a:extLst>
                  <a:ext uri="{FF2B5EF4-FFF2-40B4-BE49-F238E27FC236}">
                    <a16:creationId xmlns:a16="http://schemas.microsoft.com/office/drawing/2014/main" id="{DC7C4D42-B717-187D-24B8-BD5B614926CE}"/>
                  </a:ext>
                </a:extLst>
              </p:cNvPr>
              <p:cNvSpPr/>
              <p:nvPr/>
            </p:nvSpPr>
            <p:spPr>
              <a:xfrm>
                <a:off x="4902040" y="418181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12" name="Graphic 648">
                <a:extLst>
                  <a:ext uri="{FF2B5EF4-FFF2-40B4-BE49-F238E27FC236}">
                    <a16:creationId xmlns:a16="http://schemas.microsoft.com/office/drawing/2014/main" id="{2F36D738-A157-F988-D017-425D7D729D26}"/>
                  </a:ext>
                </a:extLst>
              </p:cNvPr>
              <p:cNvGrpSpPr/>
              <p:nvPr/>
            </p:nvGrpSpPr>
            <p:grpSpPr>
              <a:xfrm>
                <a:off x="4902041" y="4181817"/>
                <a:ext cx="152929" cy="99427"/>
                <a:chOff x="4902041" y="4181817"/>
                <a:chExt cx="152929" cy="99427"/>
              </a:xfrm>
              <a:grpFill/>
            </p:grpSpPr>
            <p:sp>
              <p:nvSpPr>
                <p:cNvPr id="10413" name="Freeform: Shape 10412">
                  <a:extLst>
                    <a:ext uri="{FF2B5EF4-FFF2-40B4-BE49-F238E27FC236}">
                      <a16:creationId xmlns:a16="http://schemas.microsoft.com/office/drawing/2014/main" id="{58693A9B-65EE-94E2-101D-058AF0D1B424}"/>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14" name="Freeform: Shape 10413">
                  <a:extLst>
                    <a:ext uri="{FF2B5EF4-FFF2-40B4-BE49-F238E27FC236}">
                      <a16:creationId xmlns:a16="http://schemas.microsoft.com/office/drawing/2014/main" id="{E5D1AD1A-EF16-E847-6370-16D2960F2B4D}"/>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372" name="Graphic 648">
              <a:extLst>
                <a:ext uri="{FF2B5EF4-FFF2-40B4-BE49-F238E27FC236}">
                  <a16:creationId xmlns:a16="http://schemas.microsoft.com/office/drawing/2014/main" id="{CF534D27-1639-50FF-97D8-8E5B1074C8C7}"/>
                </a:ext>
              </a:extLst>
            </p:cNvPr>
            <p:cNvGrpSpPr/>
            <p:nvPr/>
          </p:nvGrpSpPr>
          <p:grpSpPr>
            <a:xfrm>
              <a:off x="7146583" y="3590672"/>
              <a:ext cx="188153" cy="129357"/>
              <a:chOff x="5020986" y="4247623"/>
              <a:chExt cx="152929" cy="99449"/>
            </a:xfrm>
            <a:gradFill>
              <a:gsLst>
                <a:gs pos="100000">
                  <a:srgbClr val="D0DB67"/>
                </a:gs>
                <a:gs pos="0">
                  <a:srgbClr val="BECE33"/>
                </a:gs>
              </a:gsLst>
              <a:lin ang="0" scaled="1"/>
            </a:gradFill>
          </p:grpSpPr>
          <p:sp>
            <p:nvSpPr>
              <p:cNvPr id="10407" name="Freeform: Shape 10406">
                <a:extLst>
                  <a:ext uri="{FF2B5EF4-FFF2-40B4-BE49-F238E27FC236}">
                    <a16:creationId xmlns:a16="http://schemas.microsoft.com/office/drawing/2014/main" id="{A2C5A9A9-D50F-E686-625B-F67DD566CCAB}"/>
                  </a:ext>
                </a:extLst>
              </p:cNvPr>
              <p:cNvSpPr/>
              <p:nvPr/>
            </p:nvSpPr>
            <p:spPr>
              <a:xfrm>
                <a:off x="5020986" y="424762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08" name="Graphic 648">
                <a:extLst>
                  <a:ext uri="{FF2B5EF4-FFF2-40B4-BE49-F238E27FC236}">
                    <a16:creationId xmlns:a16="http://schemas.microsoft.com/office/drawing/2014/main" id="{847F1FD6-CEC8-1F17-9EC2-8B380358DFD9}"/>
                  </a:ext>
                </a:extLst>
              </p:cNvPr>
              <p:cNvGrpSpPr/>
              <p:nvPr/>
            </p:nvGrpSpPr>
            <p:grpSpPr>
              <a:xfrm>
                <a:off x="5020987" y="4247623"/>
                <a:ext cx="152929" cy="99449"/>
                <a:chOff x="5020987" y="4247623"/>
                <a:chExt cx="152929" cy="99449"/>
              </a:xfrm>
              <a:grpFill/>
            </p:grpSpPr>
            <p:sp>
              <p:nvSpPr>
                <p:cNvPr id="10409" name="Freeform: Shape 10408">
                  <a:extLst>
                    <a:ext uri="{FF2B5EF4-FFF2-40B4-BE49-F238E27FC236}">
                      <a16:creationId xmlns:a16="http://schemas.microsoft.com/office/drawing/2014/main" id="{F8E7C13C-CF41-9DFB-2B24-19E44DB304C0}"/>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10" name="Freeform: Shape 10409">
                  <a:extLst>
                    <a:ext uri="{FF2B5EF4-FFF2-40B4-BE49-F238E27FC236}">
                      <a16:creationId xmlns:a16="http://schemas.microsoft.com/office/drawing/2014/main" id="{CE759C70-2F7D-C8AF-E7C1-A48D979E83F3}"/>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373" name="Graphic 648">
              <a:extLst>
                <a:ext uri="{FF2B5EF4-FFF2-40B4-BE49-F238E27FC236}">
                  <a16:creationId xmlns:a16="http://schemas.microsoft.com/office/drawing/2014/main" id="{A88C13DE-70F9-ACE3-0997-71A081FF83DD}"/>
                </a:ext>
              </a:extLst>
            </p:cNvPr>
            <p:cNvGrpSpPr/>
            <p:nvPr/>
          </p:nvGrpSpPr>
          <p:grpSpPr>
            <a:xfrm>
              <a:off x="7360991" y="3538348"/>
              <a:ext cx="188167" cy="129357"/>
              <a:chOff x="5195255" y="4207397"/>
              <a:chExt cx="152940" cy="99449"/>
            </a:xfrm>
            <a:gradFill>
              <a:gsLst>
                <a:gs pos="100000">
                  <a:srgbClr val="D0DB67"/>
                </a:gs>
                <a:gs pos="0">
                  <a:srgbClr val="BECE33"/>
                </a:gs>
              </a:gsLst>
              <a:lin ang="0" scaled="1"/>
            </a:gradFill>
          </p:grpSpPr>
          <p:sp>
            <p:nvSpPr>
              <p:cNvPr id="10403" name="Freeform: Shape 10402">
                <a:extLst>
                  <a:ext uri="{FF2B5EF4-FFF2-40B4-BE49-F238E27FC236}">
                    <a16:creationId xmlns:a16="http://schemas.microsoft.com/office/drawing/2014/main" id="{C580E642-7215-0AF3-86DC-4649109CD1EA}"/>
                  </a:ext>
                </a:extLst>
              </p:cNvPr>
              <p:cNvSpPr/>
              <p:nvPr/>
            </p:nvSpPr>
            <p:spPr>
              <a:xfrm>
                <a:off x="5195255" y="420739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04" name="Graphic 648">
                <a:extLst>
                  <a:ext uri="{FF2B5EF4-FFF2-40B4-BE49-F238E27FC236}">
                    <a16:creationId xmlns:a16="http://schemas.microsoft.com/office/drawing/2014/main" id="{B0B6B053-F319-DD21-1F66-3F254A94CA65}"/>
                  </a:ext>
                </a:extLst>
              </p:cNvPr>
              <p:cNvGrpSpPr/>
              <p:nvPr/>
            </p:nvGrpSpPr>
            <p:grpSpPr>
              <a:xfrm>
                <a:off x="5195256" y="4207397"/>
                <a:ext cx="152940" cy="99449"/>
                <a:chOff x="5195256" y="4207397"/>
                <a:chExt cx="152940" cy="99449"/>
              </a:xfrm>
              <a:grpFill/>
            </p:grpSpPr>
            <p:sp>
              <p:nvSpPr>
                <p:cNvPr id="10405" name="Freeform: Shape 10404">
                  <a:extLst>
                    <a:ext uri="{FF2B5EF4-FFF2-40B4-BE49-F238E27FC236}">
                      <a16:creationId xmlns:a16="http://schemas.microsoft.com/office/drawing/2014/main" id="{EA1344C3-EF57-EB60-D8DE-19A04F3EEE61}"/>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06" name="Freeform: Shape 10405">
                  <a:extLst>
                    <a:ext uri="{FF2B5EF4-FFF2-40B4-BE49-F238E27FC236}">
                      <a16:creationId xmlns:a16="http://schemas.microsoft.com/office/drawing/2014/main" id="{7957A82A-26B4-33BE-9FD6-C3BC7619F0E9}"/>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374" name="Freeform: Shape 10373">
              <a:extLst>
                <a:ext uri="{FF2B5EF4-FFF2-40B4-BE49-F238E27FC236}">
                  <a16:creationId xmlns:a16="http://schemas.microsoft.com/office/drawing/2014/main" id="{A994EC1B-4610-3915-FDD2-01222FC8109E}"/>
                </a:ext>
              </a:extLst>
            </p:cNvPr>
            <p:cNvSpPr/>
            <p:nvPr/>
          </p:nvSpPr>
          <p:spPr>
            <a:xfrm>
              <a:off x="7214943" y="3417415"/>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75" name="Freeform: Shape 10374">
              <a:extLst>
                <a:ext uri="{FF2B5EF4-FFF2-40B4-BE49-F238E27FC236}">
                  <a16:creationId xmlns:a16="http://schemas.microsoft.com/office/drawing/2014/main" id="{BEE4FEC3-4EEC-5636-5C77-0B31007242A8}"/>
                </a:ext>
              </a:extLst>
            </p:cNvPr>
            <p:cNvSpPr/>
            <p:nvPr/>
          </p:nvSpPr>
          <p:spPr>
            <a:xfrm>
              <a:off x="7000536" y="3469749"/>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76" name="Freeform: Shape 10375">
              <a:extLst>
                <a:ext uri="{FF2B5EF4-FFF2-40B4-BE49-F238E27FC236}">
                  <a16:creationId xmlns:a16="http://schemas.microsoft.com/office/drawing/2014/main" id="{3DA5AA11-B332-D9FB-4845-FA7E53ACEF2D}"/>
                </a:ext>
              </a:extLst>
            </p:cNvPr>
            <p:cNvSpPr/>
            <p:nvPr/>
          </p:nvSpPr>
          <p:spPr>
            <a:xfrm>
              <a:off x="7361257" y="3503023"/>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77" name="Freeform: Shape 10376">
              <a:extLst>
                <a:ext uri="{FF2B5EF4-FFF2-40B4-BE49-F238E27FC236}">
                  <a16:creationId xmlns:a16="http://schemas.microsoft.com/office/drawing/2014/main" id="{27035934-14B3-2D3A-746D-EF9638FE3B30}"/>
                </a:ext>
              </a:extLst>
            </p:cNvPr>
            <p:cNvSpPr/>
            <p:nvPr/>
          </p:nvSpPr>
          <p:spPr>
            <a:xfrm>
              <a:off x="7146880" y="3555346"/>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378" name="Graphic 648">
              <a:extLst>
                <a:ext uri="{FF2B5EF4-FFF2-40B4-BE49-F238E27FC236}">
                  <a16:creationId xmlns:a16="http://schemas.microsoft.com/office/drawing/2014/main" id="{1163B182-0E6A-71E3-5F59-60FDA5B9E915}"/>
                </a:ext>
              </a:extLst>
            </p:cNvPr>
            <p:cNvGrpSpPr/>
            <p:nvPr/>
          </p:nvGrpSpPr>
          <p:grpSpPr>
            <a:xfrm>
              <a:off x="6765074" y="3562473"/>
              <a:ext cx="188167" cy="129348"/>
              <a:chOff x="4710899" y="4225944"/>
              <a:chExt cx="152940" cy="99442"/>
            </a:xfrm>
            <a:gradFill>
              <a:gsLst>
                <a:gs pos="100000">
                  <a:srgbClr val="D0DB67"/>
                </a:gs>
                <a:gs pos="0">
                  <a:srgbClr val="BECE33"/>
                </a:gs>
              </a:gsLst>
              <a:lin ang="0" scaled="1"/>
            </a:gradFill>
          </p:grpSpPr>
          <p:sp>
            <p:nvSpPr>
              <p:cNvPr id="10399" name="Freeform: Shape 10398">
                <a:extLst>
                  <a:ext uri="{FF2B5EF4-FFF2-40B4-BE49-F238E27FC236}">
                    <a16:creationId xmlns:a16="http://schemas.microsoft.com/office/drawing/2014/main" id="{FF7CE195-18AA-A62D-4EFF-5170FAAA5CE5}"/>
                  </a:ext>
                </a:extLst>
              </p:cNvPr>
              <p:cNvSpPr/>
              <p:nvPr/>
            </p:nvSpPr>
            <p:spPr>
              <a:xfrm>
                <a:off x="4710899" y="422594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00" name="Graphic 648">
                <a:extLst>
                  <a:ext uri="{FF2B5EF4-FFF2-40B4-BE49-F238E27FC236}">
                    <a16:creationId xmlns:a16="http://schemas.microsoft.com/office/drawing/2014/main" id="{2AA04A8F-E23E-B279-F067-72A17DB83C45}"/>
                  </a:ext>
                </a:extLst>
              </p:cNvPr>
              <p:cNvGrpSpPr/>
              <p:nvPr/>
            </p:nvGrpSpPr>
            <p:grpSpPr>
              <a:xfrm>
                <a:off x="4710899" y="4225944"/>
                <a:ext cx="152940" cy="99438"/>
                <a:chOff x="4710899" y="4225944"/>
                <a:chExt cx="152940" cy="99438"/>
              </a:xfrm>
              <a:grpFill/>
            </p:grpSpPr>
            <p:sp>
              <p:nvSpPr>
                <p:cNvPr id="10401" name="Freeform: Shape 10400">
                  <a:extLst>
                    <a:ext uri="{FF2B5EF4-FFF2-40B4-BE49-F238E27FC236}">
                      <a16:creationId xmlns:a16="http://schemas.microsoft.com/office/drawing/2014/main" id="{AE6E4D1D-2D93-31A3-9B24-E9496AED822E}"/>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02" name="Freeform: Shape 10401">
                  <a:extLst>
                    <a:ext uri="{FF2B5EF4-FFF2-40B4-BE49-F238E27FC236}">
                      <a16:creationId xmlns:a16="http://schemas.microsoft.com/office/drawing/2014/main" id="{B0FE624F-60C6-018A-162B-F032FCBCDAD9}"/>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379" name="Graphic 648">
              <a:extLst>
                <a:ext uri="{FF2B5EF4-FFF2-40B4-BE49-F238E27FC236}">
                  <a16:creationId xmlns:a16="http://schemas.microsoft.com/office/drawing/2014/main" id="{A0389B10-365F-F2BE-9211-06EE00AB5113}"/>
                </a:ext>
              </a:extLst>
            </p:cNvPr>
            <p:cNvGrpSpPr/>
            <p:nvPr/>
          </p:nvGrpSpPr>
          <p:grpSpPr>
            <a:xfrm>
              <a:off x="6550679" y="3614795"/>
              <a:ext cx="188153" cy="129346"/>
              <a:chOff x="4536641" y="4266169"/>
              <a:chExt cx="152929" cy="99440"/>
            </a:xfrm>
            <a:gradFill>
              <a:gsLst>
                <a:gs pos="100000">
                  <a:srgbClr val="D0DB67"/>
                </a:gs>
                <a:gs pos="0">
                  <a:srgbClr val="BECE33"/>
                </a:gs>
              </a:gsLst>
              <a:lin ang="0" scaled="1"/>
            </a:gradFill>
          </p:grpSpPr>
          <p:sp>
            <p:nvSpPr>
              <p:cNvPr id="10395" name="Freeform: Shape 10394">
                <a:extLst>
                  <a:ext uri="{FF2B5EF4-FFF2-40B4-BE49-F238E27FC236}">
                    <a16:creationId xmlns:a16="http://schemas.microsoft.com/office/drawing/2014/main" id="{819D19DF-1026-41DB-E729-15D96402A986}"/>
                  </a:ext>
                </a:extLst>
              </p:cNvPr>
              <p:cNvSpPr/>
              <p:nvPr/>
            </p:nvSpPr>
            <p:spPr>
              <a:xfrm>
                <a:off x="4536641" y="4266169"/>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396" name="Graphic 648">
                <a:extLst>
                  <a:ext uri="{FF2B5EF4-FFF2-40B4-BE49-F238E27FC236}">
                    <a16:creationId xmlns:a16="http://schemas.microsoft.com/office/drawing/2014/main" id="{48EDE900-47B2-50F6-4B82-747360F284FB}"/>
                  </a:ext>
                </a:extLst>
              </p:cNvPr>
              <p:cNvGrpSpPr/>
              <p:nvPr/>
            </p:nvGrpSpPr>
            <p:grpSpPr>
              <a:xfrm>
                <a:off x="4536641" y="4266169"/>
                <a:ext cx="152929" cy="99438"/>
                <a:chOff x="4536641" y="4266169"/>
                <a:chExt cx="152929" cy="99438"/>
              </a:xfrm>
              <a:grpFill/>
            </p:grpSpPr>
            <p:sp>
              <p:nvSpPr>
                <p:cNvPr id="10397" name="Freeform: Shape 10396">
                  <a:extLst>
                    <a:ext uri="{FF2B5EF4-FFF2-40B4-BE49-F238E27FC236}">
                      <a16:creationId xmlns:a16="http://schemas.microsoft.com/office/drawing/2014/main" id="{5566FF98-48CD-B559-A0D7-39FCD0C28491}"/>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98" name="Freeform: Shape 10397">
                  <a:extLst>
                    <a:ext uri="{FF2B5EF4-FFF2-40B4-BE49-F238E27FC236}">
                      <a16:creationId xmlns:a16="http://schemas.microsoft.com/office/drawing/2014/main" id="{E08C0B31-D57B-A54E-4899-A625897E32FA}"/>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380" name="Graphic 648">
              <a:extLst>
                <a:ext uri="{FF2B5EF4-FFF2-40B4-BE49-F238E27FC236}">
                  <a16:creationId xmlns:a16="http://schemas.microsoft.com/office/drawing/2014/main" id="{EB346831-A14A-C8E0-767D-5BD9BB03E30F}"/>
                </a:ext>
              </a:extLst>
            </p:cNvPr>
            <p:cNvGrpSpPr/>
            <p:nvPr/>
          </p:nvGrpSpPr>
          <p:grpSpPr>
            <a:xfrm>
              <a:off x="6697022" y="3700392"/>
              <a:ext cx="188180" cy="129373"/>
              <a:chOff x="4655587" y="4331975"/>
              <a:chExt cx="152951" cy="99461"/>
            </a:xfrm>
            <a:gradFill>
              <a:gsLst>
                <a:gs pos="100000">
                  <a:srgbClr val="D0DB67"/>
                </a:gs>
                <a:gs pos="0">
                  <a:srgbClr val="BECE33"/>
                </a:gs>
              </a:gsLst>
              <a:lin ang="0" scaled="1"/>
            </a:gradFill>
          </p:grpSpPr>
          <p:sp>
            <p:nvSpPr>
              <p:cNvPr id="10391" name="Freeform: Shape 10390">
                <a:extLst>
                  <a:ext uri="{FF2B5EF4-FFF2-40B4-BE49-F238E27FC236}">
                    <a16:creationId xmlns:a16="http://schemas.microsoft.com/office/drawing/2014/main" id="{3E230B11-5022-0CC4-8F28-F390322FB571}"/>
                  </a:ext>
                </a:extLst>
              </p:cNvPr>
              <p:cNvSpPr/>
              <p:nvPr/>
            </p:nvSpPr>
            <p:spPr>
              <a:xfrm>
                <a:off x="4655587" y="4331975"/>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392" name="Graphic 648">
                <a:extLst>
                  <a:ext uri="{FF2B5EF4-FFF2-40B4-BE49-F238E27FC236}">
                    <a16:creationId xmlns:a16="http://schemas.microsoft.com/office/drawing/2014/main" id="{FF0FBC52-BC8F-BB04-62E0-56439236E62D}"/>
                  </a:ext>
                </a:extLst>
              </p:cNvPr>
              <p:cNvGrpSpPr/>
              <p:nvPr/>
            </p:nvGrpSpPr>
            <p:grpSpPr>
              <a:xfrm>
                <a:off x="4655587" y="4331975"/>
                <a:ext cx="152951" cy="99461"/>
                <a:chOff x="4655587" y="4331975"/>
                <a:chExt cx="152951" cy="99461"/>
              </a:xfrm>
              <a:grpFill/>
            </p:grpSpPr>
            <p:sp>
              <p:nvSpPr>
                <p:cNvPr id="10393" name="Freeform: Shape 10392">
                  <a:extLst>
                    <a:ext uri="{FF2B5EF4-FFF2-40B4-BE49-F238E27FC236}">
                      <a16:creationId xmlns:a16="http://schemas.microsoft.com/office/drawing/2014/main" id="{6EED7F37-697B-5FA5-AAAD-AB0866854B95}"/>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94" name="Freeform: Shape 10393">
                  <a:extLst>
                    <a:ext uri="{FF2B5EF4-FFF2-40B4-BE49-F238E27FC236}">
                      <a16:creationId xmlns:a16="http://schemas.microsoft.com/office/drawing/2014/main" id="{F3B9559D-5293-DE15-2D6E-A924AD46D40B}"/>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381" name="Graphic 648">
              <a:extLst>
                <a:ext uri="{FF2B5EF4-FFF2-40B4-BE49-F238E27FC236}">
                  <a16:creationId xmlns:a16="http://schemas.microsoft.com/office/drawing/2014/main" id="{83CFE026-EA68-987F-1E9C-CD4922CA8949}"/>
                </a:ext>
              </a:extLst>
            </p:cNvPr>
            <p:cNvGrpSpPr/>
            <p:nvPr/>
          </p:nvGrpSpPr>
          <p:grpSpPr>
            <a:xfrm>
              <a:off x="6911430" y="3648084"/>
              <a:ext cx="188167" cy="129343"/>
              <a:chOff x="4829856" y="4291761"/>
              <a:chExt cx="152940" cy="99438"/>
            </a:xfrm>
            <a:gradFill>
              <a:gsLst>
                <a:gs pos="100000">
                  <a:srgbClr val="D0DB67"/>
                </a:gs>
                <a:gs pos="0">
                  <a:srgbClr val="BECE33"/>
                </a:gs>
              </a:gsLst>
              <a:lin ang="0" scaled="1"/>
            </a:gradFill>
          </p:grpSpPr>
          <p:sp>
            <p:nvSpPr>
              <p:cNvPr id="10387" name="Freeform: Shape 10386">
                <a:extLst>
                  <a:ext uri="{FF2B5EF4-FFF2-40B4-BE49-F238E27FC236}">
                    <a16:creationId xmlns:a16="http://schemas.microsoft.com/office/drawing/2014/main" id="{C69F7AD4-39F8-F80B-CFE2-FFC9AAA21297}"/>
                  </a:ext>
                </a:extLst>
              </p:cNvPr>
              <p:cNvSpPr/>
              <p:nvPr/>
            </p:nvSpPr>
            <p:spPr>
              <a:xfrm>
                <a:off x="4829856" y="429176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388" name="Graphic 648">
                <a:extLst>
                  <a:ext uri="{FF2B5EF4-FFF2-40B4-BE49-F238E27FC236}">
                    <a16:creationId xmlns:a16="http://schemas.microsoft.com/office/drawing/2014/main" id="{07423157-C8BE-6A73-5E79-65C20D8B48EA}"/>
                  </a:ext>
                </a:extLst>
              </p:cNvPr>
              <p:cNvGrpSpPr/>
              <p:nvPr/>
            </p:nvGrpSpPr>
            <p:grpSpPr>
              <a:xfrm>
                <a:off x="4829856" y="4291761"/>
                <a:ext cx="152940" cy="99438"/>
                <a:chOff x="4829856" y="4291761"/>
                <a:chExt cx="152940" cy="99438"/>
              </a:xfrm>
              <a:grpFill/>
            </p:grpSpPr>
            <p:sp>
              <p:nvSpPr>
                <p:cNvPr id="10389" name="Freeform: Shape 10388">
                  <a:extLst>
                    <a:ext uri="{FF2B5EF4-FFF2-40B4-BE49-F238E27FC236}">
                      <a16:creationId xmlns:a16="http://schemas.microsoft.com/office/drawing/2014/main" id="{E6DC0388-9EF3-2FC9-66FA-38A18423AADA}"/>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90" name="Freeform: Shape 10389">
                  <a:extLst>
                    <a:ext uri="{FF2B5EF4-FFF2-40B4-BE49-F238E27FC236}">
                      <a16:creationId xmlns:a16="http://schemas.microsoft.com/office/drawing/2014/main" id="{B136B69A-1FC3-3976-8AFE-2509A3B31507}"/>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382" name="Freeform: Shape 10381">
              <a:extLst>
                <a:ext uri="{FF2B5EF4-FFF2-40B4-BE49-F238E27FC236}">
                  <a16:creationId xmlns:a16="http://schemas.microsoft.com/office/drawing/2014/main" id="{D53FCAB7-030C-85C8-262D-F7419F534106}"/>
                </a:ext>
              </a:extLst>
            </p:cNvPr>
            <p:cNvSpPr/>
            <p:nvPr/>
          </p:nvSpPr>
          <p:spPr>
            <a:xfrm>
              <a:off x="6765393" y="3527142"/>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83" name="Freeform: Shape 10382">
              <a:extLst>
                <a:ext uri="{FF2B5EF4-FFF2-40B4-BE49-F238E27FC236}">
                  <a16:creationId xmlns:a16="http://schemas.microsoft.com/office/drawing/2014/main" id="{F0B9FAD7-5F4B-14D1-21B7-4731357B1D2C}"/>
                </a:ext>
              </a:extLst>
            </p:cNvPr>
            <p:cNvSpPr/>
            <p:nvPr/>
          </p:nvSpPr>
          <p:spPr>
            <a:xfrm>
              <a:off x="6550993" y="3579469"/>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84" name="Freeform: Shape 10383">
              <a:extLst>
                <a:ext uri="{FF2B5EF4-FFF2-40B4-BE49-F238E27FC236}">
                  <a16:creationId xmlns:a16="http://schemas.microsoft.com/office/drawing/2014/main" id="{18B2FDFC-EBCD-B95C-2EAD-27A328719060}"/>
                </a:ext>
              </a:extLst>
            </p:cNvPr>
            <p:cNvSpPr/>
            <p:nvPr/>
          </p:nvSpPr>
          <p:spPr>
            <a:xfrm>
              <a:off x="6911727" y="3612752"/>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85" name="Freeform: Shape 10384">
              <a:extLst>
                <a:ext uri="{FF2B5EF4-FFF2-40B4-BE49-F238E27FC236}">
                  <a16:creationId xmlns:a16="http://schemas.microsoft.com/office/drawing/2014/main" id="{096D888C-C77E-CEFF-04B0-6310A777169B}"/>
                </a:ext>
              </a:extLst>
            </p:cNvPr>
            <p:cNvSpPr/>
            <p:nvPr/>
          </p:nvSpPr>
          <p:spPr>
            <a:xfrm>
              <a:off x="6697327" y="3665076"/>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86" name="RectangleLegend2">
              <a:extLst>
                <a:ext uri="{FF2B5EF4-FFF2-40B4-BE49-F238E27FC236}">
                  <a16:creationId xmlns:a16="http://schemas.microsoft.com/office/drawing/2014/main" id="{5F7C9191-E65E-607D-8328-E4BBD7F09A61}"/>
                </a:ext>
              </a:extLst>
            </p:cNvPr>
            <p:cNvSpPr>
              <a:spLocks/>
            </p:cNvSpPr>
            <p:nvPr/>
          </p:nvSpPr>
          <p:spPr>
            <a:xfrm>
              <a:off x="6491506" y="3801178"/>
              <a:ext cx="1402645" cy="210495"/>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uxiliary services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building</a:t>
              </a:r>
            </a:p>
          </p:txBody>
        </p:sp>
      </p:grpSp>
      <p:grpSp>
        <p:nvGrpSpPr>
          <p:cNvPr id="10419" name="Group 10418">
            <a:extLst>
              <a:ext uri="{FF2B5EF4-FFF2-40B4-BE49-F238E27FC236}">
                <a16:creationId xmlns:a16="http://schemas.microsoft.com/office/drawing/2014/main" id="{4B8F5E75-628D-ADC5-BCB5-801B11CF2C66}"/>
              </a:ext>
            </a:extLst>
          </p:cNvPr>
          <p:cNvGrpSpPr/>
          <p:nvPr/>
        </p:nvGrpSpPr>
        <p:grpSpPr>
          <a:xfrm>
            <a:off x="5584711" y="3022178"/>
            <a:ext cx="1570393" cy="801691"/>
            <a:chOff x="14899386" y="1530890"/>
            <a:chExt cx="1684446" cy="859915"/>
          </a:xfrm>
        </p:grpSpPr>
        <p:grpSp>
          <p:nvGrpSpPr>
            <p:cNvPr id="10420" name="Graphic 455">
              <a:extLst>
                <a:ext uri="{FF2B5EF4-FFF2-40B4-BE49-F238E27FC236}">
                  <a16:creationId xmlns:a16="http://schemas.microsoft.com/office/drawing/2014/main" id="{5325B421-780B-90B5-A7D6-A25E633F40EA}"/>
                </a:ext>
              </a:extLst>
            </p:cNvPr>
            <p:cNvGrpSpPr/>
            <p:nvPr/>
          </p:nvGrpSpPr>
          <p:grpSpPr>
            <a:xfrm>
              <a:off x="15553893" y="1961995"/>
              <a:ext cx="220103" cy="151299"/>
              <a:chOff x="2595171" y="4564360"/>
              <a:chExt cx="152940" cy="99440"/>
            </a:xfrm>
            <a:gradFill flip="none" rotWithShape="1">
              <a:gsLst>
                <a:gs pos="100000">
                  <a:srgbClr val="008896"/>
                </a:gs>
                <a:gs pos="0">
                  <a:srgbClr val="005A64"/>
                </a:gs>
              </a:gsLst>
              <a:lin ang="0" scaled="1"/>
              <a:tileRect/>
            </a:gradFill>
          </p:grpSpPr>
          <p:sp>
            <p:nvSpPr>
              <p:cNvPr id="10507" name="Freeform: Shape 10506">
                <a:extLst>
                  <a:ext uri="{FF2B5EF4-FFF2-40B4-BE49-F238E27FC236}">
                    <a16:creationId xmlns:a16="http://schemas.microsoft.com/office/drawing/2014/main" id="{24C307D0-4AE1-D628-0BE0-F1038CB32F69}"/>
                  </a:ext>
                </a:extLst>
              </p:cNvPr>
              <p:cNvSpPr/>
              <p:nvPr/>
            </p:nvSpPr>
            <p:spPr>
              <a:xfrm>
                <a:off x="2595171" y="456436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08" name="Graphic 455">
                <a:extLst>
                  <a:ext uri="{FF2B5EF4-FFF2-40B4-BE49-F238E27FC236}">
                    <a16:creationId xmlns:a16="http://schemas.microsoft.com/office/drawing/2014/main" id="{962984A4-4711-BDEB-7C93-25CBB3DB1951}"/>
                  </a:ext>
                </a:extLst>
              </p:cNvPr>
              <p:cNvGrpSpPr/>
              <p:nvPr/>
            </p:nvGrpSpPr>
            <p:grpSpPr>
              <a:xfrm>
                <a:off x="2595171" y="4564360"/>
                <a:ext cx="152940" cy="99438"/>
                <a:chOff x="2595171" y="4564360"/>
                <a:chExt cx="152940" cy="99438"/>
              </a:xfrm>
              <a:grpFill/>
            </p:grpSpPr>
            <p:sp>
              <p:nvSpPr>
                <p:cNvPr id="10509" name="Freeform: Shape 10508">
                  <a:extLst>
                    <a:ext uri="{FF2B5EF4-FFF2-40B4-BE49-F238E27FC236}">
                      <a16:creationId xmlns:a16="http://schemas.microsoft.com/office/drawing/2014/main" id="{43E656C1-97EB-05FA-77FA-975A52267E58}"/>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10" name="Freeform: Shape 10509">
                  <a:extLst>
                    <a:ext uri="{FF2B5EF4-FFF2-40B4-BE49-F238E27FC236}">
                      <a16:creationId xmlns:a16="http://schemas.microsoft.com/office/drawing/2014/main" id="{5ED28926-DBE7-C001-FB6D-D5A280F75259}"/>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421" name="Graphic 455">
              <a:extLst>
                <a:ext uri="{FF2B5EF4-FFF2-40B4-BE49-F238E27FC236}">
                  <a16:creationId xmlns:a16="http://schemas.microsoft.com/office/drawing/2014/main" id="{BDFF4265-8A81-33DC-12FC-A9A54231389A}"/>
                </a:ext>
              </a:extLst>
            </p:cNvPr>
            <p:cNvGrpSpPr/>
            <p:nvPr/>
          </p:nvGrpSpPr>
          <p:grpSpPr>
            <a:xfrm>
              <a:off x="15303143" y="2023216"/>
              <a:ext cx="220087" cy="151286"/>
              <a:chOff x="2420936" y="4604597"/>
              <a:chExt cx="152929" cy="99432"/>
            </a:xfrm>
            <a:gradFill flip="none" rotWithShape="1">
              <a:gsLst>
                <a:gs pos="100000">
                  <a:srgbClr val="008896"/>
                </a:gs>
                <a:gs pos="0">
                  <a:srgbClr val="005A64"/>
                </a:gs>
              </a:gsLst>
              <a:lin ang="0" scaled="1"/>
              <a:tileRect/>
            </a:gradFill>
          </p:grpSpPr>
          <p:sp>
            <p:nvSpPr>
              <p:cNvPr id="10503" name="Freeform: Shape 10502">
                <a:extLst>
                  <a:ext uri="{FF2B5EF4-FFF2-40B4-BE49-F238E27FC236}">
                    <a16:creationId xmlns:a16="http://schemas.microsoft.com/office/drawing/2014/main" id="{9F03BBD0-E679-377F-2806-7D242ECC72A8}"/>
                  </a:ext>
                </a:extLst>
              </p:cNvPr>
              <p:cNvSpPr/>
              <p:nvPr/>
            </p:nvSpPr>
            <p:spPr>
              <a:xfrm>
                <a:off x="2420936" y="460459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04" name="Graphic 455">
                <a:extLst>
                  <a:ext uri="{FF2B5EF4-FFF2-40B4-BE49-F238E27FC236}">
                    <a16:creationId xmlns:a16="http://schemas.microsoft.com/office/drawing/2014/main" id="{E9D073C6-0167-2E98-6D53-D55735F2500E}"/>
                  </a:ext>
                </a:extLst>
              </p:cNvPr>
              <p:cNvGrpSpPr/>
              <p:nvPr/>
            </p:nvGrpSpPr>
            <p:grpSpPr>
              <a:xfrm>
                <a:off x="2420937" y="4604597"/>
                <a:ext cx="152929" cy="99427"/>
                <a:chOff x="2420937" y="4604597"/>
                <a:chExt cx="152929" cy="99427"/>
              </a:xfrm>
              <a:grpFill/>
            </p:grpSpPr>
            <p:sp>
              <p:nvSpPr>
                <p:cNvPr id="10505" name="Freeform: Shape 10504">
                  <a:extLst>
                    <a:ext uri="{FF2B5EF4-FFF2-40B4-BE49-F238E27FC236}">
                      <a16:creationId xmlns:a16="http://schemas.microsoft.com/office/drawing/2014/main" id="{B5F6F293-3887-25F2-9BFE-9128E4DBE876}"/>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06" name="Freeform: Shape 10505">
                  <a:extLst>
                    <a:ext uri="{FF2B5EF4-FFF2-40B4-BE49-F238E27FC236}">
                      <a16:creationId xmlns:a16="http://schemas.microsoft.com/office/drawing/2014/main" id="{FA07DF16-EBF5-5EC5-53F6-3CF52969FBA3}"/>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422" name="Graphic 455">
              <a:extLst>
                <a:ext uri="{FF2B5EF4-FFF2-40B4-BE49-F238E27FC236}">
                  <a16:creationId xmlns:a16="http://schemas.microsoft.com/office/drawing/2014/main" id="{9AC95F3C-9136-98D1-59E2-E132836F1680}"/>
                </a:ext>
              </a:extLst>
            </p:cNvPr>
            <p:cNvGrpSpPr/>
            <p:nvPr/>
          </p:nvGrpSpPr>
          <p:grpSpPr>
            <a:xfrm>
              <a:off x="15474324" y="2123341"/>
              <a:ext cx="220087" cy="151312"/>
              <a:chOff x="2539882" y="4670403"/>
              <a:chExt cx="152929" cy="99449"/>
            </a:xfrm>
            <a:gradFill flip="none" rotWithShape="1">
              <a:gsLst>
                <a:gs pos="100000">
                  <a:srgbClr val="008896"/>
                </a:gs>
                <a:gs pos="0">
                  <a:srgbClr val="005A64"/>
                </a:gs>
              </a:gsLst>
              <a:lin ang="0" scaled="1"/>
              <a:tileRect/>
            </a:gradFill>
          </p:grpSpPr>
          <p:sp>
            <p:nvSpPr>
              <p:cNvPr id="10499" name="Freeform: Shape 10498">
                <a:extLst>
                  <a:ext uri="{FF2B5EF4-FFF2-40B4-BE49-F238E27FC236}">
                    <a16:creationId xmlns:a16="http://schemas.microsoft.com/office/drawing/2014/main" id="{5B205EC9-AE83-174A-F533-C825D88E8B04}"/>
                  </a:ext>
                </a:extLst>
              </p:cNvPr>
              <p:cNvSpPr/>
              <p:nvPr/>
            </p:nvSpPr>
            <p:spPr>
              <a:xfrm>
                <a:off x="2539882" y="467040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00" name="Graphic 455">
                <a:extLst>
                  <a:ext uri="{FF2B5EF4-FFF2-40B4-BE49-F238E27FC236}">
                    <a16:creationId xmlns:a16="http://schemas.microsoft.com/office/drawing/2014/main" id="{BF68CB71-51B8-F4D7-5342-439EDEF25CE6}"/>
                  </a:ext>
                </a:extLst>
              </p:cNvPr>
              <p:cNvGrpSpPr/>
              <p:nvPr/>
            </p:nvGrpSpPr>
            <p:grpSpPr>
              <a:xfrm>
                <a:off x="2539883" y="4670403"/>
                <a:ext cx="152929" cy="99449"/>
                <a:chOff x="2539883" y="4670403"/>
                <a:chExt cx="152929" cy="99449"/>
              </a:xfrm>
              <a:grpFill/>
            </p:grpSpPr>
            <p:sp>
              <p:nvSpPr>
                <p:cNvPr id="10501" name="Freeform: Shape 10500">
                  <a:extLst>
                    <a:ext uri="{FF2B5EF4-FFF2-40B4-BE49-F238E27FC236}">
                      <a16:creationId xmlns:a16="http://schemas.microsoft.com/office/drawing/2014/main" id="{5A8C7C8A-C962-A3F2-B336-1F3D449260E1}"/>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02" name="Freeform: Shape 10501">
                  <a:extLst>
                    <a:ext uri="{FF2B5EF4-FFF2-40B4-BE49-F238E27FC236}">
                      <a16:creationId xmlns:a16="http://schemas.microsoft.com/office/drawing/2014/main" id="{ECEB41E2-2E5C-823F-C22A-5F6CF48DA4AA}"/>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423" name="Graphic 455">
              <a:extLst>
                <a:ext uri="{FF2B5EF4-FFF2-40B4-BE49-F238E27FC236}">
                  <a16:creationId xmlns:a16="http://schemas.microsoft.com/office/drawing/2014/main" id="{78B55BB2-F450-4C78-FA55-B8A4402EDC83}"/>
                </a:ext>
              </a:extLst>
            </p:cNvPr>
            <p:cNvGrpSpPr/>
            <p:nvPr/>
          </p:nvGrpSpPr>
          <p:grpSpPr>
            <a:xfrm>
              <a:off x="15725123" y="2062136"/>
              <a:ext cx="220103" cy="151312"/>
              <a:chOff x="2714151" y="4630177"/>
              <a:chExt cx="152940" cy="99449"/>
            </a:xfrm>
            <a:gradFill flip="none" rotWithShape="1">
              <a:gsLst>
                <a:gs pos="100000">
                  <a:srgbClr val="008896"/>
                </a:gs>
                <a:gs pos="0">
                  <a:srgbClr val="005A64"/>
                </a:gs>
              </a:gsLst>
              <a:lin ang="0" scaled="1"/>
              <a:tileRect/>
            </a:gradFill>
          </p:grpSpPr>
          <p:sp>
            <p:nvSpPr>
              <p:cNvPr id="10495" name="Freeform: Shape 10494">
                <a:extLst>
                  <a:ext uri="{FF2B5EF4-FFF2-40B4-BE49-F238E27FC236}">
                    <a16:creationId xmlns:a16="http://schemas.microsoft.com/office/drawing/2014/main" id="{A550AD22-5FFE-0D4E-0D9E-A59F26FF1D6E}"/>
                  </a:ext>
                </a:extLst>
              </p:cNvPr>
              <p:cNvSpPr/>
              <p:nvPr/>
            </p:nvSpPr>
            <p:spPr>
              <a:xfrm>
                <a:off x="2714151" y="463017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96" name="Graphic 455">
                <a:extLst>
                  <a:ext uri="{FF2B5EF4-FFF2-40B4-BE49-F238E27FC236}">
                    <a16:creationId xmlns:a16="http://schemas.microsoft.com/office/drawing/2014/main" id="{BAB3DB7E-0375-44C3-2803-EEA5C40D02B9}"/>
                  </a:ext>
                </a:extLst>
              </p:cNvPr>
              <p:cNvGrpSpPr/>
              <p:nvPr/>
            </p:nvGrpSpPr>
            <p:grpSpPr>
              <a:xfrm>
                <a:off x="2714152" y="4630177"/>
                <a:ext cx="152940" cy="99449"/>
                <a:chOff x="2714152" y="4630177"/>
                <a:chExt cx="152940" cy="99449"/>
              </a:xfrm>
              <a:grpFill/>
            </p:grpSpPr>
            <p:sp>
              <p:nvSpPr>
                <p:cNvPr id="10497" name="Freeform: Shape 10496">
                  <a:extLst>
                    <a:ext uri="{FF2B5EF4-FFF2-40B4-BE49-F238E27FC236}">
                      <a16:creationId xmlns:a16="http://schemas.microsoft.com/office/drawing/2014/main" id="{141DD0C7-CF7F-8F4A-DD04-9B5EDA1AD4B8}"/>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98" name="Freeform: Shape 10497">
                  <a:extLst>
                    <a:ext uri="{FF2B5EF4-FFF2-40B4-BE49-F238E27FC236}">
                      <a16:creationId xmlns:a16="http://schemas.microsoft.com/office/drawing/2014/main" id="{52B5B37C-C4AA-85EB-DFE5-A8F3449BC928}"/>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424" name="Freeform: Shape 10423">
              <a:extLst>
                <a:ext uri="{FF2B5EF4-FFF2-40B4-BE49-F238E27FC236}">
                  <a16:creationId xmlns:a16="http://schemas.microsoft.com/office/drawing/2014/main" id="{4BEBFFE7-9CCA-9E5F-ADA7-259A7924399A}"/>
                </a:ext>
              </a:extLst>
            </p:cNvPr>
            <p:cNvSpPr/>
            <p:nvPr/>
          </p:nvSpPr>
          <p:spPr>
            <a:xfrm>
              <a:off x="15554286" y="1920677"/>
              <a:ext cx="219727" cy="83356"/>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25" name="Freeform: Shape 10424">
              <a:extLst>
                <a:ext uri="{FF2B5EF4-FFF2-40B4-BE49-F238E27FC236}">
                  <a16:creationId xmlns:a16="http://schemas.microsoft.com/office/drawing/2014/main" id="{9BDE6AB0-F41D-DD10-04C9-D40063974BC1}"/>
                </a:ext>
              </a:extLst>
            </p:cNvPr>
            <p:cNvSpPr/>
            <p:nvPr/>
          </p:nvSpPr>
          <p:spPr>
            <a:xfrm>
              <a:off x="15303489" y="1981893"/>
              <a:ext cx="219731" cy="83356"/>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26" name="Freeform: Shape 10425">
              <a:extLst>
                <a:ext uri="{FF2B5EF4-FFF2-40B4-BE49-F238E27FC236}">
                  <a16:creationId xmlns:a16="http://schemas.microsoft.com/office/drawing/2014/main" id="{E6759CD8-1AC3-ED70-CAFA-731CE4705F54}"/>
                </a:ext>
              </a:extLst>
            </p:cNvPr>
            <p:cNvSpPr/>
            <p:nvPr/>
          </p:nvSpPr>
          <p:spPr>
            <a:xfrm>
              <a:off x="15725433" y="2020816"/>
              <a:ext cx="219778" cy="83364"/>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27" name="Freeform: Shape 10426">
              <a:extLst>
                <a:ext uri="{FF2B5EF4-FFF2-40B4-BE49-F238E27FC236}">
                  <a16:creationId xmlns:a16="http://schemas.microsoft.com/office/drawing/2014/main" id="{1566E424-D727-7086-750E-EE4D0832F81E}"/>
                </a:ext>
              </a:extLst>
            </p:cNvPr>
            <p:cNvSpPr/>
            <p:nvPr/>
          </p:nvSpPr>
          <p:spPr>
            <a:xfrm>
              <a:off x="15474671" y="2082019"/>
              <a:ext cx="219749" cy="83367"/>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28" name="Graphic 455">
              <a:extLst>
                <a:ext uri="{FF2B5EF4-FFF2-40B4-BE49-F238E27FC236}">
                  <a16:creationId xmlns:a16="http://schemas.microsoft.com/office/drawing/2014/main" id="{46E25596-C4C0-A510-90C2-2BE69CDE4712}"/>
                </a:ext>
              </a:extLst>
            </p:cNvPr>
            <p:cNvGrpSpPr/>
            <p:nvPr/>
          </p:nvGrpSpPr>
          <p:grpSpPr>
            <a:xfrm>
              <a:off x="15028064" y="2090356"/>
              <a:ext cx="220103" cy="151301"/>
              <a:chOff x="2229795" y="4648724"/>
              <a:chExt cx="152940" cy="99442"/>
            </a:xfrm>
            <a:gradFill flip="none" rotWithShape="1">
              <a:gsLst>
                <a:gs pos="100000">
                  <a:srgbClr val="008896"/>
                </a:gs>
                <a:gs pos="0">
                  <a:srgbClr val="005A64"/>
                </a:gs>
              </a:gsLst>
              <a:lin ang="0" scaled="1"/>
              <a:tileRect/>
            </a:gradFill>
          </p:grpSpPr>
          <p:sp>
            <p:nvSpPr>
              <p:cNvPr id="10491" name="Freeform: Shape 10490">
                <a:extLst>
                  <a:ext uri="{FF2B5EF4-FFF2-40B4-BE49-F238E27FC236}">
                    <a16:creationId xmlns:a16="http://schemas.microsoft.com/office/drawing/2014/main" id="{FB7F6C55-B624-91B9-66F0-8A1E881D7A67}"/>
                  </a:ext>
                </a:extLst>
              </p:cNvPr>
              <p:cNvSpPr/>
              <p:nvPr/>
            </p:nvSpPr>
            <p:spPr>
              <a:xfrm>
                <a:off x="2229795" y="464872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92" name="Graphic 455">
                <a:extLst>
                  <a:ext uri="{FF2B5EF4-FFF2-40B4-BE49-F238E27FC236}">
                    <a16:creationId xmlns:a16="http://schemas.microsoft.com/office/drawing/2014/main" id="{4F8BFCE3-07EA-D557-8E44-5F034F3139F9}"/>
                  </a:ext>
                </a:extLst>
              </p:cNvPr>
              <p:cNvGrpSpPr/>
              <p:nvPr/>
            </p:nvGrpSpPr>
            <p:grpSpPr>
              <a:xfrm>
                <a:off x="2229795" y="4648724"/>
                <a:ext cx="152940" cy="99438"/>
                <a:chOff x="2229795" y="4648724"/>
                <a:chExt cx="152940" cy="99438"/>
              </a:xfrm>
              <a:grpFill/>
            </p:grpSpPr>
            <p:sp>
              <p:nvSpPr>
                <p:cNvPr id="10493" name="Freeform: Shape 10492">
                  <a:extLst>
                    <a:ext uri="{FF2B5EF4-FFF2-40B4-BE49-F238E27FC236}">
                      <a16:creationId xmlns:a16="http://schemas.microsoft.com/office/drawing/2014/main" id="{C2ADC1BE-CFFB-D82F-7249-C6BDA9B61F73}"/>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94" name="Freeform: Shape 10493">
                  <a:extLst>
                    <a:ext uri="{FF2B5EF4-FFF2-40B4-BE49-F238E27FC236}">
                      <a16:creationId xmlns:a16="http://schemas.microsoft.com/office/drawing/2014/main" id="{B3391799-CE5C-B753-6C37-55A9EBB0ACB1}"/>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429" name="Graphic 455">
              <a:extLst>
                <a:ext uri="{FF2B5EF4-FFF2-40B4-BE49-F238E27FC236}">
                  <a16:creationId xmlns:a16="http://schemas.microsoft.com/office/drawing/2014/main" id="{842217D7-7CEB-1E24-310C-2A85173B1E70}"/>
                </a:ext>
              </a:extLst>
            </p:cNvPr>
            <p:cNvGrpSpPr/>
            <p:nvPr/>
          </p:nvGrpSpPr>
          <p:grpSpPr>
            <a:xfrm>
              <a:off x="15199260" y="2190497"/>
              <a:ext cx="220103" cy="151295"/>
              <a:chOff x="2348752" y="4714541"/>
              <a:chExt cx="152940" cy="99438"/>
            </a:xfrm>
            <a:gradFill flip="none" rotWithShape="1">
              <a:gsLst>
                <a:gs pos="100000">
                  <a:srgbClr val="008896"/>
                </a:gs>
                <a:gs pos="0">
                  <a:srgbClr val="005A64"/>
                </a:gs>
              </a:gsLst>
              <a:lin ang="0" scaled="1"/>
              <a:tileRect/>
            </a:gradFill>
          </p:grpSpPr>
          <p:sp>
            <p:nvSpPr>
              <p:cNvPr id="10487" name="Freeform: Shape 10486">
                <a:extLst>
                  <a:ext uri="{FF2B5EF4-FFF2-40B4-BE49-F238E27FC236}">
                    <a16:creationId xmlns:a16="http://schemas.microsoft.com/office/drawing/2014/main" id="{9691F5C2-9D3B-6D4C-71F1-2418726D3AB4}"/>
                  </a:ext>
                </a:extLst>
              </p:cNvPr>
              <p:cNvSpPr/>
              <p:nvPr/>
            </p:nvSpPr>
            <p:spPr>
              <a:xfrm>
                <a:off x="2348752" y="471454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88" name="Graphic 455">
                <a:extLst>
                  <a:ext uri="{FF2B5EF4-FFF2-40B4-BE49-F238E27FC236}">
                    <a16:creationId xmlns:a16="http://schemas.microsoft.com/office/drawing/2014/main" id="{E8C2995D-ECDA-07F1-041D-EE0EA3A3F86B}"/>
                  </a:ext>
                </a:extLst>
              </p:cNvPr>
              <p:cNvGrpSpPr/>
              <p:nvPr/>
            </p:nvGrpSpPr>
            <p:grpSpPr>
              <a:xfrm>
                <a:off x="2348752" y="4714541"/>
                <a:ext cx="152940" cy="99438"/>
                <a:chOff x="2348752" y="4714541"/>
                <a:chExt cx="152940" cy="99438"/>
              </a:xfrm>
              <a:grpFill/>
            </p:grpSpPr>
            <p:sp>
              <p:nvSpPr>
                <p:cNvPr id="10489" name="Freeform: Shape 10488">
                  <a:extLst>
                    <a:ext uri="{FF2B5EF4-FFF2-40B4-BE49-F238E27FC236}">
                      <a16:creationId xmlns:a16="http://schemas.microsoft.com/office/drawing/2014/main" id="{89796204-17E5-81EC-307A-28420F63C7B0}"/>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90" name="Freeform: Shape 10489">
                  <a:extLst>
                    <a:ext uri="{FF2B5EF4-FFF2-40B4-BE49-F238E27FC236}">
                      <a16:creationId xmlns:a16="http://schemas.microsoft.com/office/drawing/2014/main" id="{62834E22-9E04-479E-91AC-FE7C1077B794}"/>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430" name="Freeform: Shape 10429">
              <a:extLst>
                <a:ext uri="{FF2B5EF4-FFF2-40B4-BE49-F238E27FC236}">
                  <a16:creationId xmlns:a16="http://schemas.microsoft.com/office/drawing/2014/main" id="{EE8D9C2C-D2B7-D36D-E5A6-CEBE3A64603D}"/>
                </a:ext>
              </a:extLst>
            </p:cNvPr>
            <p:cNvSpPr/>
            <p:nvPr/>
          </p:nvSpPr>
          <p:spPr>
            <a:xfrm>
              <a:off x="15028437" y="2049028"/>
              <a:ext cx="219725" cy="83351"/>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31" name="Freeform: Shape 10430">
              <a:extLst>
                <a:ext uri="{FF2B5EF4-FFF2-40B4-BE49-F238E27FC236}">
                  <a16:creationId xmlns:a16="http://schemas.microsoft.com/office/drawing/2014/main" id="{7269BFC2-2A22-1974-8999-0559FC150288}"/>
                </a:ext>
              </a:extLst>
            </p:cNvPr>
            <p:cNvSpPr/>
            <p:nvPr/>
          </p:nvSpPr>
          <p:spPr>
            <a:xfrm>
              <a:off x="15199607" y="2149168"/>
              <a:ext cx="219748" cy="83359"/>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32" name="Freeform: Shape 10431">
              <a:extLst>
                <a:ext uri="{FF2B5EF4-FFF2-40B4-BE49-F238E27FC236}">
                  <a16:creationId xmlns:a16="http://schemas.microsoft.com/office/drawing/2014/main" id="{391FA915-E13D-446A-C0A0-043C53576CF7}"/>
                </a:ext>
              </a:extLst>
            </p:cNvPr>
            <p:cNvSpPr/>
            <p:nvPr/>
          </p:nvSpPr>
          <p:spPr>
            <a:xfrm>
              <a:off x="14902153" y="1859487"/>
              <a:ext cx="342849" cy="528392"/>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002D32"/>
            </a:solidFill>
            <a:ln w="11275"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33" name="Freeform: Shape 10432">
              <a:extLst>
                <a:ext uri="{FF2B5EF4-FFF2-40B4-BE49-F238E27FC236}">
                  <a16:creationId xmlns:a16="http://schemas.microsoft.com/office/drawing/2014/main" id="{73436982-2036-6156-E231-EA13FF4FC105}"/>
                </a:ext>
              </a:extLst>
            </p:cNvPr>
            <p:cNvSpPr/>
            <p:nvPr/>
          </p:nvSpPr>
          <p:spPr>
            <a:xfrm>
              <a:off x="14899386" y="1856552"/>
              <a:ext cx="348349" cy="534251"/>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002D32"/>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34" name="Freeform: Shape 10433">
              <a:extLst>
                <a:ext uri="{FF2B5EF4-FFF2-40B4-BE49-F238E27FC236}">
                  <a16:creationId xmlns:a16="http://schemas.microsoft.com/office/drawing/2014/main" id="{02CC8B06-822D-094D-8B9A-A7695B1720DA}"/>
                </a:ext>
              </a:extLst>
            </p:cNvPr>
            <p:cNvSpPr/>
            <p:nvPr/>
          </p:nvSpPr>
          <p:spPr>
            <a:xfrm>
              <a:off x="15243928" y="1803377"/>
              <a:ext cx="1052766" cy="584502"/>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005A6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35" name="Freeform: Shape 10434">
              <a:extLst>
                <a:ext uri="{FF2B5EF4-FFF2-40B4-BE49-F238E27FC236}">
                  <a16:creationId xmlns:a16="http://schemas.microsoft.com/office/drawing/2014/main" id="{1C59D444-604C-877E-9E91-35AB40B9A65D}"/>
                </a:ext>
              </a:extLst>
            </p:cNvPr>
            <p:cNvSpPr/>
            <p:nvPr/>
          </p:nvSpPr>
          <p:spPr>
            <a:xfrm>
              <a:off x="15241161" y="1800433"/>
              <a:ext cx="1058266" cy="590372"/>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36" name="Freeform: Shape 10435">
              <a:extLst>
                <a:ext uri="{FF2B5EF4-FFF2-40B4-BE49-F238E27FC236}">
                  <a16:creationId xmlns:a16="http://schemas.microsoft.com/office/drawing/2014/main" id="{302D3B1A-898A-09EB-DAAA-922F0C93A76D}"/>
                </a:ext>
              </a:extLst>
            </p:cNvPr>
            <p:cNvSpPr/>
            <p:nvPr/>
          </p:nvSpPr>
          <p:spPr>
            <a:xfrm>
              <a:off x="14902153" y="1602785"/>
              <a:ext cx="1394541" cy="457295"/>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37" name="Graphic 641">
              <a:extLst>
                <a:ext uri="{FF2B5EF4-FFF2-40B4-BE49-F238E27FC236}">
                  <a16:creationId xmlns:a16="http://schemas.microsoft.com/office/drawing/2014/main" id="{7034182B-ECCE-18EA-411E-69025E5ED51C}"/>
                </a:ext>
              </a:extLst>
            </p:cNvPr>
            <p:cNvGrpSpPr/>
            <p:nvPr/>
          </p:nvGrpSpPr>
          <p:grpSpPr>
            <a:xfrm>
              <a:off x="15791306" y="1572208"/>
              <a:ext cx="220103" cy="151299"/>
              <a:chOff x="3257856" y="3944383"/>
              <a:chExt cx="152940" cy="99440"/>
            </a:xfrm>
            <a:gradFill flip="none" rotWithShape="1">
              <a:gsLst>
                <a:gs pos="100000">
                  <a:srgbClr val="008896"/>
                </a:gs>
                <a:gs pos="0">
                  <a:srgbClr val="005A64"/>
                </a:gs>
              </a:gsLst>
              <a:lin ang="0" scaled="1"/>
              <a:tileRect/>
            </a:gradFill>
          </p:grpSpPr>
          <p:sp>
            <p:nvSpPr>
              <p:cNvPr id="10483" name="Freeform: Shape 10482">
                <a:extLst>
                  <a:ext uri="{FF2B5EF4-FFF2-40B4-BE49-F238E27FC236}">
                    <a16:creationId xmlns:a16="http://schemas.microsoft.com/office/drawing/2014/main" id="{94366A8B-8B19-9CDE-BE50-0B6AFAA95267}"/>
                  </a:ext>
                </a:extLst>
              </p:cNvPr>
              <p:cNvSpPr/>
              <p:nvPr/>
            </p:nvSpPr>
            <p:spPr>
              <a:xfrm>
                <a:off x="3257856" y="3944383"/>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84" name="Graphic 641">
                <a:extLst>
                  <a:ext uri="{FF2B5EF4-FFF2-40B4-BE49-F238E27FC236}">
                    <a16:creationId xmlns:a16="http://schemas.microsoft.com/office/drawing/2014/main" id="{C4939815-D984-49E6-54A3-2ADEDDAD70F1}"/>
                  </a:ext>
                </a:extLst>
              </p:cNvPr>
              <p:cNvGrpSpPr/>
              <p:nvPr/>
            </p:nvGrpSpPr>
            <p:grpSpPr>
              <a:xfrm>
                <a:off x="3257856" y="3944383"/>
                <a:ext cx="152940" cy="99438"/>
                <a:chOff x="3257856" y="3944383"/>
                <a:chExt cx="152940" cy="99438"/>
              </a:xfrm>
              <a:grpFill/>
            </p:grpSpPr>
            <p:sp>
              <p:nvSpPr>
                <p:cNvPr id="10485" name="Freeform: Shape 10484">
                  <a:extLst>
                    <a:ext uri="{FF2B5EF4-FFF2-40B4-BE49-F238E27FC236}">
                      <a16:creationId xmlns:a16="http://schemas.microsoft.com/office/drawing/2014/main" id="{02682C4D-7A0A-1D32-3153-7A36E9DE8E90}"/>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86" name="Freeform: Shape 10485">
                  <a:extLst>
                    <a:ext uri="{FF2B5EF4-FFF2-40B4-BE49-F238E27FC236}">
                      <a16:creationId xmlns:a16="http://schemas.microsoft.com/office/drawing/2014/main" id="{6B2B8F94-8FE2-6C60-FDA6-0EBAEABBCCF0}"/>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438" name="Graphic 641">
              <a:extLst>
                <a:ext uri="{FF2B5EF4-FFF2-40B4-BE49-F238E27FC236}">
                  <a16:creationId xmlns:a16="http://schemas.microsoft.com/office/drawing/2014/main" id="{C710BB07-B4FA-5D0A-5FE6-CE8A55BA2455}"/>
                </a:ext>
              </a:extLst>
            </p:cNvPr>
            <p:cNvGrpSpPr/>
            <p:nvPr/>
          </p:nvGrpSpPr>
          <p:grpSpPr>
            <a:xfrm>
              <a:off x="15540556" y="1633429"/>
              <a:ext cx="220087" cy="151286"/>
              <a:chOff x="3083621" y="3984620"/>
              <a:chExt cx="152929" cy="99432"/>
            </a:xfrm>
            <a:gradFill flip="none" rotWithShape="1">
              <a:gsLst>
                <a:gs pos="100000">
                  <a:srgbClr val="008896"/>
                </a:gs>
                <a:gs pos="0">
                  <a:srgbClr val="005A64"/>
                </a:gs>
              </a:gsLst>
              <a:lin ang="0" scaled="1"/>
              <a:tileRect/>
            </a:gradFill>
          </p:grpSpPr>
          <p:sp>
            <p:nvSpPr>
              <p:cNvPr id="10479" name="Freeform: Shape 10478">
                <a:extLst>
                  <a:ext uri="{FF2B5EF4-FFF2-40B4-BE49-F238E27FC236}">
                    <a16:creationId xmlns:a16="http://schemas.microsoft.com/office/drawing/2014/main" id="{43C946A9-45A0-5DDB-86CF-1C67935E8A11}"/>
                  </a:ext>
                </a:extLst>
              </p:cNvPr>
              <p:cNvSpPr/>
              <p:nvPr/>
            </p:nvSpPr>
            <p:spPr>
              <a:xfrm>
                <a:off x="3083621" y="3984620"/>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80" name="Graphic 641">
                <a:extLst>
                  <a:ext uri="{FF2B5EF4-FFF2-40B4-BE49-F238E27FC236}">
                    <a16:creationId xmlns:a16="http://schemas.microsoft.com/office/drawing/2014/main" id="{B6BE6903-5FF0-9BE6-DB04-F90629816B28}"/>
                  </a:ext>
                </a:extLst>
              </p:cNvPr>
              <p:cNvGrpSpPr/>
              <p:nvPr/>
            </p:nvGrpSpPr>
            <p:grpSpPr>
              <a:xfrm>
                <a:off x="3083622" y="3984620"/>
                <a:ext cx="152929" cy="99427"/>
                <a:chOff x="3083622" y="3984620"/>
                <a:chExt cx="152929" cy="99427"/>
              </a:xfrm>
              <a:grpFill/>
            </p:grpSpPr>
            <p:sp>
              <p:nvSpPr>
                <p:cNvPr id="10481" name="Freeform: Shape 10480">
                  <a:extLst>
                    <a:ext uri="{FF2B5EF4-FFF2-40B4-BE49-F238E27FC236}">
                      <a16:creationId xmlns:a16="http://schemas.microsoft.com/office/drawing/2014/main" id="{E0A4E13C-54D5-BAC4-171A-F8486B1B40EE}"/>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82" name="Freeform: Shape 10481">
                  <a:extLst>
                    <a:ext uri="{FF2B5EF4-FFF2-40B4-BE49-F238E27FC236}">
                      <a16:creationId xmlns:a16="http://schemas.microsoft.com/office/drawing/2014/main" id="{E1B534DF-E19C-B732-E5A6-AA123BBD0E43}"/>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439" name="Graphic 641">
              <a:extLst>
                <a:ext uri="{FF2B5EF4-FFF2-40B4-BE49-F238E27FC236}">
                  <a16:creationId xmlns:a16="http://schemas.microsoft.com/office/drawing/2014/main" id="{2CD8703C-858E-99D4-D140-BA9F9F91D4F9}"/>
                </a:ext>
              </a:extLst>
            </p:cNvPr>
            <p:cNvGrpSpPr/>
            <p:nvPr/>
          </p:nvGrpSpPr>
          <p:grpSpPr>
            <a:xfrm>
              <a:off x="15711737" y="1733553"/>
              <a:ext cx="220087" cy="151312"/>
              <a:chOff x="3202567" y="4050426"/>
              <a:chExt cx="152929" cy="99449"/>
            </a:xfrm>
            <a:gradFill flip="none" rotWithShape="1">
              <a:gsLst>
                <a:gs pos="100000">
                  <a:srgbClr val="008896"/>
                </a:gs>
                <a:gs pos="0">
                  <a:srgbClr val="005A64"/>
                </a:gs>
              </a:gsLst>
              <a:lin ang="0" scaled="1"/>
              <a:tileRect/>
            </a:gradFill>
          </p:grpSpPr>
          <p:sp>
            <p:nvSpPr>
              <p:cNvPr id="10475" name="Freeform: Shape 10474">
                <a:extLst>
                  <a:ext uri="{FF2B5EF4-FFF2-40B4-BE49-F238E27FC236}">
                    <a16:creationId xmlns:a16="http://schemas.microsoft.com/office/drawing/2014/main" id="{8AE0D6D5-8D1B-0D15-B61A-015E581D9504}"/>
                  </a:ext>
                </a:extLst>
              </p:cNvPr>
              <p:cNvSpPr/>
              <p:nvPr/>
            </p:nvSpPr>
            <p:spPr>
              <a:xfrm>
                <a:off x="3202567" y="4050426"/>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76" name="Graphic 641">
                <a:extLst>
                  <a:ext uri="{FF2B5EF4-FFF2-40B4-BE49-F238E27FC236}">
                    <a16:creationId xmlns:a16="http://schemas.microsoft.com/office/drawing/2014/main" id="{7AAEBD19-5F78-8E2E-A081-978DA57DEAE0}"/>
                  </a:ext>
                </a:extLst>
              </p:cNvPr>
              <p:cNvGrpSpPr/>
              <p:nvPr/>
            </p:nvGrpSpPr>
            <p:grpSpPr>
              <a:xfrm>
                <a:off x="3202568" y="4050426"/>
                <a:ext cx="152929" cy="99449"/>
                <a:chOff x="3202568" y="4050426"/>
                <a:chExt cx="152929" cy="99449"/>
              </a:xfrm>
              <a:grpFill/>
            </p:grpSpPr>
            <p:sp>
              <p:nvSpPr>
                <p:cNvPr id="10477" name="Freeform: Shape 10476">
                  <a:extLst>
                    <a:ext uri="{FF2B5EF4-FFF2-40B4-BE49-F238E27FC236}">
                      <a16:creationId xmlns:a16="http://schemas.microsoft.com/office/drawing/2014/main" id="{32CBC8E6-CFD1-F789-A491-620E15D5A181}"/>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78" name="Freeform: Shape 10477">
                  <a:extLst>
                    <a:ext uri="{FF2B5EF4-FFF2-40B4-BE49-F238E27FC236}">
                      <a16:creationId xmlns:a16="http://schemas.microsoft.com/office/drawing/2014/main" id="{6BC62520-960D-D44B-51F8-7D19253E3C54}"/>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440" name="Graphic 641">
              <a:extLst>
                <a:ext uri="{FF2B5EF4-FFF2-40B4-BE49-F238E27FC236}">
                  <a16:creationId xmlns:a16="http://schemas.microsoft.com/office/drawing/2014/main" id="{A3E72599-2A23-D460-1322-538948EF2F24}"/>
                </a:ext>
              </a:extLst>
            </p:cNvPr>
            <p:cNvGrpSpPr/>
            <p:nvPr/>
          </p:nvGrpSpPr>
          <p:grpSpPr>
            <a:xfrm>
              <a:off x="15962535" y="1672350"/>
              <a:ext cx="220103" cy="151312"/>
              <a:chOff x="3376836" y="4010200"/>
              <a:chExt cx="152940" cy="99449"/>
            </a:xfrm>
            <a:gradFill flip="none" rotWithShape="1">
              <a:gsLst>
                <a:gs pos="100000">
                  <a:srgbClr val="008896"/>
                </a:gs>
                <a:gs pos="0">
                  <a:srgbClr val="005A64"/>
                </a:gs>
              </a:gsLst>
              <a:lin ang="0" scaled="1"/>
              <a:tileRect/>
            </a:gradFill>
          </p:grpSpPr>
          <p:sp>
            <p:nvSpPr>
              <p:cNvPr id="10471" name="Freeform: Shape 10470">
                <a:extLst>
                  <a:ext uri="{FF2B5EF4-FFF2-40B4-BE49-F238E27FC236}">
                    <a16:creationId xmlns:a16="http://schemas.microsoft.com/office/drawing/2014/main" id="{82CBB929-B8B8-7056-1183-B93DD40EEE35}"/>
                  </a:ext>
                </a:extLst>
              </p:cNvPr>
              <p:cNvSpPr/>
              <p:nvPr/>
            </p:nvSpPr>
            <p:spPr>
              <a:xfrm>
                <a:off x="3376836" y="4010200"/>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72" name="Graphic 641">
                <a:extLst>
                  <a:ext uri="{FF2B5EF4-FFF2-40B4-BE49-F238E27FC236}">
                    <a16:creationId xmlns:a16="http://schemas.microsoft.com/office/drawing/2014/main" id="{8A667703-26C7-899B-35D4-594109433C89}"/>
                  </a:ext>
                </a:extLst>
              </p:cNvPr>
              <p:cNvGrpSpPr/>
              <p:nvPr/>
            </p:nvGrpSpPr>
            <p:grpSpPr>
              <a:xfrm>
                <a:off x="3376837" y="4010200"/>
                <a:ext cx="152940" cy="99449"/>
                <a:chOff x="3376837" y="4010200"/>
                <a:chExt cx="152940" cy="99449"/>
              </a:xfrm>
              <a:grpFill/>
            </p:grpSpPr>
            <p:sp>
              <p:nvSpPr>
                <p:cNvPr id="10473" name="Freeform: Shape 10472">
                  <a:extLst>
                    <a:ext uri="{FF2B5EF4-FFF2-40B4-BE49-F238E27FC236}">
                      <a16:creationId xmlns:a16="http://schemas.microsoft.com/office/drawing/2014/main" id="{B6258D55-7E8C-F814-714A-5E1A1FB1DED3}"/>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74" name="Freeform: Shape 10473">
                  <a:extLst>
                    <a:ext uri="{FF2B5EF4-FFF2-40B4-BE49-F238E27FC236}">
                      <a16:creationId xmlns:a16="http://schemas.microsoft.com/office/drawing/2014/main" id="{1CF8783A-DD92-2452-90B7-7DAA231CC6A2}"/>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441" name="Freeform: Shape 10440">
              <a:extLst>
                <a:ext uri="{FF2B5EF4-FFF2-40B4-BE49-F238E27FC236}">
                  <a16:creationId xmlns:a16="http://schemas.microsoft.com/office/drawing/2014/main" id="{75709A95-3B9B-9352-B87E-355791EE3C5A}"/>
                </a:ext>
              </a:extLst>
            </p:cNvPr>
            <p:cNvSpPr/>
            <p:nvPr/>
          </p:nvSpPr>
          <p:spPr>
            <a:xfrm>
              <a:off x="15791699" y="1530890"/>
              <a:ext cx="219727" cy="83356"/>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42" name="Freeform: Shape 10441">
              <a:extLst>
                <a:ext uri="{FF2B5EF4-FFF2-40B4-BE49-F238E27FC236}">
                  <a16:creationId xmlns:a16="http://schemas.microsoft.com/office/drawing/2014/main" id="{7EDE32E1-D10C-03A1-87F0-E5BD298E26BB}"/>
                </a:ext>
              </a:extLst>
            </p:cNvPr>
            <p:cNvSpPr/>
            <p:nvPr/>
          </p:nvSpPr>
          <p:spPr>
            <a:xfrm>
              <a:off x="15540902" y="1592107"/>
              <a:ext cx="219731" cy="83356"/>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43" name="Freeform: Shape 10442">
              <a:extLst>
                <a:ext uri="{FF2B5EF4-FFF2-40B4-BE49-F238E27FC236}">
                  <a16:creationId xmlns:a16="http://schemas.microsoft.com/office/drawing/2014/main" id="{41DAB3FD-1641-946E-84EA-768E038CD14D}"/>
                </a:ext>
              </a:extLst>
            </p:cNvPr>
            <p:cNvSpPr/>
            <p:nvPr/>
          </p:nvSpPr>
          <p:spPr>
            <a:xfrm>
              <a:off x="15962846" y="1631028"/>
              <a:ext cx="219778" cy="83364"/>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44" name="Freeform: Shape 10443">
              <a:extLst>
                <a:ext uri="{FF2B5EF4-FFF2-40B4-BE49-F238E27FC236}">
                  <a16:creationId xmlns:a16="http://schemas.microsoft.com/office/drawing/2014/main" id="{34D14078-7BF2-94CB-3DCB-E1252281848F}"/>
                </a:ext>
              </a:extLst>
            </p:cNvPr>
            <p:cNvSpPr/>
            <p:nvPr/>
          </p:nvSpPr>
          <p:spPr>
            <a:xfrm>
              <a:off x="15712084" y="1692233"/>
              <a:ext cx="219749" cy="83367"/>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45" name="Graphic 641">
              <a:extLst>
                <a:ext uri="{FF2B5EF4-FFF2-40B4-BE49-F238E27FC236}">
                  <a16:creationId xmlns:a16="http://schemas.microsoft.com/office/drawing/2014/main" id="{BF62C905-2DB2-1F3D-4CC0-90EF97BCF91B}"/>
                </a:ext>
              </a:extLst>
            </p:cNvPr>
            <p:cNvGrpSpPr/>
            <p:nvPr/>
          </p:nvGrpSpPr>
          <p:grpSpPr>
            <a:xfrm>
              <a:off x="15014694" y="1761771"/>
              <a:ext cx="220087" cy="151299"/>
              <a:chOff x="2718222" y="4068972"/>
              <a:chExt cx="152929" cy="99440"/>
            </a:xfrm>
            <a:gradFill flip="none" rotWithShape="1">
              <a:gsLst>
                <a:gs pos="100000">
                  <a:srgbClr val="008896"/>
                </a:gs>
                <a:gs pos="0">
                  <a:srgbClr val="005A64"/>
                </a:gs>
              </a:gsLst>
              <a:lin ang="0" scaled="1"/>
              <a:tileRect/>
            </a:gradFill>
          </p:grpSpPr>
          <p:sp>
            <p:nvSpPr>
              <p:cNvPr id="10467" name="Freeform: Shape 10466">
                <a:extLst>
                  <a:ext uri="{FF2B5EF4-FFF2-40B4-BE49-F238E27FC236}">
                    <a16:creationId xmlns:a16="http://schemas.microsoft.com/office/drawing/2014/main" id="{EBE393BA-DB14-BA9F-9D1A-9ABBB98F1AA4}"/>
                  </a:ext>
                </a:extLst>
              </p:cNvPr>
              <p:cNvSpPr/>
              <p:nvPr/>
            </p:nvSpPr>
            <p:spPr>
              <a:xfrm>
                <a:off x="2718222" y="4068972"/>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68" name="Graphic 641">
                <a:extLst>
                  <a:ext uri="{FF2B5EF4-FFF2-40B4-BE49-F238E27FC236}">
                    <a16:creationId xmlns:a16="http://schemas.microsoft.com/office/drawing/2014/main" id="{69F82571-81AC-97DA-B30C-4703549F3E0C}"/>
                  </a:ext>
                </a:extLst>
              </p:cNvPr>
              <p:cNvGrpSpPr/>
              <p:nvPr/>
            </p:nvGrpSpPr>
            <p:grpSpPr>
              <a:xfrm>
                <a:off x="2718222" y="4068972"/>
                <a:ext cx="152929" cy="99438"/>
                <a:chOff x="2718222" y="4068972"/>
                <a:chExt cx="152929" cy="99438"/>
              </a:xfrm>
              <a:grpFill/>
            </p:grpSpPr>
            <p:sp>
              <p:nvSpPr>
                <p:cNvPr id="10469" name="Freeform: Shape 10468">
                  <a:extLst>
                    <a:ext uri="{FF2B5EF4-FFF2-40B4-BE49-F238E27FC236}">
                      <a16:creationId xmlns:a16="http://schemas.microsoft.com/office/drawing/2014/main" id="{8012DAA5-25C5-8EAE-6246-0D44DF3B4077}"/>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70" name="Freeform: Shape 10469">
                  <a:extLst>
                    <a:ext uri="{FF2B5EF4-FFF2-40B4-BE49-F238E27FC236}">
                      <a16:creationId xmlns:a16="http://schemas.microsoft.com/office/drawing/2014/main" id="{D77656A1-C061-C504-4C39-AA4D93789C68}"/>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446" name="Graphic 641">
              <a:extLst>
                <a:ext uri="{FF2B5EF4-FFF2-40B4-BE49-F238E27FC236}">
                  <a16:creationId xmlns:a16="http://schemas.microsoft.com/office/drawing/2014/main" id="{9E838E0B-26E6-F54A-DC00-549195E43F79}"/>
                </a:ext>
              </a:extLst>
            </p:cNvPr>
            <p:cNvGrpSpPr/>
            <p:nvPr/>
          </p:nvGrpSpPr>
          <p:grpSpPr>
            <a:xfrm>
              <a:off x="15185875" y="1861895"/>
              <a:ext cx="220118" cy="151331"/>
              <a:chOff x="2837168" y="4134778"/>
              <a:chExt cx="152951" cy="99461"/>
            </a:xfrm>
            <a:gradFill flip="none" rotWithShape="1">
              <a:gsLst>
                <a:gs pos="100000">
                  <a:srgbClr val="008896"/>
                </a:gs>
                <a:gs pos="0">
                  <a:srgbClr val="005A64"/>
                </a:gs>
              </a:gsLst>
              <a:lin ang="0" scaled="1"/>
              <a:tileRect/>
            </a:gradFill>
          </p:grpSpPr>
          <p:sp>
            <p:nvSpPr>
              <p:cNvPr id="10463" name="Freeform: Shape 10462">
                <a:extLst>
                  <a:ext uri="{FF2B5EF4-FFF2-40B4-BE49-F238E27FC236}">
                    <a16:creationId xmlns:a16="http://schemas.microsoft.com/office/drawing/2014/main" id="{4E842965-B2DE-7E6F-FE10-DD5D92DFA106}"/>
                  </a:ext>
                </a:extLst>
              </p:cNvPr>
              <p:cNvSpPr/>
              <p:nvPr/>
            </p:nvSpPr>
            <p:spPr>
              <a:xfrm>
                <a:off x="2837168" y="4134778"/>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64" name="Graphic 641">
                <a:extLst>
                  <a:ext uri="{FF2B5EF4-FFF2-40B4-BE49-F238E27FC236}">
                    <a16:creationId xmlns:a16="http://schemas.microsoft.com/office/drawing/2014/main" id="{7F378478-8EB5-DAD9-3EB4-BB9374E684D8}"/>
                  </a:ext>
                </a:extLst>
              </p:cNvPr>
              <p:cNvGrpSpPr/>
              <p:nvPr/>
            </p:nvGrpSpPr>
            <p:grpSpPr>
              <a:xfrm>
                <a:off x="2837168" y="4134778"/>
                <a:ext cx="152951" cy="99461"/>
                <a:chOff x="2837168" y="4134778"/>
                <a:chExt cx="152951" cy="99461"/>
              </a:xfrm>
              <a:grpFill/>
            </p:grpSpPr>
            <p:sp>
              <p:nvSpPr>
                <p:cNvPr id="10465" name="Freeform: Shape 10464">
                  <a:extLst>
                    <a:ext uri="{FF2B5EF4-FFF2-40B4-BE49-F238E27FC236}">
                      <a16:creationId xmlns:a16="http://schemas.microsoft.com/office/drawing/2014/main" id="{FE8B92B1-F0DD-DC89-BD9F-F9D20DDBDC03}"/>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66" name="Freeform: Shape 10465">
                  <a:extLst>
                    <a:ext uri="{FF2B5EF4-FFF2-40B4-BE49-F238E27FC236}">
                      <a16:creationId xmlns:a16="http://schemas.microsoft.com/office/drawing/2014/main" id="{38F88635-A3B0-8A7D-674E-943CA32E02ED}"/>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447" name="Freeform: Shape 10446">
              <a:extLst>
                <a:ext uri="{FF2B5EF4-FFF2-40B4-BE49-F238E27FC236}">
                  <a16:creationId xmlns:a16="http://schemas.microsoft.com/office/drawing/2014/main" id="{E5B2098A-47EA-F05C-7945-862980193C52}"/>
                </a:ext>
              </a:extLst>
            </p:cNvPr>
            <p:cNvSpPr/>
            <p:nvPr/>
          </p:nvSpPr>
          <p:spPr>
            <a:xfrm>
              <a:off x="15015061" y="1720449"/>
              <a:ext cx="219731" cy="83351"/>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48" name="RectangleLegend2">
              <a:extLst>
                <a:ext uri="{FF2B5EF4-FFF2-40B4-BE49-F238E27FC236}">
                  <a16:creationId xmlns:a16="http://schemas.microsoft.com/office/drawing/2014/main" id="{40E6EB82-4120-058F-C6B7-6AAD62D1058B}"/>
                </a:ext>
              </a:extLst>
            </p:cNvPr>
            <p:cNvSpPr>
              <a:spLocks/>
            </p:cNvSpPr>
            <p:nvPr/>
          </p:nvSpPr>
          <p:spPr>
            <a:xfrm>
              <a:off x="14943126" y="1970053"/>
              <a:ext cx="1640706" cy="246221"/>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Clinical mRNA </a:t>
              </a:r>
              <a:b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manuf. process</a:t>
              </a:r>
            </a:p>
          </p:txBody>
        </p:sp>
        <p:grpSp>
          <p:nvGrpSpPr>
            <p:cNvPr id="10449" name="Group 10448">
              <a:extLst>
                <a:ext uri="{FF2B5EF4-FFF2-40B4-BE49-F238E27FC236}">
                  <a16:creationId xmlns:a16="http://schemas.microsoft.com/office/drawing/2014/main" id="{93D6CE3A-32CD-1260-37A3-133011C995FC}"/>
                </a:ext>
              </a:extLst>
            </p:cNvPr>
            <p:cNvGrpSpPr/>
            <p:nvPr/>
          </p:nvGrpSpPr>
          <p:grpSpPr>
            <a:xfrm>
              <a:off x="15265477" y="1659242"/>
              <a:ext cx="391299" cy="292763"/>
              <a:chOff x="7204514" y="5278735"/>
              <a:chExt cx="334523" cy="250284"/>
            </a:xfrm>
          </p:grpSpPr>
          <p:grpSp>
            <p:nvGrpSpPr>
              <p:cNvPr id="10451" name="Graphic 641">
                <a:extLst>
                  <a:ext uri="{FF2B5EF4-FFF2-40B4-BE49-F238E27FC236}">
                    <a16:creationId xmlns:a16="http://schemas.microsoft.com/office/drawing/2014/main" id="{8F7C57D3-4B0B-329F-B33B-0804C66C59AC}"/>
                  </a:ext>
                </a:extLst>
              </p:cNvPr>
              <p:cNvGrpSpPr/>
              <p:nvPr/>
            </p:nvGrpSpPr>
            <p:grpSpPr>
              <a:xfrm>
                <a:off x="7204514" y="5314066"/>
                <a:ext cx="188167" cy="129348"/>
                <a:chOff x="2892480" y="4028747"/>
                <a:chExt cx="152940" cy="99442"/>
              </a:xfrm>
              <a:gradFill flip="none" rotWithShape="1">
                <a:gsLst>
                  <a:gs pos="100000">
                    <a:srgbClr val="008896"/>
                  </a:gs>
                  <a:gs pos="0">
                    <a:srgbClr val="005A64"/>
                  </a:gs>
                </a:gsLst>
                <a:lin ang="0" scaled="1"/>
                <a:tileRect/>
              </a:gradFill>
            </p:grpSpPr>
            <p:sp>
              <p:nvSpPr>
                <p:cNvPr id="10459" name="Freeform: Shape 10458">
                  <a:extLst>
                    <a:ext uri="{FF2B5EF4-FFF2-40B4-BE49-F238E27FC236}">
                      <a16:creationId xmlns:a16="http://schemas.microsoft.com/office/drawing/2014/main" id="{EFB1D9BB-7120-44CB-39A9-10C480D0F603}"/>
                    </a:ext>
                  </a:extLst>
                </p:cNvPr>
                <p:cNvSpPr/>
                <p:nvPr/>
              </p:nvSpPr>
              <p:spPr>
                <a:xfrm>
                  <a:off x="2892480" y="4028747"/>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60" name="Graphic 641">
                  <a:extLst>
                    <a:ext uri="{FF2B5EF4-FFF2-40B4-BE49-F238E27FC236}">
                      <a16:creationId xmlns:a16="http://schemas.microsoft.com/office/drawing/2014/main" id="{73D58E8F-A7C5-29A8-5FFF-7536805BF49D}"/>
                    </a:ext>
                  </a:extLst>
                </p:cNvPr>
                <p:cNvGrpSpPr/>
                <p:nvPr/>
              </p:nvGrpSpPr>
              <p:grpSpPr>
                <a:xfrm>
                  <a:off x="2892480" y="4028747"/>
                  <a:ext cx="152940" cy="99438"/>
                  <a:chOff x="2892480" y="4028747"/>
                  <a:chExt cx="152940" cy="99438"/>
                </a:xfrm>
                <a:grpFill/>
              </p:grpSpPr>
              <p:sp>
                <p:nvSpPr>
                  <p:cNvPr id="10461" name="Freeform: Shape 10460">
                    <a:extLst>
                      <a:ext uri="{FF2B5EF4-FFF2-40B4-BE49-F238E27FC236}">
                        <a16:creationId xmlns:a16="http://schemas.microsoft.com/office/drawing/2014/main" id="{2A3A0F5B-365B-4E3C-3F7A-4961B71651C5}"/>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62" name="Freeform: Shape 10461">
                    <a:extLst>
                      <a:ext uri="{FF2B5EF4-FFF2-40B4-BE49-F238E27FC236}">
                        <a16:creationId xmlns:a16="http://schemas.microsoft.com/office/drawing/2014/main" id="{15166CAC-C7F7-0D1F-D5A1-DF76CBC03064}"/>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452" name="Graphic 641">
                <a:extLst>
                  <a:ext uri="{FF2B5EF4-FFF2-40B4-BE49-F238E27FC236}">
                    <a16:creationId xmlns:a16="http://schemas.microsoft.com/office/drawing/2014/main" id="{070D78BB-1392-49DC-35F2-9AC93664A580}"/>
                  </a:ext>
                </a:extLst>
              </p:cNvPr>
              <p:cNvGrpSpPr/>
              <p:nvPr/>
            </p:nvGrpSpPr>
            <p:grpSpPr>
              <a:xfrm>
                <a:off x="7350870" y="5399676"/>
                <a:ext cx="188167" cy="129343"/>
                <a:chOff x="3011437" y="4094564"/>
                <a:chExt cx="152940" cy="99438"/>
              </a:xfrm>
              <a:gradFill flip="none" rotWithShape="1">
                <a:gsLst>
                  <a:gs pos="100000">
                    <a:srgbClr val="008896"/>
                  </a:gs>
                  <a:gs pos="0">
                    <a:srgbClr val="005A64"/>
                  </a:gs>
                </a:gsLst>
                <a:lin ang="0" scaled="1"/>
                <a:tileRect/>
              </a:gradFill>
            </p:grpSpPr>
            <p:sp>
              <p:nvSpPr>
                <p:cNvPr id="10455" name="Freeform: Shape 10454">
                  <a:extLst>
                    <a:ext uri="{FF2B5EF4-FFF2-40B4-BE49-F238E27FC236}">
                      <a16:creationId xmlns:a16="http://schemas.microsoft.com/office/drawing/2014/main" id="{98136893-59D8-A480-98EE-9FDE81DFDFE1}"/>
                    </a:ext>
                  </a:extLst>
                </p:cNvPr>
                <p:cNvSpPr/>
                <p:nvPr/>
              </p:nvSpPr>
              <p:spPr>
                <a:xfrm>
                  <a:off x="3011437" y="4094564"/>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456" name="Graphic 641">
                  <a:extLst>
                    <a:ext uri="{FF2B5EF4-FFF2-40B4-BE49-F238E27FC236}">
                      <a16:creationId xmlns:a16="http://schemas.microsoft.com/office/drawing/2014/main" id="{43759492-753F-94E1-C5EF-FD251E336879}"/>
                    </a:ext>
                  </a:extLst>
                </p:cNvPr>
                <p:cNvGrpSpPr/>
                <p:nvPr/>
              </p:nvGrpSpPr>
              <p:grpSpPr>
                <a:xfrm>
                  <a:off x="3011437" y="4094564"/>
                  <a:ext cx="152940" cy="99438"/>
                  <a:chOff x="3011437" y="4094564"/>
                  <a:chExt cx="152940" cy="99438"/>
                </a:xfrm>
                <a:grpFill/>
              </p:grpSpPr>
              <p:sp>
                <p:nvSpPr>
                  <p:cNvPr id="10457" name="Freeform: Shape 10456">
                    <a:extLst>
                      <a:ext uri="{FF2B5EF4-FFF2-40B4-BE49-F238E27FC236}">
                        <a16:creationId xmlns:a16="http://schemas.microsoft.com/office/drawing/2014/main" id="{40108496-240B-325D-BABA-EEDE99AE1B27}"/>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58" name="Freeform: Shape 10457">
                    <a:extLst>
                      <a:ext uri="{FF2B5EF4-FFF2-40B4-BE49-F238E27FC236}">
                        <a16:creationId xmlns:a16="http://schemas.microsoft.com/office/drawing/2014/main" id="{9B72A69A-308B-7AEB-2B2E-64229E1281F8}"/>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453" name="Freeform: Shape 10452">
                <a:extLst>
                  <a:ext uri="{FF2B5EF4-FFF2-40B4-BE49-F238E27FC236}">
                    <a16:creationId xmlns:a16="http://schemas.microsoft.com/office/drawing/2014/main" id="{8B5290B1-5C07-7953-DA53-D69A4266C8DF}"/>
                  </a:ext>
                </a:extLst>
              </p:cNvPr>
              <p:cNvSpPr/>
              <p:nvPr/>
            </p:nvSpPr>
            <p:spPr>
              <a:xfrm>
                <a:off x="7204833" y="5278735"/>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454" name="Freeform: Shape 10453">
                <a:extLst>
                  <a:ext uri="{FF2B5EF4-FFF2-40B4-BE49-F238E27FC236}">
                    <a16:creationId xmlns:a16="http://schemas.microsoft.com/office/drawing/2014/main" id="{EE297ED4-CB26-7E0E-82AF-F05E08ED4B1F}"/>
                  </a:ext>
                </a:extLst>
              </p:cNvPr>
              <p:cNvSpPr/>
              <p:nvPr/>
            </p:nvSpPr>
            <p:spPr>
              <a:xfrm>
                <a:off x="7351167" y="5364344"/>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450" name="Freeform: Shape 10449">
              <a:extLst>
                <a:ext uri="{FF2B5EF4-FFF2-40B4-BE49-F238E27FC236}">
                  <a16:creationId xmlns:a16="http://schemas.microsoft.com/office/drawing/2014/main" id="{42E8C9DB-6216-E486-0125-F8BF73179E94}"/>
                </a:ext>
              </a:extLst>
            </p:cNvPr>
            <p:cNvSpPr/>
            <p:nvPr/>
          </p:nvSpPr>
          <p:spPr>
            <a:xfrm>
              <a:off x="15186232" y="1820585"/>
              <a:ext cx="219766" cy="83364"/>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0512" name="Graphic 455">
            <a:extLst>
              <a:ext uri="{FF2B5EF4-FFF2-40B4-BE49-F238E27FC236}">
                <a16:creationId xmlns:a16="http://schemas.microsoft.com/office/drawing/2014/main" id="{6688F753-A1A6-0366-8DD2-313FF33F18AA}"/>
              </a:ext>
            </a:extLst>
          </p:cNvPr>
          <p:cNvGrpSpPr/>
          <p:nvPr/>
        </p:nvGrpSpPr>
        <p:grpSpPr>
          <a:xfrm>
            <a:off x="5198319" y="3666123"/>
            <a:ext cx="205200" cy="141055"/>
            <a:chOff x="2595171" y="4564360"/>
            <a:chExt cx="152940" cy="99440"/>
          </a:xfrm>
          <a:gradFill flip="none" rotWithShape="1">
            <a:gsLst>
              <a:gs pos="100000">
                <a:srgbClr val="008896"/>
              </a:gs>
              <a:gs pos="0">
                <a:srgbClr val="005A64"/>
              </a:gs>
            </a:gsLst>
            <a:lin ang="0" scaled="1"/>
            <a:tileRect/>
          </a:gradFill>
        </p:grpSpPr>
        <p:sp>
          <p:nvSpPr>
            <p:cNvPr id="10599" name="Freeform: Shape 10598">
              <a:extLst>
                <a:ext uri="{FF2B5EF4-FFF2-40B4-BE49-F238E27FC236}">
                  <a16:creationId xmlns:a16="http://schemas.microsoft.com/office/drawing/2014/main" id="{97C99609-094B-DEAF-55B8-86C9925FECF8}"/>
                </a:ext>
              </a:extLst>
            </p:cNvPr>
            <p:cNvSpPr/>
            <p:nvPr/>
          </p:nvSpPr>
          <p:spPr>
            <a:xfrm>
              <a:off x="2595171" y="456436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00" name="Graphic 455">
              <a:extLst>
                <a:ext uri="{FF2B5EF4-FFF2-40B4-BE49-F238E27FC236}">
                  <a16:creationId xmlns:a16="http://schemas.microsoft.com/office/drawing/2014/main" id="{FED42D84-287C-A359-BE0A-B27A64778AE8}"/>
                </a:ext>
              </a:extLst>
            </p:cNvPr>
            <p:cNvGrpSpPr/>
            <p:nvPr/>
          </p:nvGrpSpPr>
          <p:grpSpPr>
            <a:xfrm>
              <a:off x="2595171" y="4564360"/>
              <a:ext cx="152940" cy="99438"/>
              <a:chOff x="2595171" y="4564360"/>
              <a:chExt cx="152940" cy="99438"/>
            </a:xfrm>
            <a:grpFill/>
          </p:grpSpPr>
          <p:sp>
            <p:nvSpPr>
              <p:cNvPr id="10601" name="Freeform: Shape 10600">
                <a:extLst>
                  <a:ext uri="{FF2B5EF4-FFF2-40B4-BE49-F238E27FC236}">
                    <a16:creationId xmlns:a16="http://schemas.microsoft.com/office/drawing/2014/main" id="{B6BE53AD-0337-2C95-6087-D34D1980C69C}"/>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02" name="Freeform: Shape 10601">
                <a:extLst>
                  <a:ext uri="{FF2B5EF4-FFF2-40B4-BE49-F238E27FC236}">
                    <a16:creationId xmlns:a16="http://schemas.microsoft.com/office/drawing/2014/main" id="{C40BB4D0-4605-224F-64DC-2A2F875CD6FB}"/>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513" name="Graphic 455">
            <a:extLst>
              <a:ext uri="{FF2B5EF4-FFF2-40B4-BE49-F238E27FC236}">
                <a16:creationId xmlns:a16="http://schemas.microsoft.com/office/drawing/2014/main" id="{8F588081-95FA-DB46-E10D-AA14E8BA54D6}"/>
              </a:ext>
            </a:extLst>
          </p:cNvPr>
          <p:cNvGrpSpPr/>
          <p:nvPr/>
        </p:nvGrpSpPr>
        <p:grpSpPr>
          <a:xfrm>
            <a:off x="4964547" y="3723199"/>
            <a:ext cx="205185" cy="141043"/>
            <a:chOff x="2420936" y="4604597"/>
            <a:chExt cx="152929" cy="99432"/>
          </a:xfrm>
          <a:gradFill flip="none" rotWithShape="1">
            <a:gsLst>
              <a:gs pos="100000">
                <a:srgbClr val="008896"/>
              </a:gs>
              <a:gs pos="0">
                <a:srgbClr val="005A64"/>
              </a:gs>
            </a:gsLst>
            <a:lin ang="0" scaled="1"/>
            <a:tileRect/>
          </a:gradFill>
        </p:grpSpPr>
        <p:sp>
          <p:nvSpPr>
            <p:cNvPr id="10595" name="Freeform: Shape 10594">
              <a:extLst>
                <a:ext uri="{FF2B5EF4-FFF2-40B4-BE49-F238E27FC236}">
                  <a16:creationId xmlns:a16="http://schemas.microsoft.com/office/drawing/2014/main" id="{13C4E39F-872D-E66A-D80D-37A7F5585E95}"/>
                </a:ext>
              </a:extLst>
            </p:cNvPr>
            <p:cNvSpPr/>
            <p:nvPr/>
          </p:nvSpPr>
          <p:spPr>
            <a:xfrm>
              <a:off x="2420936" y="460459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96" name="Graphic 455">
              <a:extLst>
                <a:ext uri="{FF2B5EF4-FFF2-40B4-BE49-F238E27FC236}">
                  <a16:creationId xmlns:a16="http://schemas.microsoft.com/office/drawing/2014/main" id="{99F11DC7-1A9B-E34A-859B-6D4774A61501}"/>
                </a:ext>
              </a:extLst>
            </p:cNvPr>
            <p:cNvGrpSpPr/>
            <p:nvPr/>
          </p:nvGrpSpPr>
          <p:grpSpPr>
            <a:xfrm>
              <a:off x="2420937" y="4604597"/>
              <a:ext cx="152929" cy="99427"/>
              <a:chOff x="2420937" y="4604597"/>
              <a:chExt cx="152929" cy="99427"/>
            </a:xfrm>
            <a:grpFill/>
          </p:grpSpPr>
          <p:sp>
            <p:nvSpPr>
              <p:cNvPr id="10597" name="Freeform: Shape 10596">
                <a:extLst>
                  <a:ext uri="{FF2B5EF4-FFF2-40B4-BE49-F238E27FC236}">
                    <a16:creationId xmlns:a16="http://schemas.microsoft.com/office/drawing/2014/main" id="{56DEF7F0-AF65-8296-17F9-FD9C5AF3DD0A}"/>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98" name="Freeform: Shape 10597">
                <a:extLst>
                  <a:ext uri="{FF2B5EF4-FFF2-40B4-BE49-F238E27FC236}">
                    <a16:creationId xmlns:a16="http://schemas.microsoft.com/office/drawing/2014/main" id="{7DA58FCA-5C0A-68BF-4641-89EAF3AB9AE1}"/>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514" name="Graphic 455">
            <a:extLst>
              <a:ext uri="{FF2B5EF4-FFF2-40B4-BE49-F238E27FC236}">
                <a16:creationId xmlns:a16="http://schemas.microsoft.com/office/drawing/2014/main" id="{1920B917-DD0E-042C-24B1-C2DE45A5DC9D}"/>
              </a:ext>
            </a:extLst>
          </p:cNvPr>
          <p:cNvGrpSpPr/>
          <p:nvPr/>
        </p:nvGrpSpPr>
        <p:grpSpPr>
          <a:xfrm>
            <a:off x="5124137" y="3816545"/>
            <a:ext cx="205185" cy="141067"/>
            <a:chOff x="2539882" y="4670403"/>
            <a:chExt cx="152929" cy="99449"/>
          </a:xfrm>
          <a:gradFill flip="none" rotWithShape="1">
            <a:gsLst>
              <a:gs pos="100000">
                <a:srgbClr val="008896"/>
              </a:gs>
              <a:gs pos="0">
                <a:srgbClr val="005A64"/>
              </a:gs>
            </a:gsLst>
            <a:lin ang="0" scaled="1"/>
            <a:tileRect/>
          </a:gradFill>
        </p:grpSpPr>
        <p:sp>
          <p:nvSpPr>
            <p:cNvPr id="10591" name="Freeform: Shape 10590">
              <a:extLst>
                <a:ext uri="{FF2B5EF4-FFF2-40B4-BE49-F238E27FC236}">
                  <a16:creationId xmlns:a16="http://schemas.microsoft.com/office/drawing/2014/main" id="{2F196A3C-8FA6-36B5-2089-77511ABB30CA}"/>
                </a:ext>
              </a:extLst>
            </p:cNvPr>
            <p:cNvSpPr/>
            <p:nvPr/>
          </p:nvSpPr>
          <p:spPr>
            <a:xfrm>
              <a:off x="2539882" y="467040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92" name="Graphic 455">
              <a:extLst>
                <a:ext uri="{FF2B5EF4-FFF2-40B4-BE49-F238E27FC236}">
                  <a16:creationId xmlns:a16="http://schemas.microsoft.com/office/drawing/2014/main" id="{6119375C-F970-7418-68BD-97F646B2663C}"/>
                </a:ext>
              </a:extLst>
            </p:cNvPr>
            <p:cNvGrpSpPr/>
            <p:nvPr/>
          </p:nvGrpSpPr>
          <p:grpSpPr>
            <a:xfrm>
              <a:off x="2539883" y="4670403"/>
              <a:ext cx="152929" cy="99449"/>
              <a:chOff x="2539883" y="4670403"/>
              <a:chExt cx="152929" cy="99449"/>
            </a:xfrm>
            <a:grpFill/>
          </p:grpSpPr>
          <p:sp>
            <p:nvSpPr>
              <p:cNvPr id="10593" name="Freeform: Shape 10592">
                <a:extLst>
                  <a:ext uri="{FF2B5EF4-FFF2-40B4-BE49-F238E27FC236}">
                    <a16:creationId xmlns:a16="http://schemas.microsoft.com/office/drawing/2014/main" id="{D9EE468E-A985-7760-97C5-B04D2C753263}"/>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94" name="Freeform: Shape 10593">
                <a:extLst>
                  <a:ext uri="{FF2B5EF4-FFF2-40B4-BE49-F238E27FC236}">
                    <a16:creationId xmlns:a16="http://schemas.microsoft.com/office/drawing/2014/main" id="{C0710B32-A9E9-C249-783A-FCC97C318E5F}"/>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515" name="Graphic 455">
            <a:extLst>
              <a:ext uri="{FF2B5EF4-FFF2-40B4-BE49-F238E27FC236}">
                <a16:creationId xmlns:a16="http://schemas.microsoft.com/office/drawing/2014/main" id="{0E6CBCF7-0896-1918-D523-B01E0B361D86}"/>
              </a:ext>
            </a:extLst>
          </p:cNvPr>
          <p:cNvGrpSpPr/>
          <p:nvPr/>
        </p:nvGrpSpPr>
        <p:grpSpPr>
          <a:xfrm>
            <a:off x="5357955" y="3759484"/>
            <a:ext cx="205200" cy="141067"/>
            <a:chOff x="2714151" y="4630177"/>
            <a:chExt cx="152940" cy="99449"/>
          </a:xfrm>
          <a:gradFill flip="none" rotWithShape="1">
            <a:gsLst>
              <a:gs pos="100000">
                <a:srgbClr val="008896"/>
              </a:gs>
              <a:gs pos="0">
                <a:srgbClr val="005A64"/>
              </a:gs>
            </a:gsLst>
            <a:lin ang="0" scaled="1"/>
            <a:tileRect/>
          </a:gradFill>
        </p:grpSpPr>
        <p:sp>
          <p:nvSpPr>
            <p:cNvPr id="10587" name="Freeform: Shape 10586">
              <a:extLst>
                <a:ext uri="{FF2B5EF4-FFF2-40B4-BE49-F238E27FC236}">
                  <a16:creationId xmlns:a16="http://schemas.microsoft.com/office/drawing/2014/main" id="{3744BBC7-931B-3346-E427-9B851B7E9733}"/>
                </a:ext>
              </a:extLst>
            </p:cNvPr>
            <p:cNvSpPr/>
            <p:nvPr/>
          </p:nvSpPr>
          <p:spPr>
            <a:xfrm>
              <a:off x="2714151" y="463017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88" name="Graphic 455">
              <a:extLst>
                <a:ext uri="{FF2B5EF4-FFF2-40B4-BE49-F238E27FC236}">
                  <a16:creationId xmlns:a16="http://schemas.microsoft.com/office/drawing/2014/main" id="{46A19C21-37F2-E288-0C79-064901FD1EDE}"/>
                </a:ext>
              </a:extLst>
            </p:cNvPr>
            <p:cNvGrpSpPr/>
            <p:nvPr/>
          </p:nvGrpSpPr>
          <p:grpSpPr>
            <a:xfrm>
              <a:off x="2714152" y="4630177"/>
              <a:ext cx="152940" cy="99449"/>
              <a:chOff x="2714152" y="4630177"/>
              <a:chExt cx="152940" cy="99449"/>
            </a:xfrm>
            <a:grpFill/>
          </p:grpSpPr>
          <p:sp>
            <p:nvSpPr>
              <p:cNvPr id="10589" name="Freeform: Shape 10588">
                <a:extLst>
                  <a:ext uri="{FF2B5EF4-FFF2-40B4-BE49-F238E27FC236}">
                    <a16:creationId xmlns:a16="http://schemas.microsoft.com/office/drawing/2014/main" id="{C98B7AC2-D51F-0066-3696-448B5745CDB1}"/>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90" name="Freeform: Shape 10589">
                <a:extLst>
                  <a:ext uri="{FF2B5EF4-FFF2-40B4-BE49-F238E27FC236}">
                    <a16:creationId xmlns:a16="http://schemas.microsoft.com/office/drawing/2014/main" id="{8A7B482C-9E82-2458-CA7E-67B3F360D341}"/>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516" name="Freeform: Shape 10515">
            <a:extLst>
              <a:ext uri="{FF2B5EF4-FFF2-40B4-BE49-F238E27FC236}">
                <a16:creationId xmlns:a16="http://schemas.microsoft.com/office/drawing/2014/main" id="{CCF8F776-C463-264D-0BAF-040EF5DCEE55}"/>
              </a:ext>
            </a:extLst>
          </p:cNvPr>
          <p:cNvSpPr/>
          <p:nvPr/>
        </p:nvSpPr>
        <p:spPr>
          <a:xfrm>
            <a:off x="5198685" y="3627603"/>
            <a:ext cx="204849" cy="77712"/>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17" name="Freeform: Shape 10516">
            <a:extLst>
              <a:ext uri="{FF2B5EF4-FFF2-40B4-BE49-F238E27FC236}">
                <a16:creationId xmlns:a16="http://schemas.microsoft.com/office/drawing/2014/main" id="{A282084B-75FC-09EA-86EF-DAD6BCA9F0C4}"/>
              </a:ext>
            </a:extLst>
          </p:cNvPr>
          <p:cNvSpPr/>
          <p:nvPr/>
        </p:nvSpPr>
        <p:spPr>
          <a:xfrm>
            <a:off x="4964869" y="3684674"/>
            <a:ext cx="204853" cy="77712"/>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18" name="Freeform: Shape 10517">
            <a:extLst>
              <a:ext uri="{FF2B5EF4-FFF2-40B4-BE49-F238E27FC236}">
                <a16:creationId xmlns:a16="http://schemas.microsoft.com/office/drawing/2014/main" id="{03CA9E1C-ACF9-42AC-E266-E2757ACF28B3}"/>
              </a:ext>
            </a:extLst>
          </p:cNvPr>
          <p:cNvSpPr/>
          <p:nvPr/>
        </p:nvSpPr>
        <p:spPr>
          <a:xfrm>
            <a:off x="5358244" y="3720962"/>
            <a:ext cx="204897" cy="77720"/>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19" name="Freeform: Shape 10518">
            <a:extLst>
              <a:ext uri="{FF2B5EF4-FFF2-40B4-BE49-F238E27FC236}">
                <a16:creationId xmlns:a16="http://schemas.microsoft.com/office/drawing/2014/main" id="{49E5702D-4B21-418E-9F23-81F8D4DC8811}"/>
              </a:ext>
            </a:extLst>
          </p:cNvPr>
          <p:cNvSpPr/>
          <p:nvPr/>
        </p:nvSpPr>
        <p:spPr>
          <a:xfrm>
            <a:off x="5124461" y="3778021"/>
            <a:ext cx="204870" cy="77722"/>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20" name="Graphic 455">
            <a:extLst>
              <a:ext uri="{FF2B5EF4-FFF2-40B4-BE49-F238E27FC236}">
                <a16:creationId xmlns:a16="http://schemas.microsoft.com/office/drawing/2014/main" id="{C3EF17E1-7111-1534-A40D-7A307E7A00E2}"/>
              </a:ext>
            </a:extLst>
          </p:cNvPr>
          <p:cNvGrpSpPr/>
          <p:nvPr/>
        </p:nvGrpSpPr>
        <p:grpSpPr>
          <a:xfrm>
            <a:off x="4708093" y="3785793"/>
            <a:ext cx="205200" cy="141057"/>
            <a:chOff x="2229795" y="4648724"/>
            <a:chExt cx="152940" cy="99442"/>
          </a:xfrm>
          <a:gradFill flip="none" rotWithShape="1">
            <a:gsLst>
              <a:gs pos="100000">
                <a:srgbClr val="008896"/>
              </a:gs>
              <a:gs pos="0">
                <a:srgbClr val="005A64"/>
              </a:gs>
            </a:gsLst>
            <a:lin ang="0" scaled="1"/>
            <a:tileRect/>
          </a:gradFill>
        </p:grpSpPr>
        <p:sp>
          <p:nvSpPr>
            <p:cNvPr id="10583" name="Freeform: Shape 10582">
              <a:extLst>
                <a:ext uri="{FF2B5EF4-FFF2-40B4-BE49-F238E27FC236}">
                  <a16:creationId xmlns:a16="http://schemas.microsoft.com/office/drawing/2014/main" id="{73D102B4-6A21-3373-4234-14531E468188}"/>
                </a:ext>
              </a:extLst>
            </p:cNvPr>
            <p:cNvSpPr/>
            <p:nvPr/>
          </p:nvSpPr>
          <p:spPr>
            <a:xfrm>
              <a:off x="2229795" y="464872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84" name="Graphic 455">
              <a:extLst>
                <a:ext uri="{FF2B5EF4-FFF2-40B4-BE49-F238E27FC236}">
                  <a16:creationId xmlns:a16="http://schemas.microsoft.com/office/drawing/2014/main" id="{7E85393E-709A-DFAF-3859-4DB3CADB8125}"/>
                </a:ext>
              </a:extLst>
            </p:cNvPr>
            <p:cNvGrpSpPr/>
            <p:nvPr/>
          </p:nvGrpSpPr>
          <p:grpSpPr>
            <a:xfrm>
              <a:off x="2229795" y="4648724"/>
              <a:ext cx="152940" cy="99438"/>
              <a:chOff x="2229795" y="4648724"/>
              <a:chExt cx="152940" cy="99438"/>
            </a:xfrm>
            <a:grpFill/>
          </p:grpSpPr>
          <p:sp>
            <p:nvSpPr>
              <p:cNvPr id="10585" name="Freeform: Shape 10584">
                <a:extLst>
                  <a:ext uri="{FF2B5EF4-FFF2-40B4-BE49-F238E27FC236}">
                    <a16:creationId xmlns:a16="http://schemas.microsoft.com/office/drawing/2014/main" id="{ECDD68B4-BD86-3829-8825-2E11A38CFD43}"/>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86" name="Freeform: Shape 10585">
                <a:extLst>
                  <a:ext uri="{FF2B5EF4-FFF2-40B4-BE49-F238E27FC236}">
                    <a16:creationId xmlns:a16="http://schemas.microsoft.com/office/drawing/2014/main" id="{381E619C-28DD-5D0B-1445-6DF647C90980}"/>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521" name="Graphic 455">
            <a:extLst>
              <a:ext uri="{FF2B5EF4-FFF2-40B4-BE49-F238E27FC236}">
                <a16:creationId xmlns:a16="http://schemas.microsoft.com/office/drawing/2014/main" id="{2D45EB97-54F0-9C22-4104-4724C478E311}"/>
              </a:ext>
            </a:extLst>
          </p:cNvPr>
          <p:cNvGrpSpPr/>
          <p:nvPr/>
        </p:nvGrpSpPr>
        <p:grpSpPr>
          <a:xfrm>
            <a:off x="4867698" y="3879154"/>
            <a:ext cx="205200" cy="141051"/>
            <a:chOff x="2348752" y="4714541"/>
            <a:chExt cx="152940" cy="99438"/>
          </a:xfrm>
          <a:gradFill flip="none" rotWithShape="1">
            <a:gsLst>
              <a:gs pos="100000">
                <a:srgbClr val="008896"/>
              </a:gs>
              <a:gs pos="0">
                <a:srgbClr val="005A64"/>
              </a:gs>
            </a:gsLst>
            <a:lin ang="0" scaled="1"/>
            <a:tileRect/>
          </a:gradFill>
        </p:grpSpPr>
        <p:sp>
          <p:nvSpPr>
            <p:cNvPr id="10579" name="Freeform: Shape 10578">
              <a:extLst>
                <a:ext uri="{FF2B5EF4-FFF2-40B4-BE49-F238E27FC236}">
                  <a16:creationId xmlns:a16="http://schemas.microsoft.com/office/drawing/2014/main" id="{96B0E724-318D-5843-B336-306B4D85FCE4}"/>
                </a:ext>
              </a:extLst>
            </p:cNvPr>
            <p:cNvSpPr/>
            <p:nvPr/>
          </p:nvSpPr>
          <p:spPr>
            <a:xfrm>
              <a:off x="2348752" y="471454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80" name="Graphic 455">
              <a:extLst>
                <a:ext uri="{FF2B5EF4-FFF2-40B4-BE49-F238E27FC236}">
                  <a16:creationId xmlns:a16="http://schemas.microsoft.com/office/drawing/2014/main" id="{F12CBC07-3376-F1E8-9034-E1EDEE138C5D}"/>
                </a:ext>
              </a:extLst>
            </p:cNvPr>
            <p:cNvGrpSpPr/>
            <p:nvPr/>
          </p:nvGrpSpPr>
          <p:grpSpPr>
            <a:xfrm>
              <a:off x="2348752" y="4714541"/>
              <a:ext cx="152940" cy="99438"/>
              <a:chOff x="2348752" y="4714541"/>
              <a:chExt cx="152940" cy="99438"/>
            </a:xfrm>
            <a:grpFill/>
          </p:grpSpPr>
          <p:sp>
            <p:nvSpPr>
              <p:cNvPr id="10581" name="Freeform: Shape 10580">
                <a:extLst>
                  <a:ext uri="{FF2B5EF4-FFF2-40B4-BE49-F238E27FC236}">
                    <a16:creationId xmlns:a16="http://schemas.microsoft.com/office/drawing/2014/main" id="{DD2C626E-71DC-8D25-2C3B-3361FAFC276E}"/>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82" name="Freeform: Shape 10581">
                <a:extLst>
                  <a:ext uri="{FF2B5EF4-FFF2-40B4-BE49-F238E27FC236}">
                    <a16:creationId xmlns:a16="http://schemas.microsoft.com/office/drawing/2014/main" id="{37C9CF6E-B7E6-734B-4B91-195EE7F7AEFA}"/>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522" name="Freeform: Shape 10521">
            <a:extLst>
              <a:ext uri="{FF2B5EF4-FFF2-40B4-BE49-F238E27FC236}">
                <a16:creationId xmlns:a16="http://schemas.microsoft.com/office/drawing/2014/main" id="{286EF688-0655-FE82-D554-A3F1A5A719C8}"/>
              </a:ext>
            </a:extLst>
          </p:cNvPr>
          <p:cNvSpPr/>
          <p:nvPr/>
        </p:nvSpPr>
        <p:spPr>
          <a:xfrm>
            <a:off x="4708441" y="3747263"/>
            <a:ext cx="204848" cy="7770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23" name="Freeform: Shape 10522">
            <a:extLst>
              <a:ext uri="{FF2B5EF4-FFF2-40B4-BE49-F238E27FC236}">
                <a16:creationId xmlns:a16="http://schemas.microsoft.com/office/drawing/2014/main" id="{29493B03-2E06-C805-096A-169A86309829}"/>
              </a:ext>
            </a:extLst>
          </p:cNvPr>
          <p:cNvSpPr/>
          <p:nvPr/>
        </p:nvSpPr>
        <p:spPr>
          <a:xfrm>
            <a:off x="4868021" y="3840623"/>
            <a:ext cx="204869" cy="77715"/>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24" name="Freeform: Shape 10523">
            <a:extLst>
              <a:ext uri="{FF2B5EF4-FFF2-40B4-BE49-F238E27FC236}">
                <a16:creationId xmlns:a16="http://schemas.microsoft.com/office/drawing/2014/main" id="{1C16C7B6-FBDD-EE00-287D-E024470FDBBD}"/>
              </a:ext>
            </a:extLst>
          </p:cNvPr>
          <p:cNvSpPr/>
          <p:nvPr/>
        </p:nvSpPr>
        <p:spPr>
          <a:xfrm>
            <a:off x="4590708" y="3570556"/>
            <a:ext cx="319635" cy="492615"/>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002D32"/>
          </a:solidFill>
          <a:ln w="11275"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25" name="Freeform: Shape 10524">
            <a:extLst>
              <a:ext uri="{FF2B5EF4-FFF2-40B4-BE49-F238E27FC236}">
                <a16:creationId xmlns:a16="http://schemas.microsoft.com/office/drawing/2014/main" id="{227B139F-9B3E-550A-FF92-2E8CC3BB0573}"/>
              </a:ext>
            </a:extLst>
          </p:cNvPr>
          <p:cNvSpPr/>
          <p:nvPr/>
        </p:nvSpPr>
        <p:spPr>
          <a:xfrm>
            <a:off x="4588128" y="3567820"/>
            <a:ext cx="324762" cy="498077"/>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002D32"/>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26" name="Freeform: Shape 10525">
            <a:extLst>
              <a:ext uri="{FF2B5EF4-FFF2-40B4-BE49-F238E27FC236}">
                <a16:creationId xmlns:a16="http://schemas.microsoft.com/office/drawing/2014/main" id="{694BCF11-243A-5E73-14EA-D8091D7CE652}"/>
              </a:ext>
            </a:extLst>
          </p:cNvPr>
          <p:cNvSpPr/>
          <p:nvPr/>
        </p:nvSpPr>
        <p:spPr>
          <a:xfrm>
            <a:off x="4909341" y="3518245"/>
            <a:ext cx="981484" cy="544926"/>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005A6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27" name="Freeform: Shape 10526">
            <a:extLst>
              <a:ext uri="{FF2B5EF4-FFF2-40B4-BE49-F238E27FC236}">
                <a16:creationId xmlns:a16="http://schemas.microsoft.com/office/drawing/2014/main" id="{7811828F-CA18-6461-2359-85C9BF47DEFD}"/>
              </a:ext>
            </a:extLst>
          </p:cNvPr>
          <p:cNvSpPr/>
          <p:nvPr/>
        </p:nvSpPr>
        <p:spPr>
          <a:xfrm>
            <a:off x="4906762" y="3515501"/>
            <a:ext cx="986611" cy="550398"/>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28" name="Freeform: Shape 10527">
            <a:extLst>
              <a:ext uri="{FF2B5EF4-FFF2-40B4-BE49-F238E27FC236}">
                <a16:creationId xmlns:a16="http://schemas.microsoft.com/office/drawing/2014/main" id="{34A91838-3AEA-4C7E-89A0-F37139E6A600}"/>
              </a:ext>
            </a:extLst>
          </p:cNvPr>
          <p:cNvSpPr/>
          <p:nvPr/>
        </p:nvSpPr>
        <p:spPr>
          <a:xfrm>
            <a:off x="4590708" y="3331235"/>
            <a:ext cx="1300117" cy="426332"/>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29" name="Graphic 641">
            <a:extLst>
              <a:ext uri="{FF2B5EF4-FFF2-40B4-BE49-F238E27FC236}">
                <a16:creationId xmlns:a16="http://schemas.microsoft.com/office/drawing/2014/main" id="{B7062688-31D9-8D96-E358-458AE255FF9E}"/>
              </a:ext>
            </a:extLst>
          </p:cNvPr>
          <p:cNvGrpSpPr/>
          <p:nvPr/>
        </p:nvGrpSpPr>
        <p:grpSpPr>
          <a:xfrm>
            <a:off x="5419657" y="3302728"/>
            <a:ext cx="205200" cy="141055"/>
            <a:chOff x="3257856" y="3944383"/>
            <a:chExt cx="152940" cy="99440"/>
          </a:xfrm>
          <a:gradFill flip="none" rotWithShape="1">
            <a:gsLst>
              <a:gs pos="100000">
                <a:srgbClr val="008896"/>
              </a:gs>
              <a:gs pos="0">
                <a:srgbClr val="005A64"/>
              </a:gs>
            </a:gsLst>
            <a:lin ang="0" scaled="1"/>
            <a:tileRect/>
          </a:gradFill>
        </p:grpSpPr>
        <p:sp>
          <p:nvSpPr>
            <p:cNvPr id="10575" name="Freeform: Shape 10574">
              <a:extLst>
                <a:ext uri="{FF2B5EF4-FFF2-40B4-BE49-F238E27FC236}">
                  <a16:creationId xmlns:a16="http://schemas.microsoft.com/office/drawing/2014/main" id="{A47CAAD3-31FF-C5BB-6208-ACC1B7ABB646}"/>
                </a:ext>
              </a:extLst>
            </p:cNvPr>
            <p:cNvSpPr/>
            <p:nvPr/>
          </p:nvSpPr>
          <p:spPr>
            <a:xfrm>
              <a:off x="3257856" y="3944383"/>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76" name="Graphic 641">
              <a:extLst>
                <a:ext uri="{FF2B5EF4-FFF2-40B4-BE49-F238E27FC236}">
                  <a16:creationId xmlns:a16="http://schemas.microsoft.com/office/drawing/2014/main" id="{4697C8D7-78B6-D74C-1D0E-9CF895919353}"/>
                </a:ext>
              </a:extLst>
            </p:cNvPr>
            <p:cNvGrpSpPr/>
            <p:nvPr/>
          </p:nvGrpSpPr>
          <p:grpSpPr>
            <a:xfrm>
              <a:off x="3257856" y="3944383"/>
              <a:ext cx="152940" cy="99438"/>
              <a:chOff x="3257856" y="3944383"/>
              <a:chExt cx="152940" cy="99438"/>
            </a:xfrm>
            <a:grpFill/>
          </p:grpSpPr>
          <p:sp>
            <p:nvSpPr>
              <p:cNvPr id="10577" name="Freeform: Shape 10576">
                <a:extLst>
                  <a:ext uri="{FF2B5EF4-FFF2-40B4-BE49-F238E27FC236}">
                    <a16:creationId xmlns:a16="http://schemas.microsoft.com/office/drawing/2014/main" id="{C84C6E50-3035-3DC3-F2C3-392C468DCD99}"/>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78" name="Freeform: Shape 10577">
                <a:extLst>
                  <a:ext uri="{FF2B5EF4-FFF2-40B4-BE49-F238E27FC236}">
                    <a16:creationId xmlns:a16="http://schemas.microsoft.com/office/drawing/2014/main" id="{3A155A8C-4F52-F4CD-1B83-1F1860611939}"/>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532" name="Graphic 641">
            <a:extLst>
              <a:ext uri="{FF2B5EF4-FFF2-40B4-BE49-F238E27FC236}">
                <a16:creationId xmlns:a16="http://schemas.microsoft.com/office/drawing/2014/main" id="{02BC6829-16D7-C183-1C06-86903B7A9DCC}"/>
              </a:ext>
            </a:extLst>
          </p:cNvPr>
          <p:cNvGrpSpPr/>
          <p:nvPr/>
        </p:nvGrpSpPr>
        <p:grpSpPr>
          <a:xfrm>
            <a:off x="5579292" y="3396090"/>
            <a:ext cx="205200" cy="141067"/>
            <a:chOff x="3376836" y="4010200"/>
            <a:chExt cx="152940" cy="99449"/>
          </a:xfrm>
          <a:gradFill flip="none" rotWithShape="1">
            <a:gsLst>
              <a:gs pos="100000">
                <a:srgbClr val="008896"/>
              </a:gs>
              <a:gs pos="0">
                <a:srgbClr val="005A64"/>
              </a:gs>
            </a:gsLst>
            <a:lin ang="0" scaled="1"/>
            <a:tileRect/>
          </a:gradFill>
        </p:grpSpPr>
        <p:sp>
          <p:nvSpPr>
            <p:cNvPr id="10563" name="Freeform: Shape 10562">
              <a:extLst>
                <a:ext uri="{FF2B5EF4-FFF2-40B4-BE49-F238E27FC236}">
                  <a16:creationId xmlns:a16="http://schemas.microsoft.com/office/drawing/2014/main" id="{CE346BA0-BFD8-3893-A9AA-7127772C5823}"/>
                </a:ext>
              </a:extLst>
            </p:cNvPr>
            <p:cNvSpPr/>
            <p:nvPr/>
          </p:nvSpPr>
          <p:spPr>
            <a:xfrm>
              <a:off x="3376836" y="4010200"/>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64" name="Graphic 641">
              <a:extLst>
                <a:ext uri="{FF2B5EF4-FFF2-40B4-BE49-F238E27FC236}">
                  <a16:creationId xmlns:a16="http://schemas.microsoft.com/office/drawing/2014/main" id="{39EFACE8-FEDD-4BFB-ED6C-82E9F14873B9}"/>
                </a:ext>
              </a:extLst>
            </p:cNvPr>
            <p:cNvGrpSpPr/>
            <p:nvPr/>
          </p:nvGrpSpPr>
          <p:grpSpPr>
            <a:xfrm>
              <a:off x="3376837" y="4010200"/>
              <a:ext cx="152940" cy="99449"/>
              <a:chOff x="3376837" y="4010200"/>
              <a:chExt cx="152940" cy="99449"/>
            </a:xfrm>
            <a:grpFill/>
          </p:grpSpPr>
          <p:sp>
            <p:nvSpPr>
              <p:cNvPr id="10565" name="Freeform: Shape 10564">
                <a:extLst>
                  <a:ext uri="{FF2B5EF4-FFF2-40B4-BE49-F238E27FC236}">
                    <a16:creationId xmlns:a16="http://schemas.microsoft.com/office/drawing/2014/main" id="{041DE452-D21A-D730-8777-A2E8A0CF276C}"/>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66" name="Freeform: Shape 10565">
                <a:extLst>
                  <a:ext uri="{FF2B5EF4-FFF2-40B4-BE49-F238E27FC236}">
                    <a16:creationId xmlns:a16="http://schemas.microsoft.com/office/drawing/2014/main" id="{7D2C99B1-75A4-1AE7-457C-944D61CD8E57}"/>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533" name="Freeform: Shape 10532">
            <a:extLst>
              <a:ext uri="{FF2B5EF4-FFF2-40B4-BE49-F238E27FC236}">
                <a16:creationId xmlns:a16="http://schemas.microsoft.com/office/drawing/2014/main" id="{ED7A3F53-6A47-FC83-2F9A-F422535A5DBD}"/>
              </a:ext>
            </a:extLst>
          </p:cNvPr>
          <p:cNvSpPr/>
          <p:nvPr/>
        </p:nvSpPr>
        <p:spPr>
          <a:xfrm>
            <a:off x="5420023" y="3264208"/>
            <a:ext cx="204849" cy="77712"/>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35" name="Freeform: Shape 10534">
            <a:extLst>
              <a:ext uri="{FF2B5EF4-FFF2-40B4-BE49-F238E27FC236}">
                <a16:creationId xmlns:a16="http://schemas.microsoft.com/office/drawing/2014/main" id="{23EFD18C-5AD1-4915-CE7F-017251E2ADE0}"/>
              </a:ext>
            </a:extLst>
          </p:cNvPr>
          <p:cNvSpPr/>
          <p:nvPr/>
        </p:nvSpPr>
        <p:spPr>
          <a:xfrm>
            <a:off x="5579582" y="3357566"/>
            <a:ext cx="204897" cy="77720"/>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37" name="Graphic 641">
            <a:extLst>
              <a:ext uri="{FF2B5EF4-FFF2-40B4-BE49-F238E27FC236}">
                <a16:creationId xmlns:a16="http://schemas.microsoft.com/office/drawing/2014/main" id="{DE36FAEA-EE38-6ECA-AA86-097106443A48}"/>
              </a:ext>
            </a:extLst>
          </p:cNvPr>
          <p:cNvGrpSpPr/>
          <p:nvPr/>
        </p:nvGrpSpPr>
        <p:grpSpPr>
          <a:xfrm>
            <a:off x="4695629" y="3479456"/>
            <a:ext cx="205185" cy="141055"/>
            <a:chOff x="2718222" y="4068972"/>
            <a:chExt cx="152929" cy="99440"/>
          </a:xfrm>
          <a:gradFill flip="none" rotWithShape="1">
            <a:gsLst>
              <a:gs pos="100000">
                <a:srgbClr val="008896"/>
              </a:gs>
              <a:gs pos="0">
                <a:srgbClr val="005A64"/>
              </a:gs>
            </a:gsLst>
            <a:lin ang="0" scaled="1"/>
            <a:tileRect/>
          </a:gradFill>
        </p:grpSpPr>
        <p:sp>
          <p:nvSpPr>
            <p:cNvPr id="10559" name="Freeform: Shape 10558">
              <a:extLst>
                <a:ext uri="{FF2B5EF4-FFF2-40B4-BE49-F238E27FC236}">
                  <a16:creationId xmlns:a16="http://schemas.microsoft.com/office/drawing/2014/main" id="{46315557-79C7-F3BA-790F-C2088D391A07}"/>
                </a:ext>
              </a:extLst>
            </p:cNvPr>
            <p:cNvSpPr/>
            <p:nvPr/>
          </p:nvSpPr>
          <p:spPr>
            <a:xfrm>
              <a:off x="2718222" y="4068972"/>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60" name="Graphic 641">
              <a:extLst>
                <a:ext uri="{FF2B5EF4-FFF2-40B4-BE49-F238E27FC236}">
                  <a16:creationId xmlns:a16="http://schemas.microsoft.com/office/drawing/2014/main" id="{731CE4B9-BB13-3207-6AA5-4AB56CD9203E}"/>
                </a:ext>
              </a:extLst>
            </p:cNvPr>
            <p:cNvGrpSpPr/>
            <p:nvPr/>
          </p:nvGrpSpPr>
          <p:grpSpPr>
            <a:xfrm>
              <a:off x="2718222" y="4068972"/>
              <a:ext cx="152929" cy="99438"/>
              <a:chOff x="2718222" y="4068972"/>
              <a:chExt cx="152929" cy="99438"/>
            </a:xfrm>
            <a:grpFill/>
          </p:grpSpPr>
          <p:sp>
            <p:nvSpPr>
              <p:cNvPr id="10561" name="Freeform: Shape 10560">
                <a:extLst>
                  <a:ext uri="{FF2B5EF4-FFF2-40B4-BE49-F238E27FC236}">
                    <a16:creationId xmlns:a16="http://schemas.microsoft.com/office/drawing/2014/main" id="{ADD52060-D251-8CB2-2211-1BD8A0C90B2D}"/>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62" name="Freeform: Shape 10561">
                <a:extLst>
                  <a:ext uri="{FF2B5EF4-FFF2-40B4-BE49-F238E27FC236}">
                    <a16:creationId xmlns:a16="http://schemas.microsoft.com/office/drawing/2014/main" id="{588F95B0-6C52-588A-9622-BEFD76E36C05}"/>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538" name="Graphic 641">
            <a:extLst>
              <a:ext uri="{FF2B5EF4-FFF2-40B4-BE49-F238E27FC236}">
                <a16:creationId xmlns:a16="http://schemas.microsoft.com/office/drawing/2014/main" id="{600BBF6B-57F0-8668-95DF-9E58994566AE}"/>
              </a:ext>
            </a:extLst>
          </p:cNvPr>
          <p:cNvGrpSpPr/>
          <p:nvPr/>
        </p:nvGrpSpPr>
        <p:grpSpPr>
          <a:xfrm>
            <a:off x="4855219" y="3572801"/>
            <a:ext cx="205214" cy="141085"/>
            <a:chOff x="2837168" y="4134778"/>
            <a:chExt cx="152951" cy="99461"/>
          </a:xfrm>
          <a:gradFill flip="none" rotWithShape="1">
            <a:gsLst>
              <a:gs pos="100000">
                <a:srgbClr val="008896"/>
              </a:gs>
              <a:gs pos="0">
                <a:srgbClr val="005A64"/>
              </a:gs>
            </a:gsLst>
            <a:lin ang="0" scaled="1"/>
            <a:tileRect/>
          </a:gradFill>
        </p:grpSpPr>
        <p:sp>
          <p:nvSpPr>
            <p:cNvPr id="10555" name="Freeform: Shape 10554">
              <a:extLst>
                <a:ext uri="{FF2B5EF4-FFF2-40B4-BE49-F238E27FC236}">
                  <a16:creationId xmlns:a16="http://schemas.microsoft.com/office/drawing/2014/main" id="{35C69A93-5330-D41F-762D-3A3E9A8BEEF0}"/>
                </a:ext>
              </a:extLst>
            </p:cNvPr>
            <p:cNvSpPr/>
            <p:nvPr/>
          </p:nvSpPr>
          <p:spPr>
            <a:xfrm>
              <a:off x="2837168" y="4134778"/>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56" name="Graphic 641">
              <a:extLst>
                <a:ext uri="{FF2B5EF4-FFF2-40B4-BE49-F238E27FC236}">
                  <a16:creationId xmlns:a16="http://schemas.microsoft.com/office/drawing/2014/main" id="{EDD5972D-C568-EDDC-31D8-41434583D0B7}"/>
                </a:ext>
              </a:extLst>
            </p:cNvPr>
            <p:cNvGrpSpPr/>
            <p:nvPr/>
          </p:nvGrpSpPr>
          <p:grpSpPr>
            <a:xfrm>
              <a:off x="2837168" y="4134778"/>
              <a:ext cx="152951" cy="99461"/>
              <a:chOff x="2837168" y="4134778"/>
              <a:chExt cx="152951" cy="99461"/>
            </a:xfrm>
            <a:grpFill/>
          </p:grpSpPr>
          <p:sp>
            <p:nvSpPr>
              <p:cNvPr id="10557" name="Freeform: Shape 10556">
                <a:extLst>
                  <a:ext uri="{FF2B5EF4-FFF2-40B4-BE49-F238E27FC236}">
                    <a16:creationId xmlns:a16="http://schemas.microsoft.com/office/drawing/2014/main" id="{80B7889B-FC1A-63C5-3250-8597F6D06AF5}"/>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58" name="Freeform: Shape 10557">
                <a:extLst>
                  <a:ext uri="{FF2B5EF4-FFF2-40B4-BE49-F238E27FC236}">
                    <a16:creationId xmlns:a16="http://schemas.microsoft.com/office/drawing/2014/main" id="{08310F25-A919-239F-47E4-8AAABAC84EE1}"/>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539" name="Freeform: Shape 10538">
            <a:extLst>
              <a:ext uri="{FF2B5EF4-FFF2-40B4-BE49-F238E27FC236}">
                <a16:creationId xmlns:a16="http://schemas.microsoft.com/office/drawing/2014/main" id="{A4065F47-BB5A-3C5A-E12F-1F087B45D8BC}"/>
              </a:ext>
            </a:extLst>
          </p:cNvPr>
          <p:cNvSpPr/>
          <p:nvPr/>
        </p:nvSpPr>
        <p:spPr>
          <a:xfrm>
            <a:off x="4695971" y="3440932"/>
            <a:ext cx="204853" cy="7770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40" name="RectangleLegend2">
            <a:extLst>
              <a:ext uri="{FF2B5EF4-FFF2-40B4-BE49-F238E27FC236}">
                <a16:creationId xmlns:a16="http://schemas.microsoft.com/office/drawing/2014/main" id="{89E28A95-CC95-75B3-A0AC-C9C004D1088F}"/>
              </a:ext>
            </a:extLst>
          </p:cNvPr>
          <p:cNvSpPr>
            <a:spLocks/>
          </p:cNvSpPr>
          <p:nvPr/>
        </p:nvSpPr>
        <p:spPr>
          <a:xfrm>
            <a:off x="4628906" y="3731023"/>
            <a:ext cx="1529615" cy="114775"/>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Fill &amp; finish process</a:t>
            </a:r>
          </a:p>
        </p:txBody>
      </p:sp>
      <p:grpSp>
        <p:nvGrpSpPr>
          <p:cNvPr id="10541" name="Group 10540">
            <a:extLst>
              <a:ext uri="{FF2B5EF4-FFF2-40B4-BE49-F238E27FC236}">
                <a16:creationId xmlns:a16="http://schemas.microsoft.com/office/drawing/2014/main" id="{73BCA75B-0B86-3990-048D-30B3672C8DA9}"/>
              </a:ext>
            </a:extLst>
          </p:cNvPr>
          <p:cNvGrpSpPr/>
          <p:nvPr/>
        </p:nvGrpSpPr>
        <p:grpSpPr>
          <a:xfrm>
            <a:off x="4929431" y="3383869"/>
            <a:ext cx="364804" cy="272940"/>
            <a:chOff x="7204514" y="5278735"/>
            <a:chExt cx="334523" cy="250284"/>
          </a:xfrm>
        </p:grpSpPr>
        <p:grpSp>
          <p:nvGrpSpPr>
            <p:cNvPr id="10543" name="Graphic 641">
              <a:extLst>
                <a:ext uri="{FF2B5EF4-FFF2-40B4-BE49-F238E27FC236}">
                  <a16:creationId xmlns:a16="http://schemas.microsoft.com/office/drawing/2014/main" id="{A6CDC6B6-8DD3-939E-C8CD-F889357B12E8}"/>
                </a:ext>
              </a:extLst>
            </p:cNvPr>
            <p:cNvGrpSpPr/>
            <p:nvPr/>
          </p:nvGrpSpPr>
          <p:grpSpPr>
            <a:xfrm>
              <a:off x="7204514" y="5314066"/>
              <a:ext cx="188167" cy="129348"/>
              <a:chOff x="2892480" y="4028747"/>
              <a:chExt cx="152940" cy="99442"/>
            </a:xfrm>
            <a:gradFill flip="none" rotWithShape="1">
              <a:gsLst>
                <a:gs pos="100000">
                  <a:srgbClr val="008896"/>
                </a:gs>
                <a:gs pos="0">
                  <a:srgbClr val="005A64"/>
                </a:gs>
              </a:gsLst>
              <a:lin ang="0" scaled="1"/>
              <a:tileRect/>
            </a:gradFill>
          </p:grpSpPr>
          <p:sp>
            <p:nvSpPr>
              <p:cNvPr id="10551" name="Freeform: Shape 10550">
                <a:extLst>
                  <a:ext uri="{FF2B5EF4-FFF2-40B4-BE49-F238E27FC236}">
                    <a16:creationId xmlns:a16="http://schemas.microsoft.com/office/drawing/2014/main" id="{48189CF8-0B85-E106-99D0-3D9FA3645613}"/>
                  </a:ext>
                </a:extLst>
              </p:cNvPr>
              <p:cNvSpPr/>
              <p:nvPr/>
            </p:nvSpPr>
            <p:spPr>
              <a:xfrm>
                <a:off x="2892480" y="4028747"/>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52" name="Graphic 641">
                <a:extLst>
                  <a:ext uri="{FF2B5EF4-FFF2-40B4-BE49-F238E27FC236}">
                    <a16:creationId xmlns:a16="http://schemas.microsoft.com/office/drawing/2014/main" id="{68EEC5B8-4855-5985-6F24-D2DFC6FA8E6F}"/>
                  </a:ext>
                </a:extLst>
              </p:cNvPr>
              <p:cNvGrpSpPr/>
              <p:nvPr/>
            </p:nvGrpSpPr>
            <p:grpSpPr>
              <a:xfrm>
                <a:off x="2892480" y="4028747"/>
                <a:ext cx="152940" cy="99438"/>
                <a:chOff x="2892480" y="4028747"/>
                <a:chExt cx="152940" cy="99438"/>
              </a:xfrm>
              <a:grpFill/>
            </p:grpSpPr>
            <p:sp>
              <p:nvSpPr>
                <p:cNvPr id="10553" name="Freeform: Shape 10552">
                  <a:extLst>
                    <a:ext uri="{FF2B5EF4-FFF2-40B4-BE49-F238E27FC236}">
                      <a16:creationId xmlns:a16="http://schemas.microsoft.com/office/drawing/2014/main" id="{A362A807-5F31-CE92-D395-0A0DE6D978F4}"/>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54" name="Freeform: Shape 10553">
                  <a:extLst>
                    <a:ext uri="{FF2B5EF4-FFF2-40B4-BE49-F238E27FC236}">
                      <a16:creationId xmlns:a16="http://schemas.microsoft.com/office/drawing/2014/main" id="{B19CDFB7-384B-5A80-C10A-0D2A97508D57}"/>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544" name="Graphic 641">
              <a:extLst>
                <a:ext uri="{FF2B5EF4-FFF2-40B4-BE49-F238E27FC236}">
                  <a16:creationId xmlns:a16="http://schemas.microsoft.com/office/drawing/2014/main" id="{33D9C995-F5CC-CE2C-716D-6ABC889AB4FD}"/>
                </a:ext>
              </a:extLst>
            </p:cNvPr>
            <p:cNvGrpSpPr/>
            <p:nvPr/>
          </p:nvGrpSpPr>
          <p:grpSpPr>
            <a:xfrm>
              <a:off x="7350870" y="5399676"/>
              <a:ext cx="188167" cy="129343"/>
              <a:chOff x="3011437" y="4094564"/>
              <a:chExt cx="152940" cy="99438"/>
            </a:xfrm>
            <a:gradFill flip="none" rotWithShape="1">
              <a:gsLst>
                <a:gs pos="100000">
                  <a:srgbClr val="008896"/>
                </a:gs>
                <a:gs pos="0">
                  <a:srgbClr val="005A64"/>
                </a:gs>
              </a:gsLst>
              <a:lin ang="0" scaled="1"/>
              <a:tileRect/>
            </a:gradFill>
          </p:grpSpPr>
          <p:sp>
            <p:nvSpPr>
              <p:cNvPr id="10547" name="Freeform: Shape 10546">
                <a:extLst>
                  <a:ext uri="{FF2B5EF4-FFF2-40B4-BE49-F238E27FC236}">
                    <a16:creationId xmlns:a16="http://schemas.microsoft.com/office/drawing/2014/main" id="{085410DE-FCDE-2E9C-3F0B-5B49BD68816C}"/>
                  </a:ext>
                </a:extLst>
              </p:cNvPr>
              <p:cNvSpPr/>
              <p:nvPr/>
            </p:nvSpPr>
            <p:spPr>
              <a:xfrm>
                <a:off x="3011437" y="4094564"/>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48" name="Graphic 641">
                <a:extLst>
                  <a:ext uri="{FF2B5EF4-FFF2-40B4-BE49-F238E27FC236}">
                    <a16:creationId xmlns:a16="http://schemas.microsoft.com/office/drawing/2014/main" id="{5C3C7903-546D-5FF0-938A-25BB1B10F5EB}"/>
                  </a:ext>
                </a:extLst>
              </p:cNvPr>
              <p:cNvGrpSpPr/>
              <p:nvPr/>
            </p:nvGrpSpPr>
            <p:grpSpPr>
              <a:xfrm>
                <a:off x="3011437" y="4094564"/>
                <a:ext cx="152940" cy="99438"/>
                <a:chOff x="3011437" y="4094564"/>
                <a:chExt cx="152940" cy="99438"/>
              </a:xfrm>
              <a:grpFill/>
            </p:grpSpPr>
            <p:sp>
              <p:nvSpPr>
                <p:cNvPr id="10549" name="Freeform: Shape 10548">
                  <a:extLst>
                    <a:ext uri="{FF2B5EF4-FFF2-40B4-BE49-F238E27FC236}">
                      <a16:creationId xmlns:a16="http://schemas.microsoft.com/office/drawing/2014/main" id="{058D469B-8BAD-7A54-5EE3-C213628CB8DC}"/>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50" name="Freeform: Shape 10549">
                  <a:extLst>
                    <a:ext uri="{FF2B5EF4-FFF2-40B4-BE49-F238E27FC236}">
                      <a16:creationId xmlns:a16="http://schemas.microsoft.com/office/drawing/2014/main" id="{808D7137-DAC5-1378-5E1A-C3AA62582821}"/>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545" name="Freeform: Shape 10544">
              <a:extLst>
                <a:ext uri="{FF2B5EF4-FFF2-40B4-BE49-F238E27FC236}">
                  <a16:creationId xmlns:a16="http://schemas.microsoft.com/office/drawing/2014/main" id="{04D0C4C8-EC76-B6C7-35E3-54FE91E3725D}"/>
                </a:ext>
              </a:extLst>
            </p:cNvPr>
            <p:cNvSpPr/>
            <p:nvPr/>
          </p:nvSpPr>
          <p:spPr>
            <a:xfrm>
              <a:off x="7204833" y="5278735"/>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46" name="Freeform: Shape 10545">
              <a:extLst>
                <a:ext uri="{FF2B5EF4-FFF2-40B4-BE49-F238E27FC236}">
                  <a16:creationId xmlns:a16="http://schemas.microsoft.com/office/drawing/2014/main" id="{0B3DAEF8-0CA9-3A45-E998-5413E918FD04}"/>
                </a:ext>
              </a:extLst>
            </p:cNvPr>
            <p:cNvSpPr/>
            <p:nvPr/>
          </p:nvSpPr>
          <p:spPr>
            <a:xfrm>
              <a:off x="7351167" y="5364344"/>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542" name="Freeform: Shape 10541">
            <a:extLst>
              <a:ext uri="{FF2B5EF4-FFF2-40B4-BE49-F238E27FC236}">
                <a16:creationId xmlns:a16="http://schemas.microsoft.com/office/drawing/2014/main" id="{9F198F7A-302D-07BC-EACD-3934E56D09BD}"/>
              </a:ext>
            </a:extLst>
          </p:cNvPr>
          <p:cNvSpPr/>
          <p:nvPr/>
        </p:nvSpPr>
        <p:spPr>
          <a:xfrm>
            <a:off x="4855552" y="3534288"/>
            <a:ext cx="204886" cy="77720"/>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03" name="Group 10602">
            <a:extLst>
              <a:ext uri="{FF2B5EF4-FFF2-40B4-BE49-F238E27FC236}">
                <a16:creationId xmlns:a16="http://schemas.microsoft.com/office/drawing/2014/main" id="{3C89B1D9-8394-F641-3273-EDD6559243F0}"/>
              </a:ext>
            </a:extLst>
          </p:cNvPr>
          <p:cNvGrpSpPr/>
          <p:nvPr/>
        </p:nvGrpSpPr>
        <p:grpSpPr>
          <a:xfrm>
            <a:off x="6293616" y="2532384"/>
            <a:ext cx="1569728" cy="801691"/>
            <a:chOff x="4681122" y="3763872"/>
            <a:chExt cx="1439429" cy="735144"/>
          </a:xfrm>
        </p:grpSpPr>
        <p:sp>
          <p:nvSpPr>
            <p:cNvPr id="10604" name="Freeform: Shape 10603">
              <a:extLst>
                <a:ext uri="{FF2B5EF4-FFF2-40B4-BE49-F238E27FC236}">
                  <a16:creationId xmlns:a16="http://schemas.microsoft.com/office/drawing/2014/main" id="{E7E49FA4-A301-12A0-3D80-97D7887AF673}"/>
                </a:ext>
              </a:extLst>
            </p:cNvPr>
            <p:cNvSpPr/>
            <p:nvPr/>
          </p:nvSpPr>
          <p:spPr>
            <a:xfrm>
              <a:off x="4683488" y="4044790"/>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255D48"/>
            </a:solidFill>
            <a:ln w="11275"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05" name="Freeform: Shape 10604">
              <a:extLst>
                <a:ext uri="{FF2B5EF4-FFF2-40B4-BE49-F238E27FC236}">
                  <a16:creationId xmlns:a16="http://schemas.microsoft.com/office/drawing/2014/main" id="{1763E309-FFAB-0D81-D877-4E80DC892747}"/>
                </a:ext>
              </a:extLst>
            </p:cNvPr>
            <p:cNvSpPr/>
            <p:nvPr/>
          </p:nvSpPr>
          <p:spPr>
            <a:xfrm>
              <a:off x="4681122" y="4042281"/>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255D4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06" name="Freeform: Shape 10605">
              <a:extLst>
                <a:ext uri="{FF2B5EF4-FFF2-40B4-BE49-F238E27FC236}">
                  <a16:creationId xmlns:a16="http://schemas.microsoft.com/office/drawing/2014/main" id="{1DA1037C-3D0F-F171-FDF3-4B8AF3B742A4}"/>
                </a:ext>
              </a:extLst>
            </p:cNvPr>
            <p:cNvSpPr/>
            <p:nvPr/>
          </p:nvSpPr>
          <p:spPr>
            <a:xfrm>
              <a:off x="4975673" y="3996822"/>
              <a:ext cx="900013" cy="499692"/>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3C9673"/>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07" name="Freeform: Shape 10606">
              <a:extLst>
                <a:ext uri="{FF2B5EF4-FFF2-40B4-BE49-F238E27FC236}">
                  <a16:creationId xmlns:a16="http://schemas.microsoft.com/office/drawing/2014/main" id="{3450AA4C-4FA1-846D-BF32-CFCA2E604F04}"/>
                </a:ext>
              </a:extLst>
            </p:cNvPr>
            <p:cNvSpPr/>
            <p:nvPr/>
          </p:nvSpPr>
          <p:spPr>
            <a:xfrm>
              <a:off x="4973307" y="3994305"/>
              <a:ext cx="904715" cy="504711"/>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08" name="Freeform: Shape 10607">
              <a:extLst>
                <a:ext uri="{FF2B5EF4-FFF2-40B4-BE49-F238E27FC236}">
                  <a16:creationId xmlns:a16="http://schemas.microsoft.com/office/drawing/2014/main" id="{F0697FC0-2003-8381-58EF-225EB63F5C8C}"/>
                </a:ext>
              </a:extLst>
            </p:cNvPr>
            <p:cNvSpPr/>
            <p:nvPr/>
          </p:nvSpPr>
          <p:spPr>
            <a:xfrm>
              <a:off x="4683488" y="3825335"/>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09" name="Graphic 642">
              <a:extLst>
                <a:ext uri="{FF2B5EF4-FFF2-40B4-BE49-F238E27FC236}">
                  <a16:creationId xmlns:a16="http://schemas.microsoft.com/office/drawing/2014/main" id="{F15FEA14-ECD1-018F-4271-6CAE4DDF9767}"/>
                </a:ext>
              </a:extLst>
            </p:cNvPr>
            <p:cNvGrpSpPr/>
            <p:nvPr/>
          </p:nvGrpSpPr>
          <p:grpSpPr>
            <a:xfrm>
              <a:off x="5443627" y="3799195"/>
              <a:ext cx="188167" cy="129346"/>
              <a:chOff x="3805243" y="4316394"/>
              <a:chExt cx="152940" cy="99440"/>
            </a:xfrm>
            <a:gradFill flip="none" rotWithShape="1">
              <a:gsLst>
                <a:gs pos="100000">
                  <a:srgbClr val="66C29F"/>
                </a:gs>
                <a:gs pos="0">
                  <a:srgbClr val="3C9673"/>
                </a:gs>
              </a:gsLst>
              <a:lin ang="0" scaled="1"/>
              <a:tileRect/>
            </a:gradFill>
          </p:grpSpPr>
          <p:sp>
            <p:nvSpPr>
              <p:cNvPr id="10654" name="Freeform: Shape 10653">
                <a:extLst>
                  <a:ext uri="{FF2B5EF4-FFF2-40B4-BE49-F238E27FC236}">
                    <a16:creationId xmlns:a16="http://schemas.microsoft.com/office/drawing/2014/main" id="{DF95BAB5-E00A-B792-C7CD-DF0F0D088BA9}"/>
                  </a:ext>
                </a:extLst>
              </p:cNvPr>
              <p:cNvSpPr/>
              <p:nvPr/>
            </p:nvSpPr>
            <p:spPr>
              <a:xfrm>
                <a:off x="3805243" y="4316394"/>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55" name="Graphic 642">
                <a:extLst>
                  <a:ext uri="{FF2B5EF4-FFF2-40B4-BE49-F238E27FC236}">
                    <a16:creationId xmlns:a16="http://schemas.microsoft.com/office/drawing/2014/main" id="{1C114E2C-848B-8410-9691-3EA8B1CFDA97}"/>
                  </a:ext>
                </a:extLst>
              </p:cNvPr>
              <p:cNvGrpSpPr/>
              <p:nvPr/>
            </p:nvGrpSpPr>
            <p:grpSpPr>
              <a:xfrm>
                <a:off x="3805243" y="4316394"/>
                <a:ext cx="152940" cy="99438"/>
                <a:chOff x="3805243" y="4316394"/>
                <a:chExt cx="152940" cy="99438"/>
              </a:xfrm>
              <a:grpFill/>
            </p:grpSpPr>
            <p:sp>
              <p:nvSpPr>
                <p:cNvPr id="10656" name="Freeform: Shape 10655">
                  <a:extLst>
                    <a:ext uri="{FF2B5EF4-FFF2-40B4-BE49-F238E27FC236}">
                      <a16:creationId xmlns:a16="http://schemas.microsoft.com/office/drawing/2014/main" id="{F4138994-259A-5C90-E2CA-23178C5A8F03}"/>
                    </a:ext>
                  </a:extLst>
                </p:cNvPr>
                <p:cNvSpPr/>
                <p:nvPr/>
              </p:nvSpPr>
              <p:spPr>
                <a:xfrm>
                  <a:off x="3805243" y="4316394"/>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57" name="Freeform: Shape 10656">
                  <a:extLst>
                    <a:ext uri="{FF2B5EF4-FFF2-40B4-BE49-F238E27FC236}">
                      <a16:creationId xmlns:a16="http://schemas.microsoft.com/office/drawing/2014/main" id="{20EB5DE1-7DE8-2CB9-40A4-A2742107FC34}"/>
                    </a:ext>
                  </a:extLst>
                </p:cNvPr>
                <p:cNvSpPr/>
                <p:nvPr/>
              </p:nvSpPr>
              <p:spPr>
                <a:xfrm>
                  <a:off x="3805243" y="4316394"/>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10" name="Graphic 642">
              <a:extLst>
                <a:ext uri="{FF2B5EF4-FFF2-40B4-BE49-F238E27FC236}">
                  <a16:creationId xmlns:a16="http://schemas.microsoft.com/office/drawing/2014/main" id="{07C79375-3857-709B-4D63-F8BB0A127F21}"/>
                </a:ext>
              </a:extLst>
            </p:cNvPr>
            <p:cNvGrpSpPr/>
            <p:nvPr/>
          </p:nvGrpSpPr>
          <p:grpSpPr>
            <a:xfrm>
              <a:off x="5229261" y="3851533"/>
              <a:ext cx="188153" cy="129335"/>
              <a:chOff x="3631008" y="4356631"/>
              <a:chExt cx="152929" cy="99432"/>
            </a:xfrm>
            <a:gradFill flip="none" rotWithShape="1">
              <a:gsLst>
                <a:gs pos="100000">
                  <a:srgbClr val="66C29F"/>
                </a:gs>
                <a:gs pos="0">
                  <a:srgbClr val="3C9673"/>
                </a:gs>
              </a:gsLst>
              <a:lin ang="0" scaled="1"/>
              <a:tileRect/>
            </a:gradFill>
          </p:grpSpPr>
          <p:sp>
            <p:nvSpPr>
              <p:cNvPr id="10650" name="Freeform: Shape 10649">
                <a:extLst>
                  <a:ext uri="{FF2B5EF4-FFF2-40B4-BE49-F238E27FC236}">
                    <a16:creationId xmlns:a16="http://schemas.microsoft.com/office/drawing/2014/main" id="{A2AEB01E-AC0C-F57C-2102-4C58517F66F3}"/>
                  </a:ext>
                </a:extLst>
              </p:cNvPr>
              <p:cNvSpPr/>
              <p:nvPr/>
            </p:nvSpPr>
            <p:spPr>
              <a:xfrm>
                <a:off x="3631008" y="4356631"/>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51" name="Graphic 642">
                <a:extLst>
                  <a:ext uri="{FF2B5EF4-FFF2-40B4-BE49-F238E27FC236}">
                    <a16:creationId xmlns:a16="http://schemas.microsoft.com/office/drawing/2014/main" id="{F764105D-E5AB-16FD-74AD-7E9E48B64A4C}"/>
                  </a:ext>
                </a:extLst>
              </p:cNvPr>
              <p:cNvGrpSpPr/>
              <p:nvPr/>
            </p:nvGrpSpPr>
            <p:grpSpPr>
              <a:xfrm>
                <a:off x="3631009" y="4356631"/>
                <a:ext cx="152929" cy="99427"/>
                <a:chOff x="3631009" y="4356631"/>
                <a:chExt cx="152929" cy="99427"/>
              </a:xfrm>
              <a:grpFill/>
            </p:grpSpPr>
            <p:sp>
              <p:nvSpPr>
                <p:cNvPr id="10652" name="Freeform: Shape 10651">
                  <a:extLst>
                    <a:ext uri="{FF2B5EF4-FFF2-40B4-BE49-F238E27FC236}">
                      <a16:creationId xmlns:a16="http://schemas.microsoft.com/office/drawing/2014/main" id="{B7783649-85E9-D8BF-820B-1D37498F4EC2}"/>
                    </a:ext>
                  </a:extLst>
                </p:cNvPr>
                <p:cNvSpPr/>
                <p:nvPr/>
              </p:nvSpPr>
              <p:spPr>
                <a:xfrm>
                  <a:off x="3631009" y="4356631"/>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53" name="Freeform: Shape 10652">
                  <a:extLst>
                    <a:ext uri="{FF2B5EF4-FFF2-40B4-BE49-F238E27FC236}">
                      <a16:creationId xmlns:a16="http://schemas.microsoft.com/office/drawing/2014/main" id="{F4205210-E4C0-4F71-A448-0EFF275DE33D}"/>
                    </a:ext>
                  </a:extLst>
                </p:cNvPr>
                <p:cNvSpPr/>
                <p:nvPr/>
              </p:nvSpPr>
              <p:spPr>
                <a:xfrm>
                  <a:off x="3631009" y="4356631"/>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11" name="Graphic 642">
              <a:extLst>
                <a:ext uri="{FF2B5EF4-FFF2-40B4-BE49-F238E27FC236}">
                  <a16:creationId xmlns:a16="http://schemas.microsoft.com/office/drawing/2014/main" id="{6D0A52F2-880E-9BF1-0D03-8462928F92AD}"/>
                </a:ext>
              </a:extLst>
            </p:cNvPr>
            <p:cNvGrpSpPr/>
            <p:nvPr/>
          </p:nvGrpSpPr>
          <p:grpSpPr>
            <a:xfrm>
              <a:off x="5375603" y="3937129"/>
              <a:ext cx="188153" cy="129357"/>
              <a:chOff x="3749954" y="4422437"/>
              <a:chExt cx="152929" cy="99449"/>
            </a:xfrm>
            <a:gradFill flip="none" rotWithShape="1">
              <a:gsLst>
                <a:gs pos="100000">
                  <a:srgbClr val="66C29F"/>
                </a:gs>
                <a:gs pos="0">
                  <a:srgbClr val="3C9673"/>
                </a:gs>
              </a:gsLst>
              <a:lin ang="0" scaled="1"/>
              <a:tileRect/>
            </a:gradFill>
          </p:grpSpPr>
          <p:sp>
            <p:nvSpPr>
              <p:cNvPr id="10646" name="Freeform: Shape 10645">
                <a:extLst>
                  <a:ext uri="{FF2B5EF4-FFF2-40B4-BE49-F238E27FC236}">
                    <a16:creationId xmlns:a16="http://schemas.microsoft.com/office/drawing/2014/main" id="{FCAE5802-45D3-8CF2-BB09-C1389C1807C2}"/>
                  </a:ext>
                </a:extLst>
              </p:cNvPr>
              <p:cNvSpPr/>
              <p:nvPr/>
            </p:nvSpPr>
            <p:spPr>
              <a:xfrm>
                <a:off x="3749954" y="4422437"/>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47" name="Graphic 642">
                <a:extLst>
                  <a:ext uri="{FF2B5EF4-FFF2-40B4-BE49-F238E27FC236}">
                    <a16:creationId xmlns:a16="http://schemas.microsoft.com/office/drawing/2014/main" id="{3EEDAA17-75E9-8664-78ED-74AE549C246C}"/>
                  </a:ext>
                </a:extLst>
              </p:cNvPr>
              <p:cNvGrpSpPr/>
              <p:nvPr/>
            </p:nvGrpSpPr>
            <p:grpSpPr>
              <a:xfrm>
                <a:off x="3749955" y="4422437"/>
                <a:ext cx="152929" cy="99449"/>
                <a:chOff x="3749955" y="4422437"/>
                <a:chExt cx="152929" cy="99449"/>
              </a:xfrm>
              <a:grpFill/>
            </p:grpSpPr>
            <p:sp>
              <p:nvSpPr>
                <p:cNvPr id="10648" name="Freeform: Shape 10647">
                  <a:extLst>
                    <a:ext uri="{FF2B5EF4-FFF2-40B4-BE49-F238E27FC236}">
                      <a16:creationId xmlns:a16="http://schemas.microsoft.com/office/drawing/2014/main" id="{12A86C34-6F27-E10C-E6B5-6B181C6D1273}"/>
                    </a:ext>
                  </a:extLst>
                </p:cNvPr>
                <p:cNvSpPr/>
                <p:nvPr/>
              </p:nvSpPr>
              <p:spPr>
                <a:xfrm>
                  <a:off x="3749955" y="4422437"/>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49" name="Freeform: Shape 10648">
                  <a:extLst>
                    <a:ext uri="{FF2B5EF4-FFF2-40B4-BE49-F238E27FC236}">
                      <a16:creationId xmlns:a16="http://schemas.microsoft.com/office/drawing/2014/main" id="{731C5A49-111C-BD82-B0FA-5D53D0144B84}"/>
                    </a:ext>
                  </a:extLst>
                </p:cNvPr>
                <p:cNvSpPr/>
                <p:nvPr/>
              </p:nvSpPr>
              <p:spPr>
                <a:xfrm>
                  <a:off x="3749955" y="4422437"/>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12" name="Graphic 642">
              <a:extLst>
                <a:ext uri="{FF2B5EF4-FFF2-40B4-BE49-F238E27FC236}">
                  <a16:creationId xmlns:a16="http://schemas.microsoft.com/office/drawing/2014/main" id="{243085A5-CA3D-3617-E9E5-5E0249B05C5B}"/>
                </a:ext>
              </a:extLst>
            </p:cNvPr>
            <p:cNvGrpSpPr/>
            <p:nvPr/>
          </p:nvGrpSpPr>
          <p:grpSpPr>
            <a:xfrm>
              <a:off x="5590012" y="3884806"/>
              <a:ext cx="188167" cy="129357"/>
              <a:chOff x="3924223" y="4382211"/>
              <a:chExt cx="152940" cy="99449"/>
            </a:xfrm>
            <a:gradFill flip="none" rotWithShape="1">
              <a:gsLst>
                <a:gs pos="100000">
                  <a:srgbClr val="66C29F"/>
                </a:gs>
                <a:gs pos="0">
                  <a:srgbClr val="3C9673"/>
                </a:gs>
              </a:gsLst>
              <a:lin ang="0" scaled="1"/>
              <a:tileRect/>
            </a:gradFill>
          </p:grpSpPr>
          <p:sp>
            <p:nvSpPr>
              <p:cNvPr id="10642" name="Freeform: Shape 10641">
                <a:extLst>
                  <a:ext uri="{FF2B5EF4-FFF2-40B4-BE49-F238E27FC236}">
                    <a16:creationId xmlns:a16="http://schemas.microsoft.com/office/drawing/2014/main" id="{EEA03206-801E-9661-A76D-A85D5148CF52}"/>
                  </a:ext>
                </a:extLst>
              </p:cNvPr>
              <p:cNvSpPr/>
              <p:nvPr/>
            </p:nvSpPr>
            <p:spPr>
              <a:xfrm>
                <a:off x="3924223" y="4382211"/>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43" name="Graphic 642">
                <a:extLst>
                  <a:ext uri="{FF2B5EF4-FFF2-40B4-BE49-F238E27FC236}">
                    <a16:creationId xmlns:a16="http://schemas.microsoft.com/office/drawing/2014/main" id="{299EF5FF-B1FF-7801-A8AD-25803DB4E92B}"/>
                  </a:ext>
                </a:extLst>
              </p:cNvPr>
              <p:cNvGrpSpPr/>
              <p:nvPr/>
            </p:nvGrpSpPr>
            <p:grpSpPr>
              <a:xfrm>
                <a:off x="3924224" y="4382211"/>
                <a:ext cx="152940" cy="99449"/>
                <a:chOff x="3924224" y="4382211"/>
                <a:chExt cx="152940" cy="99449"/>
              </a:xfrm>
              <a:grpFill/>
            </p:grpSpPr>
            <p:sp>
              <p:nvSpPr>
                <p:cNvPr id="10644" name="Freeform: Shape 10643">
                  <a:extLst>
                    <a:ext uri="{FF2B5EF4-FFF2-40B4-BE49-F238E27FC236}">
                      <a16:creationId xmlns:a16="http://schemas.microsoft.com/office/drawing/2014/main" id="{B18180FB-858B-D849-406D-39FBB03F36FB}"/>
                    </a:ext>
                  </a:extLst>
                </p:cNvPr>
                <p:cNvSpPr/>
                <p:nvPr/>
              </p:nvSpPr>
              <p:spPr>
                <a:xfrm>
                  <a:off x="3924224" y="4382211"/>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45" name="Freeform: Shape 10644">
                  <a:extLst>
                    <a:ext uri="{FF2B5EF4-FFF2-40B4-BE49-F238E27FC236}">
                      <a16:creationId xmlns:a16="http://schemas.microsoft.com/office/drawing/2014/main" id="{580A4C30-2797-4E51-2FDB-28DD5265A111}"/>
                    </a:ext>
                  </a:extLst>
                </p:cNvPr>
                <p:cNvSpPr/>
                <p:nvPr/>
              </p:nvSpPr>
              <p:spPr>
                <a:xfrm>
                  <a:off x="3924224" y="4382211"/>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613" name="Freeform: Shape 10612">
              <a:extLst>
                <a:ext uri="{FF2B5EF4-FFF2-40B4-BE49-F238E27FC236}">
                  <a16:creationId xmlns:a16="http://schemas.microsoft.com/office/drawing/2014/main" id="{955C6E5F-88AE-A164-E5B8-3835C683FD39}"/>
                </a:ext>
              </a:extLst>
            </p:cNvPr>
            <p:cNvSpPr/>
            <p:nvPr/>
          </p:nvSpPr>
          <p:spPr>
            <a:xfrm>
              <a:off x="5443963" y="3763872"/>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14" name="Freeform: Shape 10613">
              <a:extLst>
                <a:ext uri="{FF2B5EF4-FFF2-40B4-BE49-F238E27FC236}">
                  <a16:creationId xmlns:a16="http://schemas.microsoft.com/office/drawing/2014/main" id="{6940C5E9-82ED-74BA-9C99-FEB31AF7914E}"/>
                </a:ext>
              </a:extLst>
            </p:cNvPr>
            <p:cNvSpPr/>
            <p:nvPr/>
          </p:nvSpPr>
          <p:spPr>
            <a:xfrm>
              <a:off x="5229556" y="3816206"/>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15" name="Freeform: Shape 10614">
              <a:extLst>
                <a:ext uri="{FF2B5EF4-FFF2-40B4-BE49-F238E27FC236}">
                  <a16:creationId xmlns:a16="http://schemas.microsoft.com/office/drawing/2014/main" id="{CBC40D36-9E0B-05D8-76E4-4698E11291BB}"/>
                </a:ext>
              </a:extLst>
            </p:cNvPr>
            <p:cNvSpPr/>
            <p:nvPr/>
          </p:nvSpPr>
          <p:spPr>
            <a:xfrm>
              <a:off x="5590277" y="3849480"/>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16" name="Freeform: Shape 10615">
              <a:extLst>
                <a:ext uri="{FF2B5EF4-FFF2-40B4-BE49-F238E27FC236}">
                  <a16:creationId xmlns:a16="http://schemas.microsoft.com/office/drawing/2014/main" id="{9FEE360A-4E37-FF94-B8D5-0F93C5A95C28}"/>
                </a:ext>
              </a:extLst>
            </p:cNvPr>
            <p:cNvSpPr/>
            <p:nvPr/>
          </p:nvSpPr>
          <p:spPr>
            <a:xfrm>
              <a:off x="5375900" y="3901804"/>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17" name="Graphic 642">
              <a:extLst>
                <a:ext uri="{FF2B5EF4-FFF2-40B4-BE49-F238E27FC236}">
                  <a16:creationId xmlns:a16="http://schemas.microsoft.com/office/drawing/2014/main" id="{1B72C016-E137-1425-5E4D-E88813A700C5}"/>
                </a:ext>
              </a:extLst>
            </p:cNvPr>
            <p:cNvGrpSpPr/>
            <p:nvPr/>
          </p:nvGrpSpPr>
          <p:grpSpPr>
            <a:xfrm>
              <a:off x="4994094" y="3908931"/>
              <a:ext cx="188167" cy="129348"/>
              <a:chOff x="3439867" y="4400758"/>
              <a:chExt cx="152940" cy="99442"/>
            </a:xfrm>
            <a:gradFill flip="none" rotWithShape="1">
              <a:gsLst>
                <a:gs pos="100000">
                  <a:srgbClr val="66C29F"/>
                </a:gs>
                <a:gs pos="0">
                  <a:srgbClr val="3C9673"/>
                </a:gs>
              </a:gsLst>
              <a:lin ang="0" scaled="1"/>
              <a:tileRect/>
            </a:gradFill>
          </p:grpSpPr>
          <p:sp>
            <p:nvSpPr>
              <p:cNvPr id="10638" name="Freeform: Shape 10637">
                <a:extLst>
                  <a:ext uri="{FF2B5EF4-FFF2-40B4-BE49-F238E27FC236}">
                    <a16:creationId xmlns:a16="http://schemas.microsoft.com/office/drawing/2014/main" id="{88B7BBE2-0F19-0619-C1A3-DF4391363B28}"/>
                  </a:ext>
                </a:extLst>
              </p:cNvPr>
              <p:cNvSpPr/>
              <p:nvPr/>
            </p:nvSpPr>
            <p:spPr>
              <a:xfrm>
                <a:off x="3439867" y="4400758"/>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39" name="Graphic 642">
                <a:extLst>
                  <a:ext uri="{FF2B5EF4-FFF2-40B4-BE49-F238E27FC236}">
                    <a16:creationId xmlns:a16="http://schemas.microsoft.com/office/drawing/2014/main" id="{A1B9EF62-782B-BA82-25B5-2664DF96F72F}"/>
                  </a:ext>
                </a:extLst>
              </p:cNvPr>
              <p:cNvGrpSpPr/>
              <p:nvPr/>
            </p:nvGrpSpPr>
            <p:grpSpPr>
              <a:xfrm>
                <a:off x="3439867" y="4400758"/>
                <a:ext cx="152940" cy="99438"/>
                <a:chOff x="3439867" y="4400758"/>
                <a:chExt cx="152940" cy="99438"/>
              </a:xfrm>
              <a:grpFill/>
            </p:grpSpPr>
            <p:sp>
              <p:nvSpPr>
                <p:cNvPr id="10640" name="Freeform: Shape 10639">
                  <a:extLst>
                    <a:ext uri="{FF2B5EF4-FFF2-40B4-BE49-F238E27FC236}">
                      <a16:creationId xmlns:a16="http://schemas.microsoft.com/office/drawing/2014/main" id="{6DD30CE1-488D-125E-3C5F-3D7BA80451C2}"/>
                    </a:ext>
                  </a:extLst>
                </p:cNvPr>
                <p:cNvSpPr/>
                <p:nvPr/>
              </p:nvSpPr>
              <p:spPr>
                <a:xfrm>
                  <a:off x="3439867" y="4400758"/>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41" name="Freeform: Shape 10640">
                  <a:extLst>
                    <a:ext uri="{FF2B5EF4-FFF2-40B4-BE49-F238E27FC236}">
                      <a16:creationId xmlns:a16="http://schemas.microsoft.com/office/drawing/2014/main" id="{470D3BEF-680D-0F6B-0856-B4BF505F1BBA}"/>
                    </a:ext>
                  </a:extLst>
                </p:cNvPr>
                <p:cNvSpPr/>
                <p:nvPr/>
              </p:nvSpPr>
              <p:spPr>
                <a:xfrm>
                  <a:off x="3439867" y="4400758"/>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18" name="Graphic 642">
              <a:extLst>
                <a:ext uri="{FF2B5EF4-FFF2-40B4-BE49-F238E27FC236}">
                  <a16:creationId xmlns:a16="http://schemas.microsoft.com/office/drawing/2014/main" id="{B4F4341E-2BEA-57F5-F6AF-F4034FB872DB}"/>
                </a:ext>
              </a:extLst>
            </p:cNvPr>
            <p:cNvGrpSpPr/>
            <p:nvPr/>
          </p:nvGrpSpPr>
          <p:grpSpPr>
            <a:xfrm>
              <a:off x="4779700" y="3961253"/>
              <a:ext cx="188153" cy="129346"/>
              <a:chOff x="3265609" y="4440983"/>
              <a:chExt cx="152929" cy="99440"/>
            </a:xfrm>
            <a:gradFill flip="none" rotWithShape="1">
              <a:gsLst>
                <a:gs pos="100000">
                  <a:srgbClr val="66C29F"/>
                </a:gs>
                <a:gs pos="0">
                  <a:srgbClr val="3C9673"/>
                </a:gs>
              </a:gsLst>
              <a:lin ang="0" scaled="1"/>
              <a:tileRect/>
            </a:gradFill>
          </p:grpSpPr>
          <p:sp>
            <p:nvSpPr>
              <p:cNvPr id="10634" name="Freeform: Shape 10633">
                <a:extLst>
                  <a:ext uri="{FF2B5EF4-FFF2-40B4-BE49-F238E27FC236}">
                    <a16:creationId xmlns:a16="http://schemas.microsoft.com/office/drawing/2014/main" id="{414FC793-C360-62BD-4A41-DBAB9D22B8C1}"/>
                  </a:ext>
                </a:extLst>
              </p:cNvPr>
              <p:cNvSpPr/>
              <p:nvPr/>
            </p:nvSpPr>
            <p:spPr>
              <a:xfrm>
                <a:off x="3265609" y="4440983"/>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35" name="Graphic 642">
                <a:extLst>
                  <a:ext uri="{FF2B5EF4-FFF2-40B4-BE49-F238E27FC236}">
                    <a16:creationId xmlns:a16="http://schemas.microsoft.com/office/drawing/2014/main" id="{3A0F4B26-9FF5-6C2C-85A7-18189617840D}"/>
                  </a:ext>
                </a:extLst>
              </p:cNvPr>
              <p:cNvGrpSpPr/>
              <p:nvPr/>
            </p:nvGrpSpPr>
            <p:grpSpPr>
              <a:xfrm>
                <a:off x="3265609" y="4440983"/>
                <a:ext cx="152929" cy="99438"/>
                <a:chOff x="3265609" y="4440983"/>
                <a:chExt cx="152929" cy="99438"/>
              </a:xfrm>
              <a:grpFill/>
            </p:grpSpPr>
            <p:sp>
              <p:nvSpPr>
                <p:cNvPr id="10636" name="Freeform: Shape 10635">
                  <a:extLst>
                    <a:ext uri="{FF2B5EF4-FFF2-40B4-BE49-F238E27FC236}">
                      <a16:creationId xmlns:a16="http://schemas.microsoft.com/office/drawing/2014/main" id="{4BE45B80-8512-6959-1FF2-16C106925318}"/>
                    </a:ext>
                  </a:extLst>
                </p:cNvPr>
                <p:cNvSpPr/>
                <p:nvPr/>
              </p:nvSpPr>
              <p:spPr>
                <a:xfrm>
                  <a:off x="3265609" y="4440983"/>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37" name="Freeform: Shape 10636">
                  <a:extLst>
                    <a:ext uri="{FF2B5EF4-FFF2-40B4-BE49-F238E27FC236}">
                      <a16:creationId xmlns:a16="http://schemas.microsoft.com/office/drawing/2014/main" id="{5BC32BDA-5AC8-8596-4ED4-7D97EF21BDD7}"/>
                    </a:ext>
                  </a:extLst>
                </p:cNvPr>
                <p:cNvSpPr/>
                <p:nvPr/>
              </p:nvSpPr>
              <p:spPr>
                <a:xfrm>
                  <a:off x="3265609" y="4440983"/>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19" name="Graphic 642">
              <a:extLst>
                <a:ext uri="{FF2B5EF4-FFF2-40B4-BE49-F238E27FC236}">
                  <a16:creationId xmlns:a16="http://schemas.microsoft.com/office/drawing/2014/main" id="{C159BEE3-EA04-6AAD-3B91-62D718C0B208}"/>
                </a:ext>
              </a:extLst>
            </p:cNvPr>
            <p:cNvGrpSpPr/>
            <p:nvPr/>
          </p:nvGrpSpPr>
          <p:grpSpPr>
            <a:xfrm>
              <a:off x="4926042" y="4046849"/>
              <a:ext cx="188180" cy="129373"/>
              <a:chOff x="3384555" y="4506789"/>
              <a:chExt cx="152951" cy="99461"/>
            </a:xfrm>
            <a:gradFill flip="none" rotWithShape="1">
              <a:gsLst>
                <a:gs pos="100000">
                  <a:srgbClr val="66C29F"/>
                </a:gs>
                <a:gs pos="0">
                  <a:srgbClr val="3C9673"/>
                </a:gs>
              </a:gsLst>
              <a:lin ang="0" scaled="1"/>
              <a:tileRect/>
            </a:gradFill>
          </p:grpSpPr>
          <p:sp>
            <p:nvSpPr>
              <p:cNvPr id="10630" name="Freeform: Shape 10629">
                <a:extLst>
                  <a:ext uri="{FF2B5EF4-FFF2-40B4-BE49-F238E27FC236}">
                    <a16:creationId xmlns:a16="http://schemas.microsoft.com/office/drawing/2014/main" id="{7F0DC568-183B-AF39-52FD-A7F2B33CF0EF}"/>
                  </a:ext>
                </a:extLst>
              </p:cNvPr>
              <p:cNvSpPr/>
              <p:nvPr/>
            </p:nvSpPr>
            <p:spPr>
              <a:xfrm>
                <a:off x="3384555" y="4506789"/>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31" name="Graphic 642">
                <a:extLst>
                  <a:ext uri="{FF2B5EF4-FFF2-40B4-BE49-F238E27FC236}">
                    <a16:creationId xmlns:a16="http://schemas.microsoft.com/office/drawing/2014/main" id="{B819E62C-1DB9-EDE9-133A-52D4EDABB7B8}"/>
                  </a:ext>
                </a:extLst>
              </p:cNvPr>
              <p:cNvGrpSpPr/>
              <p:nvPr/>
            </p:nvGrpSpPr>
            <p:grpSpPr>
              <a:xfrm>
                <a:off x="3384555" y="4506789"/>
                <a:ext cx="152951" cy="99461"/>
                <a:chOff x="3384555" y="4506789"/>
                <a:chExt cx="152951" cy="99461"/>
              </a:xfrm>
              <a:grpFill/>
            </p:grpSpPr>
            <p:sp>
              <p:nvSpPr>
                <p:cNvPr id="10632" name="Freeform: Shape 10631">
                  <a:extLst>
                    <a:ext uri="{FF2B5EF4-FFF2-40B4-BE49-F238E27FC236}">
                      <a16:creationId xmlns:a16="http://schemas.microsoft.com/office/drawing/2014/main" id="{41ED514F-3ADF-A4DB-10FB-0FB3BF285BD0}"/>
                    </a:ext>
                  </a:extLst>
                </p:cNvPr>
                <p:cNvSpPr/>
                <p:nvPr/>
              </p:nvSpPr>
              <p:spPr>
                <a:xfrm>
                  <a:off x="3384555" y="4506789"/>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33" name="Freeform: Shape 10632">
                  <a:extLst>
                    <a:ext uri="{FF2B5EF4-FFF2-40B4-BE49-F238E27FC236}">
                      <a16:creationId xmlns:a16="http://schemas.microsoft.com/office/drawing/2014/main" id="{04F06C38-0B56-53C2-AF26-9DB9DAF38657}"/>
                    </a:ext>
                  </a:extLst>
                </p:cNvPr>
                <p:cNvSpPr/>
                <p:nvPr/>
              </p:nvSpPr>
              <p:spPr>
                <a:xfrm>
                  <a:off x="3384555" y="4506789"/>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20" name="Graphic 642">
              <a:extLst>
                <a:ext uri="{FF2B5EF4-FFF2-40B4-BE49-F238E27FC236}">
                  <a16:creationId xmlns:a16="http://schemas.microsoft.com/office/drawing/2014/main" id="{CD9543F2-D5E8-7E42-773D-C023969E383A}"/>
                </a:ext>
              </a:extLst>
            </p:cNvPr>
            <p:cNvGrpSpPr/>
            <p:nvPr/>
          </p:nvGrpSpPr>
          <p:grpSpPr>
            <a:xfrm>
              <a:off x="5140451" y="3994541"/>
              <a:ext cx="188167" cy="129343"/>
              <a:chOff x="3558824" y="4466575"/>
              <a:chExt cx="152940" cy="99438"/>
            </a:xfrm>
            <a:gradFill flip="none" rotWithShape="1">
              <a:gsLst>
                <a:gs pos="100000">
                  <a:srgbClr val="66C29F"/>
                </a:gs>
                <a:gs pos="0">
                  <a:srgbClr val="3C9673"/>
                </a:gs>
              </a:gsLst>
              <a:lin ang="0" scaled="1"/>
              <a:tileRect/>
            </a:gradFill>
          </p:grpSpPr>
          <p:sp>
            <p:nvSpPr>
              <p:cNvPr id="10626" name="Freeform: Shape 10625">
                <a:extLst>
                  <a:ext uri="{FF2B5EF4-FFF2-40B4-BE49-F238E27FC236}">
                    <a16:creationId xmlns:a16="http://schemas.microsoft.com/office/drawing/2014/main" id="{832F385E-ABAF-E4EA-6C45-837380A1F074}"/>
                  </a:ext>
                </a:extLst>
              </p:cNvPr>
              <p:cNvSpPr/>
              <p:nvPr/>
            </p:nvSpPr>
            <p:spPr>
              <a:xfrm>
                <a:off x="3558824" y="4466575"/>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27" name="Graphic 642">
                <a:extLst>
                  <a:ext uri="{FF2B5EF4-FFF2-40B4-BE49-F238E27FC236}">
                    <a16:creationId xmlns:a16="http://schemas.microsoft.com/office/drawing/2014/main" id="{285C9DF2-2281-9ED7-F6AD-925992B962ED}"/>
                  </a:ext>
                </a:extLst>
              </p:cNvPr>
              <p:cNvGrpSpPr/>
              <p:nvPr/>
            </p:nvGrpSpPr>
            <p:grpSpPr>
              <a:xfrm>
                <a:off x="3558824" y="4466575"/>
                <a:ext cx="152940" cy="99438"/>
                <a:chOff x="3558824" y="4466575"/>
                <a:chExt cx="152940" cy="99438"/>
              </a:xfrm>
              <a:grpFill/>
            </p:grpSpPr>
            <p:sp>
              <p:nvSpPr>
                <p:cNvPr id="10628" name="Freeform: Shape 10627">
                  <a:extLst>
                    <a:ext uri="{FF2B5EF4-FFF2-40B4-BE49-F238E27FC236}">
                      <a16:creationId xmlns:a16="http://schemas.microsoft.com/office/drawing/2014/main" id="{2609096C-2BBF-0353-06AB-01C1139E4335}"/>
                    </a:ext>
                  </a:extLst>
                </p:cNvPr>
                <p:cNvSpPr/>
                <p:nvPr/>
              </p:nvSpPr>
              <p:spPr>
                <a:xfrm>
                  <a:off x="3558824" y="4466575"/>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29" name="Freeform: Shape 10628">
                  <a:extLst>
                    <a:ext uri="{FF2B5EF4-FFF2-40B4-BE49-F238E27FC236}">
                      <a16:creationId xmlns:a16="http://schemas.microsoft.com/office/drawing/2014/main" id="{E5437764-7B16-8FA5-8D4C-2AC87339442C}"/>
                    </a:ext>
                  </a:extLst>
                </p:cNvPr>
                <p:cNvSpPr/>
                <p:nvPr/>
              </p:nvSpPr>
              <p:spPr>
                <a:xfrm>
                  <a:off x="3558824" y="4466575"/>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621" name="Freeform: Shape 10620">
              <a:extLst>
                <a:ext uri="{FF2B5EF4-FFF2-40B4-BE49-F238E27FC236}">
                  <a16:creationId xmlns:a16="http://schemas.microsoft.com/office/drawing/2014/main" id="{7F523FA1-A461-C46E-0115-962A3F6B608A}"/>
                </a:ext>
              </a:extLst>
            </p:cNvPr>
            <p:cNvSpPr/>
            <p:nvPr/>
          </p:nvSpPr>
          <p:spPr>
            <a:xfrm>
              <a:off x="4994413" y="3873600"/>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22" name="Freeform: Shape 10621">
              <a:extLst>
                <a:ext uri="{FF2B5EF4-FFF2-40B4-BE49-F238E27FC236}">
                  <a16:creationId xmlns:a16="http://schemas.microsoft.com/office/drawing/2014/main" id="{5001F908-1AA0-3F27-B937-D3B8863B4094}"/>
                </a:ext>
              </a:extLst>
            </p:cNvPr>
            <p:cNvSpPr/>
            <p:nvPr/>
          </p:nvSpPr>
          <p:spPr>
            <a:xfrm>
              <a:off x="4780013" y="3925926"/>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23" name="Freeform: Shape 10622">
              <a:extLst>
                <a:ext uri="{FF2B5EF4-FFF2-40B4-BE49-F238E27FC236}">
                  <a16:creationId xmlns:a16="http://schemas.microsoft.com/office/drawing/2014/main" id="{3A3D6026-5EE2-ECED-5EF3-EDE9F3D32B86}"/>
                </a:ext>
              </a:extLst>
            </p:cNvPr>
            <p:cNvSpPr/>
            <p:nvPr/>
          </p:nvSpPr>
          <p:spPr>
            <a:xfrm>
              <a:off x="5140747" y="3959209"/>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24" name="Freeform: Shape 10623">
              <a:extLst>
                <a:ext uri="{FF2B5EF4-FFF2-40B4-BE49-F238E27FC236}">
                  <a16:creationId xmlns:a16="http://schemas.microsoft.com/office/drawing/2014/main" id="{18F4FAAB-EF48-181A-0E4D-6BA54EC67293}"/>
                </a:ext>
              </a:extLst>
            </p:cNvPr>
            <p:cNvSpPr/>
            <p:nvPr/>
          </p:nvSpPr>
          <p:spPr>
            <a:xfrm>
              <a:off x="4926348" y="4011533"/>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25" name="RectangleLegend2">
              <a:extLst>
                <a:ext uri="{FF2B5EF4-FFF2-40B4-BE49-F238E27FC236}">
                  <a16:creationId xmlns:a16="http://schemas.microsoft.com/office/drawing/2014/main" id="{7A595B46-979C-C034-0BCC-7CF8A7E47242}"/>
                </a:ext>
              </a:extLst>
            </p:cNvPr>
            <p:cNvSpPr>
              <a:spLocks/>
            </p:cNvSpPr>
            <p:nvPr/>
          </p:nvSpPr>
          <p:spPr>
            <a:xfrm>
              <a:off x="4717906" y="4138996"/>
              <a:ext cx="1402645" cy="225783"/>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Xg production </a:t>
              </a:r>
              <a:r>
                <a:rPr kumimoji="0" lang="en-US" sz="800" b="0" i="0" u="none" strike="noStrike" kern="1200" cap="none" spc="0" normalizeH="0" baseline="0" noProof="0" dirty="0" err="1">
                  <a:ln>
                    <a:noFill/>
                  </a:ln>
                  <a:solidFill>
                    <a:srgbClr val="FFFFFF"/>
                  </a:solidFill>
                  <a:effectLst/>
                  <a:uLnTx/>
                  <a:uFillTx/>
                  <a:latin typeface="Arial" panose="020B0604020202020204"/>
                  <a:ea typeface="+mn-ea"/>
                  <a:cs typeface="+mn-cs"/>
                </a:rPr>
                <a:t>scal</a:t>
              </a: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e</a:t>
              </a:r>
              <a:b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with filling</a:t>
              </a:r>
            </a:p>
          </p:txBody>
        </p:sp>
      </p:grpSp>
      <p:grpSp>
        <p:nvGrpSpPr>
          <p:cNvPr id="10659" name="Graphic 455">
            <a:extLst>
              <a:ext uri="{FF2B5EF4-FFF2-40B4-BE49-F238E27FC236}">
                <a16:creationId xmlns:a16="http://schemas.microsoft.com/office/drawing/2014/main" id="{64AF18C0-F5AF-21CA-625C-8E68F4389D83}"/>
              </a:ext>
            </a:extLst>
          </p:cNvPr>
          <p:cNvGrpSpPr/>
          <p:nvPr/>
        </p:nvGrpSpPr>
        <p:grpSpPr>
          <a:xfrm>
            <a:off x="5910865" y="3179286"/>
            <a:ext cx="205200" cy="141055"/>
            <a:chOff x="2595171" y="4564360"/>
            <a:chExt cx="152940" cy="99440"/>
          </a:xfrm>
          <a:gradFill flip="none" rotWithShape="1">
            <a:gsLst>
              <a:gs pos="100000">
                <a:srgbClr val="008896"/>
              </a:gs>
              <a:gs pos="0">
                <a:srgbClr val="005A64"/>
              </a:gs>
            </a:gsLst>
            <a:lin ang="0" scaled="1"/>
            <a:tileRect/>
          </a:gradFill>
        </p:grpSpPr>
        <p:sp>
          <p:nvSpPr>
            <p:cNvPr id="10746" name="Freeform: Shape 10745">
              <a:extLst>
                <a:ext uri="{FF2B5EF4-FFF2-40B4-BE49-F238E27FC236}">
                  <a16:creationId xmlns:a16="http://schemas.microsoft.com/office/drawing/2014/main" id="{2840DF5C-CE0C-0707-8B16-C6A8BA6D05AC}"/>
                </a:ext>
              </a:extLst>
            </p:cNvPr>
            <p:cNvSpPr/>
            <p:nvPr/>
          </p:nvSpPr>
          <p:spPr>
            <a:xfrm>
              <a:off x="2595171" y="456436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47" name="Graphic 455">
              <a:extLst>
                <a:ext uri="{FF2B5EF4-FFF2-40B4-BE49-F238E27FC236}">
                  <a16:creationId xmlns:a16="http://schemas.microsoft.com/office/drawing/2014/main" id="{081AB5CD-8538-DDEF-DE00-B1E34227EB92}"/>
                </a:ext>
              </a:extLst>
            </p:cNvPr>
            <p:cNvGrpSpPr/>
            <p:nvPr/>
          </p:nvGrpSpPr>
          <p:grpSpPr>
            <a:xfrm>
              <a:off x="2595171" y="4564360"/>
              <a:ext cx="152940" cy="99438"/>
              <a:chOff x="2595171" y="4564360"/>
              <a:chExt cx="152940" cy="99438"/>
            </a:xfrm>
            <a:grpFill/>
          </p:grpSpPr>
          <p:sp>
            <p:nvSpPr>
              <p:cNvPr id="10748" name="Freeform: Shape 10747">
                <a:extLst>
                  <a:ext uri="{FF2B5EF4-FFF2-40B4-BE49-F238E27FC236}">
                    <a16:creationId xmlns:a16="http://schemas.microsoft.com/office/drawing/2014/main" id="{A111E564-6A29-CF19-1613-E2E2BB0B73DA}"/>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49" name="Freeform: Shape 10748">
                <a:extLst>
                  <a:ext uri="{FF2B5EF4-FFF2-40B4-BE49-F238E27FC236}">
                    <a16:creationId xmlns:a16="http://schemas.microsoft.com/office/drawing/2014/main" id="{7AE2E5DD-F682-0EC4-7CAB-567E295A2D3D}"/>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60" name="Graphic 455">
            <a:extLst>
              <a:ext uri="{FF2B5EF4-FFF2-40B4-BE49-F238E27FC236}">
                <a16:creationId xmlns:a16="http://schemas.microsoft.com/office/drawing/2014/main" id="{4294CEBE-C38D-CCDD-31FC-E543619E3403}"/>
              </a:ext>
            </a:extLst>
          </p:cNvPr>
          <p:cNvGrpSpPr/>
          <p:nvPr/>
        </p:nvGrpSpPr>
        <p:grpSpPr>
          <a:xfrm>
            <a:off x="5677093" y="3236362"/>
            <a:ext cx="205185" cy="141043"/>
            <a:chOff x="2420936" y="4604597"/>
            <a:chExt cx="152929" cy="99432"/>
          </a:xfrm>
          <a:gradFill flip="none" rotWithShape="1">
            <a:gsLst>
              <a:gs pos="100000">
                <a:srgbClr val="008896"/>
              </a:gs>
              <a:gs pos="0">
                <a:srgbClr val="005A64"/>
              </a:gs>
            </a:gsLst>
            <a:lin ang="0" scaled="1"/>
            <a:tileRect/>
          </a:gradFill>
        </p:grpSpPr>
        <p:sp>
          <p:nvSpPr>
            <p:cNvPr id="10742" name="Freeform: Shape 10741">
              <a:extLst>
                <a:ext uri="{FF2B5EF4-FFF2-40B4-BE49-F238E27FC236}">
                  <a16:creationId xmlns:a16="http://schemas.microsoft.com/office/drawing/2014/main" id="{8D7CC8E0-C2E3-5FE4-EEE2-6B79AE97F231}"/>
                </a:ext>
              </a:extLst>
            </p:cNvPr>
            <p:cNvSpPr/>
            <p:nvPr/>
          </p:nvSpPr>
          <p:spPr>
            <a:xfrm>
              <a:off x="2420936" y="460459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43" name="Graphic 455">
              <a:extLst>
                <a:ext uri="{FF2B5EF4-FFF2-40B4-BE49-F238E27FC236}">
                  <a16:creationId xmlns:a16="http://schemas.microsoft.com/office/drawing/2014/main" id="{D374333F-A2CE-1A18-177E-C4F5E9521814}"/>
                </a:ext>
              </a:extLst>
            </p:cNvPr>
            <p:cNvGrpSpPr/>
            <p:nvPr/>
          </p:nvGrpSpPr>
          <p:grpSpPr>
            <a:xfrm>
              <a:off x="2420937" y="4604597"/>
              <a:ext cx="152929" cy="99427"/>
              <a:chOff x="2420937" y="4604597"/>
              <a:chExt cx="152929" cy="99427"/>
            </a:xfrm>
            <a:grpFill/>
          </p:grpSpPr>
          <p:sp>
            <p:nvSpPr>
              <p:cNvPr id="10744" name="Freeform: Shape 10743">
                <a:extLst>
                  <a:ext uri="{FF2B5EF4-FFF2-40B4-BE49-F238E27FC236}">
                    <a16:creationId xmlns:a16="http://schemas.microsoft.com/office/drawing/2014/main" id="{51EE294F-F570-8EAB-22D1-97BE73D296FF}"/>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45" name="Freeform: Shape 10744">
                <a:extLst>
                  <a:ext uri="{FF2B5EF4-FFF2-40B4-BE49-F238E27FC236}">
                    <a16:creationId xmlns:a16="http://schemas.microsoft.com/office/drawing/2014/main" id="{A25D4EF3-AAE6-7662-3833-0D204B5055FC}"/>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61" name="Graphic 455">
            <a:extLst>
              <a:ext uri="{FF2B5EF4-FFF2-40B4-BE49-F238E27FC236}">
                <a16:creationId xmlns:a16="http://schemas.microsoft.com/office/drawing/2014/main" id="{BC201803-0201-9197-0BF2-9C9E574172B1}"/>
              </a:ext>
            </a:extLst>
          </p:cNvPr>
          <p:cNvGrpSpPr/>
          <p:nvPr/>
        </p:nvGrpSpPr>
        <p:grpSpPr>
          <a:xfrm>
            <a:off x="5836683" y="3329708"/>
            <a:ext cx="205185" cy="141067"/>
            <a:chOff x="2539882" y="4670403"/>
            <a:chExt cx="152929" cy="99449"/>
          </a:xfrm>
          <a:gradFill flip="none" rotWithShape="1">
            <a:gsLst>
              <a:gs pos="100000">
                <a:srgbClr val="008896"/>
              </a:gs>
              <a:gs pos="0">
                <a:srgbClr val="005A64"/>
              </a:gs>
            </a:gsLst>
            <a:lin ang="0" scaled="1"/>
            <a:tileRect/>
          </a:gradFill>
        </p:grpSpPr>
        <p:sp>
          <p:nvSpPr>
            <p:cNvPr id="10738" name="Freeform: Shape 10737">
              <a:extLst>
                <a:ext uri="{FF2B5EF4-FFF2-40B4-BE49-F238E27FC236}">
                  <a16:creationId xmlns:a16="http://schemas.microsoft.com/office/drawing/2014/main" id="{05B705BB-E872-223B-54A6-5E623105C1D7}"/>
                </a:ext>
              </a:extLst>
            </p:cNvPr>
            <p:cNvSpPr/>
            <p:nvPr/>
          </p:nvSpPr>
          <p:spPr>
            <a:xfrm>
              <a:off x="2539882" y="467040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39" name="Graphic 455">
              <a:extLst>
                <a:ext uri="{FF2B5EF4-FFF2-40B4-BE49-F238E27FC236}">
                  <a16:creationId xmlns:a16="http://schemas.microsoft.com/office/drawing/2014/main" id="{EDA6F471-F777-E709-EAE7-6DFA54D4DB20}"/>
                </a:ext>
              </a:extLst>
            </p:cNvPr>
            <p:cNvGrpSpPr/>
            <p:nvPr/>
          </p:nvGrpSpPr>
          <p:grpSpPr>
            <a:xfrm>
              <a:off x="2539883" y="4670403"/>
              <a:ext cx="152929" cy="99449"/>
              <a:chOff x="2539883" y="4670403"/>
              <a:chExt cx="152929" cy="99449"/>
            </a:xfrm>
            <a:grpFill/>
          </p:grpSpPr>
          <p:sp>
            <p:nvSpPr>
              <p:cNvPr id="10740" name="Freeform: Shape 10739">
                <a:extLst>
                  <a:ext uri="{FF2B5EF4-FFF2-40B4-BE49-F238E27FC236}">
                    <a16:creationId xmlns:a16="http://schemas.microsoft.com/office/drawing/2014/main" id="{1709056B-9A42-C10F-9CB4-7B550946CB08}"/>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41" name="Freeform: Shape 10740">
                <a:extLst>
                  <a:ext uri="{FF2B5EF4-FFF2-40B4-BE49-F238E27FC236}">
                    <a16:creationId xmlns:a16="http://schemas.microsoft.com/office/drawing/2014/main" id="{82CBFF70-6919-97D6-E0F4-93DD89577B1B}"/>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62" name="Graphic 455">
            <a:extLst>
              <a:ext uri="{FF2B5EF4-FFF2-40B4-BE49-F238E27FC236}">
                <a16:creationId xmlns:a16="http://schemas.microsoft.com/office/drawing/2014/main" id="{466B4F30-8548-5523-A565-A29E2FF9D3BC}"/>
              </a:ext>
            </a:extLst>
          </p:cNvPr>
          <p:cNvGrpSpPr/>
          <p:nvPr/>
        </p:nvGrpSpPr>
        <p:grpSpPr>
          <a:xfrm>
            <a:off x="6070501" y="3272647"/>
            <a:ext cx="205200" cy="141067"/>
            <a:chOff x="2714151" y="4630177"/>
            <a:chExt cx="152940" cy="99449"/>
          </a:xfrm>
          <a:gradFill flip="none" rotWithShape="1">
            <a:gsLst>
              <a:gs pos="100000">
                <a:srgbClr val="008896"/>
              </a:gs>
              <a:gs pos="0">
                <a:srgbClr val="005A64"/>
              </a:gs>
            </a:gsLst>
            <a:lin ang="0" scaled="1"/>
            <a:tileRect/>
          </a:gradFill>
        </p:grpSpPr>
        <p:sp>
          <p:nvSpPr>
            <p:cNvPr id="10734" name="Freeform: Shape 10733">
              <a:extLst>
                <a:ext uri="{FF2B5EF4-FFF2-40B4-BE49-F238E27FC236}">
                  <a16:creationId xmlns:a16="http://schemas.microsoft.com/office/drawing/2014/main" id="{27383531-1226-D20C-1CC0-0374BB484CE3}"/>
                </a:ext>
              </a:extLst>
            </p:cNvPr>
            <p:cNvSpPr/>
            <p:nvPr/>
          </p:nvSpPr>
          <p:spPr>
            <a:xfrm>
              <a:off x="2714151" y="463017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35" name="Graphic 455">
              <a:extLst>
                <a:ext uri="{FF2B5EF4-FFF2-40B4-BE49-F238E27FC236}">
                  <a16:creationId xmlns:a16="http://schemas.microsoft.com/office/drawing/2014/main" id="{0CB911B8-C17C-CD9B-7581-B0F8FDBEDDA3}"/>
                </a:ext>
              </a:extLst>
            </p:cNvPr>
            <p:cNvGrpSpPr/>
            <p:nvPr/>
          </p:nvGrpSpPr>
          <p:grpSpPr>
            <a:xfrm>
              <a:off x="2714152" y="4630177"/>
              <a:ext cx="152940" cy="99449"/>
              <a:chOff x="2714152" y="4630177"/>
              <a:chExt cx="152940" cy="99449"/>
            </a:xfrm>
            <a:grpFill/>
          </p:grpSpPr>
          <p:sp>
            <p:nvSpPr>
              <p:cNvPr id="10736" name="Freeform: Shape 10735">
                <a:extLst>
                  <a:ext uri="{FF2B5EF4-FFF2-40B4-BE49-F238E27FC236}">
                    <a16:creationId xmlns:a16="http://schemas.microsoft.com/office/drawing/2014/main" id="{D70BE9FC-9AA6-0CE1-2518-DA6514601F24}"/>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37" name="Freeform: Shape 10736">
                <a:extLst>
                  <a:ext uri="{FF2B5EF4-FFF2-40B4-BE49-F238E27FC236}">
                    <a16:creationId xmlns:a16="http://schemas.microsoft.com/office/drawing/2014/main" id="{C6A7957F-F5D5-2AAF-BAC8-CF9A0D54501E}"/>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663" name="Freeform: Shape 10662">
            <a:extLst>
              <a:ext uri="{FF2B5EF4-FFF2-40B4-BE49-F238E27FC236}">
                <a16:creationId xmlns:a16="http://schemas.microsoft.com/office/drawing/2014/main" id="{44B7F042-B5F8-42CB-C3E2-4CF18A139409}"/>
              </a:ext>
            </a:extLst>
          </p:cNvPr>
          <p:cNvSpPr/>
          <p:nvPr/>
        </p:nvSpPr>
        <p:spPr>
          <a:xfrm>
            <a:off x="5911231" y="3140766"/>
            <a:ext cx="204849" cy="77712"/>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64" name="Freeform: Shape 10663">
            <a:extLst>
              <a:ext uri="{FF2B5EF4-FFF2-40B4-BE49-F238E27FC236}">
                <a16:creationId xmlns:a16="http://schemas.microsoft.com/office/drawing/2014/main" id="{4DE69237-F068-09C5-86D2-E7E4471CA17F}"/>
              </a:ext>
            </a:extLst>
          </p:cNvPr>
          <p:cNvSpPr/>
          <p:nvPr/>
        </p:nvSpPr>
        <p:spPr>
          <a:xfrm>
            <a:off x="5677415" y="3197837"/>
            <a:ext cx="204853" cy="77712"/>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65" name="Freeform: Shape 10664">
            <a:extLst>
              <a:ext uri="{FF2B5EF4-FFF2-40B4-BE49-F238E27FC236}">
                <a16:creationId xmlns:a16="http://schemas.microsoft.com/office/drawing/2014/main" id="{1C6762D2-8930-0DC2-7245-10B9EC060DD8}"/>
              </a:ext>
            </a:extLst>
          </p:cNvPr>
          <p:cNvSpPr/>
          <p:nvPr/>
        </p:nvSpPr>
        <p:spPr>
          <a:xfrm>
            <a:off x="6070790" y="3234125"/>
            <a:ext cx="204897" cy="77720"/>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66" name="Freeform: Shape 10665">
            <a:extLst>
              <a:ext uri="{FF2B5EF4-FFF2-40B4-BE49-F238E27FC236}">
                <a16:creationId xmlns:a16="http://schemas.microsoft.com/office/drawing/2014/main" id="{6C75D83A-8388-B230-A019-39CAEB04C647}"/>
              </a:ext>
            </a:extLst>
          </p:cNvPr>
          <p:cNvSpPr/>
          <p:nvPr/>
        </p:nvSpPr>
        <p:spPr>
          <a:xfrm>
            <a:off x="5837007" y="3291184"/>
            <a:ext cx="204870" cy="77722"/>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67" name="Graphic 455">
            <a:extLst>
              <a:ext uri="{FF2B5EF4-FFF2-40B4-BE49-F238E27FC236}">
                <a16:creationId xmlns:a16="http://schemas.microsoft.com/office/drawing/2014/main" id="{45BF8B3E-E66B-EE7E-B3C1-E138E21CF6D7}"/>
              </a:ext>
            </a:extLst>
          </p:cNvPr>
          <p:cNvGrpSpPr/>
          <p:nvPr/>
        </p:nvGrpSpPr>
        <p:grpSpPr>
          <a:xfrm>
            <a:off x="5420639" y="3298956"/>
            <a:ext cx="205200" cy="141057"/>
            <a:chOff x="2229795" y="4648724"/>
            <a:chExt cx="152940" cy="99442"/>
          </a:xfrm>
          <a:gradFill flip="none" rotWithShape="1">
            <a:gsLst>
              <a:gs pos="100000">
                <a:srgbClr val="008896"/>
              </a:gs>
              <a:gs pos="0">
                <a:srgbClr val="005A64"/>
              </a:gs>
            </a:gsLst>
            <a:lin ang="0" scaled="1"/>
            <a:tileRect/>
          </a:gradFill>
        </p:grpSpPr>
        <p:sp>
          <p:nvSpPr>
            <p:cNvPr id="10730" name="Freeform: Shape 10729">
              <a:extLst>
                <a:ext uri="{FF2B5EF4-FFF2-40B4-BE49-F238E27FC236}">
                  <a16:creationId xmlns:a16="http://schemas.microsoft.com/office/drawing/2014/main" id="{E4E86B79-E63C-0BBA-048E-AFB0B6664BDB}"/>
                </a:ext>
              </a:extLst>
            </p:cNvPr>
            <p:cNvSpPr/>
            <p:nvPr/>
          </p:nvSpPr>
          <p:spPr>
            <a:xfrm>
              <a:off x="2229795" y="464872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31" name="Graphic 455">
              <a:extLst>
                <a:ext uri="{FF2B5EF4-FFF2-40B4-BE49-F238E27FC236}">
                  <a16:creationId xmlns:a16="http://schemas.microsoft.com/office/drawing/2014/main" id="{45F47A5E-6AE7-E59C-99C1-74E837F49719}"/>
                </a:ext>
              </a:extLst>
            </p:cNvPr>
            <p:cNvGrpSpPr/>
            <p:nvPr/>
          </p:nvGrpSpPr>
          <p:grpSpPr>
            <a:xfrm>
              <a:off x="2229795" y="4648724"/>
              <a:ext cx="152940" cy="99438"/>
              <a:chOff x="2229795" y="4648724"/>
              <a:chExt cx="152940" cy="99438"/>
            </a:xfrm>
            <a:grpFill/>
          </p:grpSpPr>
          <p:sp>
            <p:nvSpPr>
              <p:cNvPr id="10732" name="Freeform: Shape 10731">
                <a:extLst>
                  <a:ext uri="{FF2B5EF4-FFF2-40B4-BE49-F238E27FC236}">
                    <a16:creationId xmlns:a16="http://schemas.microsoft.com/office/drawing/2014/main" id="{B549C5D8-653C-F32B-8B52-1266AFD135B1}"/>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33" name="Freeform: Shape 10732">
                <a:extLst>
                  <a:ext uri="{FF2B5EF4-FFF2-40B4-BE49-F238E27FC236}">
                    <a16:creationId xmlns:a16="http://schemas.microsoft.com/office/drawing/2014/main" id="{EA7D9DD6-38F1-55D1-FAF3-2921F2B8B9F6}"/>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68" name="Graphic 455">
            <a:extLst>
              <a:ext uri="{FF2B5EF4-FFF2-40B4-BE49-F238E27FC236}">
                <a16:creationId xmlns:a16="http://schemas.microsoft.com/office/drawing/2014/main" id="{E4A93C95-9E13-39CA-843F-0A0B64D072F8}"/>
              </a:ext>
            </a:extLst>
          </p:cNvPr>
          <p:cNvGrpSpPr/>
          <p:nvPr/>
        </p:nvGrpSpPr>
        <p:grpSpPr>
          <a:xfrm>
            <a:off x="5580244" y="3392317"/>
            <a:ext cx="205200" cy="141051"/>
            <a:chOff x="2348752" y="4714541"/>
            <a:chExt cx="152940" cy="99438"/>
          </a:xfrm>
          <a:gradFill flip="none" rotWithShape="1">
            <a:gsLst>
              <a:gs pos="100000">
                <a:srgbClr val="008896"/>
              </a:gs>
              <a:gs pos="0">
                <a:srgbClr val="005A64"/>
              </a:gs>
            </a:gsLst>
            <a:lin ang="0" scaled="1"/>
            <a:tileRect/>
          </a:gradFill>
        </p:grpSpPr>
        <p:sp>
          <p:nvSpPr>
            <p:cNvPr id="10726" name="Freeform: Shape 10725">
              <a:extLst>
                <a:ext uri="{FF2B5EF4-FFF2-40B4-BE49-F238E27FC236}">
                  <a16:creationId xmlns:a16="http://schemas.microsoft.com/office/drawing/2014/main" id="{DC84DB77-FE1E-4C6A-37DE-ADDCBC0EBF20}"/>
                </a:ext>
              </a:extLst>
            </p:cNvPr>
            <p:cNvSpPr/>
            <p:nvPr/>
          </p:nvSpPr>
          <p:spPr>
            <a:xfrm>
              <a:off x="2348752" y="471454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27" name="Graphic 455">
              <a:extLst>
                <a:ext uri="{FF2B5EF4-FFF2-40B4-BE49-F238E27FC236}">
                  <a16:creationId xmlns:a16="http://schemas.microsoft.com/office/drawing/2014/main" id="{36B3BA21-A70A-B402-CECC-5DBC4BCC4C1F}"/>
                </a:ext>
              </a:extLst>
            </p:cNvPr>
            <p:cNvGrpSpPr/>
            <p:nvPr/>
          </p:nvGrpSpPr>
          <p:grpSpPr>
            <a:xfrm>
              <a:off x="2348752" y="4714541"/>
              <a:ext cx="152940" cy="99438"/>
              <a:chOff x="2348752" y="4714541"/>
              <a:chExt cx="152940" cy="99438"/>
            </a:xfrm>
            <a:grpFill/>
          </p:grpSpPr>
          <p:sp>
            <p:nvSpPr>
              <p:cNvPr id="10728" name="Freeform: Shape 10727">
                <a:extLst>
                  <a:ext uri="{FF2B5EF4-FFF2-40B4-BE49-F238E27FC236}">
                    <a16:creationId xmlns:a16="http://schemas.microsoft.com/office/drawing/2014/main" id="{19412698-E4D0-6364-3569-44CD7B0F2E69}"/>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29" name="Freeform: Shape 10728">
                <a:extLst>
                  <a:ext uri="{FF2B5EF4-FFF2-40B4-BE49-F238E27FC236}">
                    <a16:creationId xmlns:a16="http://schemas.microsoft.com/office/drawing/2014/main" id="{F33B2881-4013-5B06-1AE7-BB7888ABB7F9}"/>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669" name="Freeform: Shape 10668">
            <a:extLst>
              <a:ext uri="{FF2B5EF4-FFF2-40B4-BE49-F238E27FC236}">
                <a16:creationId xmlns:a16="http://schemas.microsoft.com/office/drawing/2014/main" id="{5359BAFA-A6FD-87B7-40DF-F1C0C056C0A2}"/>
              </a:ext>
            </a:extLst>
          </p:cNvPr>
          <p:cNvSpPr/>
          <p:nvPr/>
        </p:nvSpPr>
        <p:spPr>
          <a:xfrm>
            <a:off x="5420987" y="3260426"/>
            <a:ext cx="204848" cy="7770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70" name="Freeform: Shape 10669">
            <a:extLst>
              <a:ext uri="{FF2B5EF4-FFF2-40B4-BE49-F238E27FC236}">
                <a16:creationId xmlns:a16="http://schemas.microsoft.com/office/drawing/2014/main" id="{6D00AC36-7D9F-8CC1-6CE8-21A55058FE52}"/>
              </a:ext>
            </a:extLst>
          </p:cNvPr>
          <p:cNvSpPr/>
          <p:nvPr/>
        </p:nvSpPr>
        <p:spPr>
          <a:xfrm>
            <a:off x="5580567" y="3353786"/>
            <a:ext cx="204869" cy="77715"/>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71" name="Freeform: Shape 10670">
            <a:extLst>
              <a:ext uri="{FF2B5EF4-FFF2-40B4-BE49-F238E27FC236}">
                <a16:creationId xmlns:a16="http://schemas.microsoft.com/office/drawing/2014/main" id="{2AB67D6A-D829-EA8C-1E64-0BC4958FA09A}"/>
              </a:ext>
            </a:extLst>
          </p:cNvPr>
          <p:cNvSpPr/>
          <p:nvPr/>
        </p:nvSpPr>
        <p:spPr>
          <a:xfrm>
            <a:off x="5303254" y="3083719"/>
            <a:ext cx="319635" cy="492615"/>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002D32"/>
          </a:solidFill>
          <a:ln w="11275"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72" name="Freeform: Shape 10671">
            <a:extLst>
              <a:ext uri="{FF2B5EF4-FFF2-40B4-BE49-F238E27FC236}">
                <a16:creationId xmlns:a16="http://schemas.microsoft.com/office/drawing/2014/main" id="{9888EB4D-79A8-5B08-0B39-0622E024F64F}"/>
              </a:ext>
            </a:extLst>
          </p:cNvPr>
          <p:cNvSpPr/>
          <p:nvPr/>
        </p:nvSpPr>
        <p:spPr>
          <a:xfrm>
            <a:off x="5300674" y="3080983"/>
            <a:ext cx="324762" cy="498077"/>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002D32"/>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73" name="Freeform: Shape 10672">
            <a:extLst>
              <a:ext uri="{FF2B5EF4-FFF2-40B4-BE49-F238E27FC236}">
                <a16:creationId xmlns:a16="http://schemas.microsoft.com/office/drawing/2014/main" id="{07D2CF9F-35F6-69D7-11F7-8721BC8F818E}"/>
              </a:ext>
            </a:extLst>
          </p:cNvPr>
          <p:cNvSpPr/>
          <p:nvPr/>
        </p:nvSpPr>
        <p:spPr>
          <a:xfrm>
            <a:off x="5621887" y="3031408"/>
            <a:ext cx="981484" cy="544926"/>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005A6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74" name="Freeform: Shape 10673">
            <a:extLst>
              <a:ext uri="{FF2B5EF4-FFF2-40B4-BE49-F238E27FC236}">
                <a16:creationId xmlns:a16="http://schemas.microsoft.com/office/drawing/2014/main" id="{246416A6-7B24-AFA1-317E-8DC2ABD59B9F}"/>
              </a:ext>
            </a:extLst>
          </p:cNvPr>
          <p:cNvSpPr/>
          <p:nvPr/>
        </p:nvSpPr>
        <p:spPr>
          <a:xfrm>
            <a:off x="5619308" y="3028664"/>
            <a:ext cx="986611" cy="550398"/>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75" name="Freeform: Shape 10674">
            <a:extLst>
              <a:ext uri="{FF2B5EF4-FFF2-40B4-BE49-F238E27FC236}">
                <a16:creationId xmlns:a16="http://schemas.microsoft.com/office/drawing/2014/main" id="{A3A85EB8-2335-20FF-84DC-86CC9E04CE5F}"/>
              </a:ext>
            </a:extLst>
          </p:cNvPr>
          <p:cNvSpPr/>
          <p:nvPr/>
        </p:nvSpPr>
        <p:spPr>
          <a:xfrm>
            <a:off x="5303254" y="2844398"/>
            <a:ext cx="1300117" cy="426332"/>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76" name="Graphic 641">
            <a:extLst>
              <a:ext uri="{FF2B5EF4-FFF2-40B4-BE49-F238E27FC236}">
                <a16:creationId xmlns:a16="http://schemas.microsoft.com/office/drawing/2014/main" id="{D91A2CA2-4F30-2E88-C0E8-01E214AF0A4C}"/>
              </a:ext>
            </a:extLst>
          </p:cNvPr>
          <p:cNvGrpSpPr/>
          <p:nvPr/>
        </p:nvGrpSpPr>
        <p:grpSpPr>
          <a:xfrm>
            <a:off x="6132203" y="2815891"/>
            <a:ext cx="205200" cy="141055"/>
            <a:chOff x="3257856" y="3944383"/>
            <a:chExt cx="152940" cy="99440"/>
          </a:xfrm>
          <a:gradFill flip="none" rotWithShape="1">
            <a:gsLst>
              <a:gs pos="100000">
                <a:srgbClr val="008896"/>
              </a:gs>
              <a:gs pos="0">
                <a:srgbClr val="005A64"/>
              </a:gs>
            </a:gsLst>
            <a:lin ang="0" scaled="1"/>
            <a:tileRect/>
          </a:gradFill>
        </p:grpSpPr>
        <p:sp>
          <p:nvSpPr>
            <p:cNvPr id="10722" name="Freeform: Shape 10721">
              <a:extLst>
                <a:ext uri="{FF2B5EF4-FFF2-40B4-BE49-F238E27FC236}">
                  <a16:creationId xmlns:a16="http://schemas.microsoft.com/office/drawing/2014/main" id="{6AF69B7D-1DDF-70EC-F7F9-FDD1B647756F}"/>
                </a:ext>
              </a:extLst>
            </p:cNvPr>
            <p:cNvSpPr/>
            <p:nvPr/>
          </p:nvSpPr>
          <p:spPr>
            <a:xfrm>
              <a:off x="3257856" y="3944383"/>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23" name="Graphic 641">
              <a:extLst>
                <a:ext uri="{FF2B5EF4-FFF2-40B4-BE49-F238E27FC236}">
                  <a16:creationId xmlns:a16="http://schemas.microsoft.com/office/drawing/2014/main" id="{E97EB3AD-1BAE-6C39-C857-546B1BD0E71F}"/>
                </a:ext>
              </a:extLst>
            </p:cNvPr>
            <p:cNvGrpSpPr/>
            <p:nvPr/>
          </p:nvGrpSpPr>
          <p:grpSpPr>
            <a:xfrm>
              <a:off x="3257856" y="3944383"/>
              <a:ext cx="152940" cy="99438"/>
              <a:chOff x="3257856" y="3944383"/>
              <a:chExt cx="152940" cy="99438"/>
            </a:xfrm>
            <a:grpFill/>
          </p:grpSpPr>
          <p:sp>
            <p:nvSpPr>
              <p:cNvPr id="10724" name="Freeform: Shape 10723">
                <a:extLst>
                  <a:ext uri="{FF2B5EF4-FFF2-40B4-BE49-F238E27FC236}">
                    <a16:creationId xmlns:a16="http://schemas.microsoft.com/office/drawing/2014/main" id="{A6271590-687E-B0DB-244F-59070752E03C}"/>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25" name="Freeform: Shape 10724">
                <a:extLst>
                  <a:ext uri="{FF2B5EF4-FFF2-40B4-BE49-F238E27FC236}">
                    <a16:creationId xmlns:a16="http://schemas.microsoft.com/office/drawing/2014/main" id="{CF63C600-C82C-E236-0AB6-78D7997D8540}"/>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77" name="Graphic 641">
            <a:extLst>
              <a:ext uri="{FF2B5EF4-FFF2-40B4-BE49-F238E27FC236}">
                <a16:creationId xmlns:a16="http://schemas.microsoft.com/office/drawing/2014/main" id="{E7EDB8FE-5757-28AD-BE35-56B09164AA55}"/>
              </a:ext>
            </a:extLst>
          </p:cNvPr>
          <p:cNvGrpSpPr/>
          <p:nvPr/>
        </p:nvGrpSpPr>
        <p:grpSpPr>
          <a:xfrm>
            <a:off x="5898431" y="2872967"/>
            <a:ext cx="205185" cy="141043"/>
            <a:chOff x="3083621" y="3984620"/>
            <a:chExt cx="152929" cy="99432"/>
          </a:xfrm>
          <a:gradFill flip="none" rotWithShape="1">
            <a:gsLst>
              <a:gs pos="100000">
                <a:srgbClr val="008896"/>
              </a:gs>
              <a:gs pos="0">
                <a:srgbClr val="005A64"/>
              </a:gs>
            </a:gsLst>
            <a:lin ang="0" scaled="1"/>
            <a:tileRect/>
          </a:gradFill>
        </p:grpSpPr>
        <p:sp>
          <p:nvSpPr>
            <p:cNvPr id="10718" name="Freeform: Shape 10717">
              <a:extLst>
                <a:ext uri="{FF2B5EF4-FFF2-40B4-BE49-F238E27FC236}">
                  <a16:creationId xmlns:a16="http://schemas.microsoft.com/office/drawing/2014/main" id="{895C0A1A-9640-ADB1-A691-BD4094F88DAB}"/>
                </a:ext>
              </a:extLst>
            </p:cNvPr>
            <p:cNvSpPr/>
            <p:nvPr/>
          </p:nvSpPr>
          <p:spPr>
            <a:xfrm>
              <a:off x="3083621" y="3984620"/>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19" name="Graphic 641">
              <a:extLst>
                <a:ext uri="{FF2B5EF4-FFF2-40B4-BE49-F238E27FC236}">
                  <a16:creationId xmlns:a16="http://schemas.microsoft.com/office/drawing/2014/main" id="{42C418E4-07D4-AA04-AC85-554958F43C87}"/>
                </a:ext>
              </a:extLst>
            </p:cNvPr>
            <p:cNvGrpSpPr/>
            <p:nvPr/>
          </p:nvGrpSpPr>
          <p:grpSpPr>
            <a:xfrm>
              <a:off x="3083622" y="3984620"/>
              <a:ext cx="152929" cy="99427"/>
              <a:chOff x="3083622" y="3984620"/>
              <a:chExt cx="152929" cy="99427"/>
            </a:xfrm>
            <a:grpFill/>
          </p:grpSpPr>
          <p:sp>
            <p:nvSpPr>
              <p:cNvPr id="10720" name="Freeform: Shape 10719">
                <a:extLst>
                  <a:ext uri="{FF2B5EF4-FFF2-40B4-BE49-F238E27FC236}">
                    <a16:creationId xmlns:a16="http://schemas.microsoft.com/office/drawing/2014/main" id="{C3328131-6084-184C-D24B-381D64D90554}"/>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21" name="Freeform: Shape 10720">
                <a:extLst>
                  <a:ext uri="{FF2B5EF4-FFF2-40B4-BE49-F238E27FC236}">
                    <a16:creationId xmlns:a16="http://schemas.microsoft.com/office/drawing/2014/main" id="{425B8DD8-613C-6631-0D52-FBBB6B38D6A2}"/>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78" name="Graphic 641">
            <a:extLst>
              <a:ext uri="{FF2B5EF4-FFF2-40B4-BE49-F238E27FC236}">
                <a16:creationId xmlns:a16="http://schemas.microsoft.com/office/drawing/2014/main" id="{7AE94ABD-8659-333C-23A0-08F1E98BEC25}"/>
              </a:ext>
            </a:extLst>
          </p:cNvPr>
          <p:cNvGrpSpPr/>
          <p:nvPr/>
        </p:nvGrpSpPr>
        <p:grpSpPr>
          <a:xfrm>
            <a:off x="6058021" y="2966312"/>
            <a:ext cx="205185" cy="141067"/>
            <a:chOff x="3202567" y="4050426"/>
            <a:chExt cx="152929" cy="99449"/>
          </a:xfrm>
          <a:gradFill flip="none" rotWithShape="1">
            <a:gsLst>
              <a:gs pos="100000">
                <a:srgbClr val="008896"/>
              </a:gs>
              <a:gs pos="0">
                <a:srgbClr val="005A64"/>
              </a:gs>
            </a:gsLst>
            <a:lin ang="0" scaled="1"/>
            <a:tileRect/>
          </a:gradFill>
        </p:grpSpPr>
        <p:sp>
          <p:nvSpPr>
            <p:cNvPr id="10714" name="Freeform: Shape 10713">
              <a:extLst>
                <a:ext uri="{FF2B5EF4-FFF2-40B4-BE49-F238E27FC236}">
                  <a16:creationId xmlns:a16="http://schemas.microsoft.com/office/drawing/2014/main" id="{5F3F4053-32BC-9CD1-671E-C951F32020C1}"/>
                </a:ext>
              </a:extLst>
            </p:cNvPr>
            <p:cNvSpPr/>
            <p:nvPr/>
          </p:nvSpPr>
          <p:spPr>
            <a:xfrm>
              <a:off x="3202567" y="4050426"/>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15" name="Graphic 641">
              <a:extLst>
                <a:ext uri="{FF2B5EF4-FFF2-40B4-BE49-F238E27FC236}">
                  <a16:creationId xmlns:a16="http://schemas.microsoft.com/office/drawing/2014/main" id="{3AA288C8-A2B9-5F21-CAF4-62A9877CC528}"/>
                </a:ext>
              </a:extLst>
            </p:cNvPr>
            <p:cNvGrpSpPr/>
            <p:nvPr/>
          </p:nvGrpSpPr>
          <p:grpSpPr>
            <a:xfrm>
              <a:off x="3202568" y="4050426"/>
              <a:ext cx="152929" cy="99449"/>
              <a:chOff x="3202568" y="4050426"/>
              <a:chExt cx="152929" cy="99449"/>
            </a:xfrm>
            <a:grpFill/>
          </p:grpSpPr>
          <p:sp>
            <p:nvSpPr>
              <p:cNvPr id="10716" name="Freeform: Shape 10715">
                <a:extLst>
                  <a:ext uri="{FF2B5EF4-FFF2-40B4-BE49-F238E27FC236}">
                    <a16:creationId xmlns:a16="http://schemas.microsoft.com/office/drawing/2014/main" id="{DE4904E5-60EF-1BD1-D061-79ED2D618506}"/>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17" name="Freeform: Shape 10716">
                <a:extLst>
                  <a:ext uri="{FF2B5EF4-FFF2-40B4-BE49-F238E27FC236}">
                    <a16:creationId xmlns:a16="http://schemas.microsoft.com/office/drawing/2014/main" id="{AB62A293-2B43-F830-F14E-9FF7E230481F}"/>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79" name="Graphic 641">
            <a:extLst>
              <a:ext uri="{FF2B5EF4-FFF2-40B4-BE49-F238E27FC236}">
                <a16:creationId xmlns:a16="http://schemas.microsoft.com/office/drawing/2014/main" id="{AE3E4BB9-FD2F-3517-15D9-3D44EC3A68A8}"/>
              </a:ext>
            </a:extLst>
          </p:cNvPr>
          <p:cNvGrpSpPr/>
          <p:nvPr/>
        </p:nvGrpSpPr>
        <p:grpSpPr>
          <a:xfrm>
            <a:off x="6291838" y="2909253"/>
            <a:ext cx="205200" cy="141067"/>
            <a:chOff x="3376836" y="4010200"/>
            <a:chExt cx="152940" cy="99449"/>
          </a:xfrm>
          <a:gradFill flip="none" rotWithShape="1">
            <a:gsLst>
              <a:gs pos="100000">
                <a:srgbClr val="008896"/>
              </a:gs>
              <a:gs pos="0">
                <a:srgbClr val="005A64"/>
              </a:gs>
            </a:gsLst>
            <a:lin ang="0" scaled="1"/>
            <a:tileRect/>
          </a:gradFill>
        </p:grpSpPr>
        <p:sp>
          <p:nvSpPr>
            <p:cNvPr id="10710" name="Freeform: Shape 10709">
              <a:extLst>
                <a:ext uri="{FF2B5EF4-FFF2-40B4-BE49-F238E27FC236}">
                  <a16:creationId xmlns:a16="http://schemas.microsoft.com/office/drawing/2014/main" id="{76A81A87-514B-9943-1EA1-2406615E86B8}"/>
                </a:ext>
              </a:extLst>
            </p:cNvPr>
            <p:cNvSpPr/>
            <p:nvPr/>
          </p:nvSpPr>
          <p:spPr>
            <a:xfrm>
              <a:off x="3376836" y="4010200"/>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11" name="Graphic 641">
              <a:extLst>
                <a:ext uri="{FF2B5EF4-FFF2-40B4-BE49-F238E27FC236}">
                  <a16:creationId xmlns:a16="http://schemas.microsoft.com/office/drawing/2014/main" id="{839C2CCC-4C3C-3C7B-7461-12FEEB44736F}"/>
                </a:ext>
              </a:extLst>
            </p:cNvPr>
            <p:cNvGrpSpPr/>
            <p:nvPr/>
          </p:nvGrpSpPr>
          <p:grpSpPr>
            <a:xfrm>
              <a:off x="3376837" y="4010200"/>
              <a:ext cx="152940" cy="99449"/>
              <a:chOff x="3376837" y="4010200"/>
              <a:chExt cx="152940" cy="99449"/>
            </a:xfrm>
            <a:grpFill/>
          </p:grpSpPr>
          <p:sp>
            <p:nvSpPr>
              <p:cNvPr id="10712" name="Freeform: Shape 10711">
                <a:extLst>
                  <a:ext uri="{FF2B5EF4-FFF2-40B4-BE49-F238E27FC236}">
                    <a16:creationId xmlns:a16="http://schemas.microsoft.com/office/drawing/2014/main" id="{8F53C7C3-74D6-F468-05A2-203274E2485E}"/>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13" name="Freeform: Shape 10712">
                <a:extLst>
                  <a:ext uri="{FF2B5EF4-FFF2-40B4-BE49-F238E27FC236}">
                    <a16:creationId xmlns:a16="http://schemas.microsoft.com/office/drawing/2014/main" id="{066D1758-1A0D-E7C8-D263-C04BD4A41904}"/>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680" name="Freeform: Shape 10679">
            <a:extLst>
              <a:ext uri="{FF2B5EF4-FFF2-40B4-BE49-F238E27FC236}">
                <a16:creationId xmlns:a16="http://schemas.microsoft.com/office/drawing/2014/main" id="{453F5E30-D132-041D-8F63-8892C9C16E46}"/>
              </a:ext>
            </a:extLst>
          </p:cNvPr>
          <p:cNvSpPr/>
          <p:nvPr/>
        </p:nvSpPr>
        <p:spPr>
          <a:xfrm>
            <a:off x="6132569" y="2777371"/>
            <a:ext cx="204849" cy="77712"/>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81" name="Freeform: Shape 10680">
            <a:extLst>
              <a:ext uri="{FF2B5EF4-FFF2-40B4-BE49-F238E27FC236}">
                <a16:creationId xmlns:a16="http://schemas.microsoft.com/office/drawing/2014/main" id="{CD97E239-701B-0092-26CA-DD7B431A13AD}"/>
              </a:ext>
            </a:extLst>
          </p:cNvPr>
          <p:cNvSpPr/>
          <p:nvPr/>
        </p:nvSpPr>
        <p:spPr>
          <a:xfrm>
            <a:off x="5898753" y="2834443"/>
            <a:ext cx="204853" cy="77712"/>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82" name="Freeform: Shape 10681">
            <a:extLst>
              <a:ext uri="{FF2B5EF4-FFF2-40B4-BE49-F238E27FC236}">
                <a16:creationId xmlns:a16="http://schemas.microsoft.com/office/drawing/2014/main" id="{286283A7-F496-BC28-A8AE-230C559F4543}"/>
              </a:ext>
            </a:extLst>
          </p:cNvPr>
          <p:cNvSpPr/>
          <p:nvPr/>
        </p:nvSpPr>
        <p:spPr>
          <a:xfrm>
            <a:off x="6292128" y="2870729"/>
            <a:ext cx="204897" cy="77720"/>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83" name="Freeform: Shape 10682">
            <a:extLst>
              <a:ext uri="{FF2B5EF4-FFF2-40B4-BE49-F238E27FC236}">
                <a16:creationId xmlns:a16="http://schemas.microsoft.com/office/drawing/2014/main" id="{50064CB2-BFD8-8E28-558B-2D7DF4A05C99}"/>
              </a:ext>
            </a:extLst>
          </p:cNvPr>
          <p:cNvSpPr/>
          <p:nvPr/>
        </p:nvSpPr>
        <p:spPr>
          <a:xfrm>
            <a:off x="6058345" y="2927790"/>
            <a:ext cx="204870" cy="77722"/>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84" name="Graphic 641">
            <a:extLst>
              <a:ext uri="{FF2B5EF4-FFF2-40B4-BE49-F238E27FC236}">
                <a16:creationId xmlns:a16="http://schemas.microsoft.com/office/drawing/2014/main" id="{FE2B620F-31BD-E3F6-6254-FEFE137C754C}"/>
              </a:ext>
            </a:extLst>
          </p:cNvPr>
          <p:cNvGrpSpPr/>
          <p:nvPr/>
        </p:nvGrpSpPr>
        <p:grpSpPr>
          <a:xfrm>
            <a:off x="5408175" y="2992619"/>
            <a:ext cx="205185" cy="141055"/>
            <a:chOff x="2718222" y="4068972"/>
            <a:chExt cx="152929" cy="99440"/>
          </a:xfrm>
          <a:gradFill flip="none" rotWithShape="1">
            <a:gsLst>
              <a:gs pos="100000">
                <a:srgbClr val="008896"/>
              </a:gs>
              <a:gs pos="0">
                <a:srgbClr val="005A64"/>
              </a:gs>
            </a:gsLst>
            <a:lin ang="0" scaled="1"/>
            <a:tileRect/>
          </a:gradFill>
        </p:grpSpPr>
        <p:sp>
          <p:nvSpPr>
            <p:cNvPr id="10706" name="Freeform: Shape 10705">
              <a:extLst>
                <a:ext uri="{FF2B5EF4-FFF2-40B4-BE49-F238E27FC236}">
                  <a16:creationId xmlns:a16="http://schemas.microsoft.com/office/drawing/2014/main" id="{F0495715-187A-870C-5925-5C453FB7843A}"/>
                </a:ext>
              </a:extLst>
            </p:cNvPr>
            <p:cNvSpPr/>
            <p:nvPr/>
          </p:nvSpPr>
          <p:spPr>
            <a:xfrm>
              <a:off x="2718222" y="4068972"/>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07" name="Graphic 641">
              <a:extLst>
                <a:ext uri="{FF2B5EF4-FFF2-40B4-BE49-F238E27FC236}">
                  <a16:creationId xmlns:a16="http://schemas.microsoft.com/office/drawing/2014/main" id="{7A26C0CC-5207-34C9-AC3A-5FF34D1326B7}"/>
                </a:ext>
              </a:extLst>
            </p:cNvPr>
            <p:cNvGrpSpPr/>
            <p:nvPr/>
          </p:nvGrpSpPr>
          <p:grpSpPr>
            <a:xfrm>
              <a:off x="2718222" y="4068972"/>
              <a:ext cx="152929" cy="99438"/>
              <a:chOff x="2718222" y="4068972"/>
              <a:chExt cx="152929" cy="99438"/>
            </a:xfrm>
            <a:grpFill/>
          </p:grpSpPr>
          <p:sp>
            <p:nvSpPr>
              <p:cNvPr id="10708" name="Freeform: Shape 10707">
                <a:extLst>
                  <a:ext uri="{FF2B5EF4-FFF2-40B4-BE49-F238E27FC236}">
                    <a16:creationId xmlns:a16="http://schemas.microsoft.com/office/drawing/2014/main" id="{B8BA6CCE-1293-5209-5124-5D66DE409928}"/>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09" name="Freeform: Shape 10708">
                <a:extLst>
                  <a:ext uri="{FF2B5EF4-FFF2-40B4-BE49-F238E27FC236}">
                    <a16:creationId xmlns:a16="http://schemas.microsoft.com/office/drawing/2014/main" id="{F71765D8-1B5D-B950-F51B-4890C84EEE47}"/>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85" name="Graphic 641">
            <a:extLst>
              <a:ext uri="{FF2B5EF4-FFF2-40B4-BE49-F238E27FC236}">
                <a16:creationId xmlns:a16="http://schemas.microsoft.com/office/drawing/2014/main" id="{D22D24F2-54E3-C593-90B6-781B85C99760}"/>
              </a:ext>
            </a:extLst>
          </p:cNvPr>
          <p:cNvGrpSpPr/>
          <p:nvPr/>
        </p:nvGrpSpPr>
        <p:grpSpPr>
          <a:xfrm>
            <a:off x="5567765" y="3085964"/>
            <a:ext cx="205214" cy="141085"/>
            <a:chOff x="2837168" y="4134778"/>
            <a:chExt cx="152951" cy="99461"/>
          </a:xfrm>
          <a:gradFill flip="none" rotWithShape="1">
            <a:gsLst>
              <a:gs pos="100000">
                <a:srgbClr val="008896"/>
              </a:gs>
              <a:gs pos="0">
                <a:srgbClr val="005A64"/>
              </a:gs>
            </a:gsLst>
            <a:lin ang="0" scaled="1"/>
            <a:tileRect/>
          </a:gradFill>
        </p:grpSpPr>
        <p:sp>
          <p:nvSpPr>
            <p:cNvPr id="10702" name="Freeform: Shape 10701">
              <a:extLst>
                <a:ext uri="{FF2B5EF4-FFF2-40B4-BE49-F238E27FC236}">
                  <a16:creationId xmlns:a16="http://schemas.microsoft.com/office/drawing/2014/main" id="{B52E79C0-D2A2-FD3E-8D19-5CB897D4B0FC}"/>
                </a:ext>
              </a:extLst>
            </p:cNvPr>
            <p:cNvSpPr/>
            <p:nvPr/>
          </p:nvSpPr>
          <p:spPr>
            <a:xfrm>
              <a:off x="2837168" y="4134778"/>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03" name="Graphic 641">
              <a:extLst>
                <a:ext uri="{FF2B5EF4-FFF2-40B4-BE49-F238E27FC236}">
                  <a16:creationId xmlns:a16="http://schemas.microsoft.com/office/drawing/2014/main" id="{EBE588F9-2483-26D8-C42A-09F551CC3D2B}"/>
                </a:ext>
              </a:extLst>
            </p:cNvPr>
            <p:cNvGrpSpPr/>
            <p:nvPr/>
          </p:nvGrpSpPr>
          <p:grpSpPr>
            <a:xfrm>
              <a:off x="2837168" y="4134778"/>
              <a:ext cx="152951" cy="99461"/>
              <a:chOff x="2837168" y="4134778"/>
              <a:chExt cx="152951" cy="99461"/>
            </a:xfrm>
            <a:grpFill/>
          </p:grpSpPr>
          <p:sp>
            <p:nvSpPr>
              <p:cNvPr id="10704" name="Freeform: Shape 10703">
                <a:extLst>
                  <a:ext uri="{FF2B5EF4-FFF2-40B4-BE49-F238E27FC236}">
                    <a16:creationId xmlns:a16="http://schemas.microsoft.com/office/drawing/2014/main" id="{BA52BC66-662D-86A6-2824-9E05342CAFEF}"/>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05" name="Freeform: Shape 10704">
                <a:extLst>
                  <a:ext uri="{FF2B5EF4-FFF2-40B4-BE49-F238E27FC236}">
                    <a16:creationId xmlns:a16="http://schemas.microsoft.com/office/drawing/2014/main" id="{975D21F2-EF4C-8A75-8D4F-EF56F20E846A}"/>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686" name="Freeform: Shape 10685">
            <a:extLst>
              <a:ext uri="{FF2B5EF4-FFF2-40B4-BE49-F238E27FC236}">
                <a16:creationId xmlns:a16="http://schemas.microsoft.com/office/drawing/2014/main" id="{8D252250-0FB0-9C2D-7ADE-D6126DAD11E2}"/>
              </a:ext>
            </a:extLst>
          </p:cNvPr>
          <p:cNvSpPr/>
          <p:nvPr/>
        </p:nvSpPr>
        <p:spPr>
          <a:xfrm>
            <a:off x="5408517" y="2954095"/>
            <a:ext cx="204853" cy="7770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87" name="RectangleLegend2">
            <a:extLst>
              <a:ext uri="{FF2B5EF4-FFF2-40B4-BE49-F238E27FC236}">
                <a16:creationId xmlns:a16="http://schemas.microsoft.com/office/drawing/2014/main" id="{1142FBC4-0F61-1A86-D847-7165724C17B2}"/>
              </a:ext>
            </a:extLst>
          </p:cNvPr>
          <p:cNvSpPr>
            <a:spLocks/>
          </p:cNvSpPr>
          <p:nvPr/>
        </p:nvSpPr>
        <p:spPr>
          <a:xfrm>
            <a:off x="5341452" y="3178464"/>
            <a:ext cx="1529615" cy="246221"/>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F</a:t>
            </a:r>
            <a:r>
              <a:rPr kumimoji="0" lang="en-US" sz="800" b="0" i="0" u="none" strike="noStrike" kern="1200" cap="none" spc="0" normalizeH="0" baseline="0" noProof="0" dirty="0" err="1">
                <a:ln>
                  <a:noFill/>
                </a:ln>
                <a:solidFill>
                  <a:srgbClr val="FFFFFF"/>
                </a:solidFill>
                <a:effectLst/>
                <a:uLnTx/>
                <a:uFillTx/>
                <a:latin typeface="Arial" panose="020B0604020202020204"/>
                <a:ea typeface="+mn-ea"/>
                <a:cs typeface="+mn-cs"/>
              </a:rPr>
              <a:t>ormulation</a:t>
            </a: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processes</a:t>
            </a:r>
          </a:p>
        </p:txBody>
      </p:sp>
      <p:sp>
        <p:nvSpPr>
          <p:cNvPr id="10689" name="Freeform: Shape 10688">
            <a:extLst>
              <a:ext uri="{FF2B5EF4-FFF2-40B4-BE49-F238E27FC236}">
                <a16:creationId xmlns:a16="http://schemas.microsoft.com/office/drawing/2014/main" id="{44A1E8E8-60A5-91A9-1470-CEC8DE85E810}"/>
              </a:ext>
            </a:extLst>
          </p:cNvPr>
          <p:cNvSpPr/>
          <p:nvPr/>
        </p:nvSpPr>
        <p:spPr>
          <a:xfrm>
            <a:off x="5568098" y="3047451"/>
            <a:ext cx="204886" cy="77720"/>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50" name="Group 10749">
            <a:extLst>
              <a:ext uri="{FF2B5EF4-FFF2-40B4-BE49-F238E27FC236}">
                <a16:creationId xmlns:a16="http://schemas.microsoft.com/office/drawing/2014/main" id="{6FF4AC77-3879-495B-7364-4DA4C8DFD719}"/>
              </a:ext>
            </a:extLst>
          </p:cNvPr>
          <p:cNvGrpSpPr/>
          <p:nvPr/>
        </p:nvGrpSpPr>
        <p:grpSpPr>
          <a:xfrm>
            <a:off x="5732645" y="2359893"/>
            <a:ext cx="1572388" cy="801688"/>
            <a:chOff x="7050108" y="2630788"/>
            <a:chExt cx="1441868" cy="735142"/>
          </a:xfrm>
        </p:grpSpPr>
        <p:sp>
          <p:nvSpPr>
            <p:cNvPr id="10751" name="Freeform: Shape 10750">
              <a:extLst>
                <a:ext uri="{FF2B5EF4-FFF2-40B4-BE49-F238E27FC236}">
                  <a16:creationId xmlns:a16="http://schemas.microsoft.com/office/drawing/2014/main" id="{C4362391-E7B6-B230-F085-09E9543FAD9C}"/>
                </a:ext>
              </a:extLst>
            </p:cNvPr>
            <p:cNvSpPr/>
            <p:nvPr/>
          </p:nvSpPr>
          <p:spPr>
            <a:xfrm>
              <a:off x="7052488" y="2911706"/>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B8B8B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52" name="Freeform: Shape 10751">
              <a:extLst>
                <a:ext uri="{FF2B5EF4-FFF2-40B4-BE49-F238E27FC236}">
                  <a16:creationId xmlns:a16="http://schemas.microsoft.com/office/drawing/2014/main" id="{154A0CD7-BB3F-8DC0-804E-E0421E77FD67}"/>
                </a:ext>
              </a:extLst>
            </p:cNvPr>
            <p:cNvSpPr/>
            <p:nvPr/>
          </p:nvSpPr>
          <p:spPr>
            <a:xfrm>
              <a:off x="7050122" y="2909197"/>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8B8B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53" name="Freeform: Shape 10752">
              <a:extLst>
                <a:ext uri="{FF2B5EF4-FFF2-40B4-BE49-F238E27FC236}">
                  <a16:creationId xmlns:a16="http://schemas.microsoft.com/office/drawing/2014/main" id="{6540A359-A401-F874-A619-D198F9445CBF}"/>
                </a:ext>
              </a:extLst>
            </p:cNvPr>
            <p:cNvSpPr/>
            <p:nvPr/>
          </p:nvSpPr>
          <p:spPr>
            <a:xfrm>
              <a:off x="7344673" y="2863737"/>
              <a:ext cx="900013" cy="499693"/>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D0D0D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54" name="Freeform: Shape 10753">
              <a:extLst>
                <a:ext uri="{FF2B5EF4-FFF2-40B4-BE49-F238E27FC236}">
                  <a16:creationId xmlns:a16="http://schemas.microsoft.com/office/drawing/2014/main" id="{AA2E9495-D2C4-01D9-079F-D987AADA7B19}"/>
                </a:ext>
              </a:extLst>
            </p:cNvPr>
            <p:cNvSpPr/>
            <p:nvPr/>
          </p:nvSpPr>
          <p:spPr>
            <a:xfrm>
              <a:off x="7052488" y="2692250"/>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55" name="Freeform: Shape 10754">
              <a:extLst>
                <a:ext uri="{FF2B5EF4-FFF2-40B4-BE49-F238E27FC236}">
                  <a16:creationId xmlns:a16="http://schemas.microsoft.com/office/drawing/2014/main" id="{9B44E387-F55A-B037-5D15-1CF5F2003DC5}"/>
                </a:ext>
              </a:extLst>
            </p:cNvPr>
            <p:cNvSpPr/>
            <p:nvPr/>
          </p:nvSpPr>
          <p:spPr>
            <a:xfrm>
              <a:off x="7050108" y="2689793"/>
              <a:ext cx="1196920" cy="395841"/>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D0D0D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56" name="Freeform: Shape 10755">
              <a:extLst>
                <a:ext uri="{FF2B5EF4-FFF2-40B4-BE49-F238E27FC236}">
                  <a16:creationId xmlns:a16="http://schemas.microsoft.com/office/drawing/2014/main" id="{4C55F4EA-D66F-A104-ADBA-225F9D61C149}"/>
                </a:ext>
              </a:extLst>
            </p:cNvPr>
            <p:cNvSpPr/>
            <p:nvPr/>
          </p:nvSpPr>
          <p:spPr>
            <a:xfrm>
              <a:off x="7812628" y="2666111"/>
              <a:ext cx="188167" cy="129346"/>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57" name="Graphic 653">
              <a:extLst>
                <a:ext uri="{FF2B5EF4-FFF2-40B4-BE49-F238E27FC236}">
                  <a16:creationId xmlns:a16="http://schemas.microsoft.com/office/drawing/2014/main" id="{FF92D232-748B-8F09-2D79-C34C43B4E534}"/>
                </a:ext>
              </a:extLst>
            </p:cNvPr>
            <p:cNvGrpSpPr/>
            <p:nvPr/>
          </p:nvGrpSpPr>
          <p:grpSpPr>
            <a:xfrm>
              <a:off x="7812628" y="2666111"/>
              <a:ext cx="188167" cy="129343"/>
              <a:chOff x="5730744" y="3445287"/>
              <a:chExt cx="152940" cy="99438"/>
            </a:xfrm>
            <a:gradFill>
              <a:gsLst>
                <a:gs pos="100000">
                  <a:srgbClr val="F0F0F0"/>
                </a:gs>
                <a:gs pos="0">
                  <a:srgbClr val="D0D0D0"/>
                </a:gs>
              </a:gsLst>
              <a:lin ang="0" scaled="1"/>
            </a:gradFill>
          </p:grpSpPr>
          <p:sp>
            <p:nvSpPr>
              <p:cNvPr id="10795" name="Freeform: Shape 10794">
                <a:extLst>
                  <a:ext uri="{FF2B5EF4-FFF2-40B4-BE49-F238E27FC236}">
                    <a16:creationId xmlns:a16="http://schemas.microsoft.com/office/drawing/2014/main" id="{314C2933-1D65-C99C-9999-365F6EA7759D}"/>
                  </a:ext>
                </a:extLst>
              </p:cNvPr>
              <p:cNvSpPr/>
              <p:nvPr/>
            </p:nvSpPr>
            <p:spPr>
              <a:xfrm>
                <a:off x="5730744" y="3445287"/>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96" name="Freeform: Shape 10795">
                <a:extLst>
                  <a:ext uri="{FF2B5EF4-FFF2-40B4-BE49-F238E27FC236}">
                    <a16:creationId xmlns:a16="http://schemas.microsoft.com/office/drawing/2014/main" id="{A20F1595-0C06-41FD-F4C0-BDFDA1772D9F}"/>
                  </a:ext>
                </a:extLst>
              </p:cNvPr>
              <p:cNvSpPr/>
              <p:nvPr/>
            </p:nvSpPr>
            <p:spPr>
              <a:xfrm>
                <a:off x="5730744" y="3445287"/>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758" name="Freeform: Shape 10757">
              <a:extLst>
                <a:ext uri="{FF2B5EF4-FFF2-40B4-BE49-F238E27FC236}">
                  <a16:creationId xmlns:a16="http://schemas.microsoft.com/office/drawing/2014/main" id="{37657B29-62DA-F01D-5858-DBD52BAB1471}"/>
                </a:ext>
              </a:extLst>
            </p:cNvPr>
            <p:cNvSpPr/>
            <p:nvPr/>
          </p:nvSpPr>
          <p:spPr>
            <a:xfrm>
              <a:off x="7598261" y="2718449"/>
              <a:ext cx="188153" cy="129335"/>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59" name="Graphic 653">
              <a:extLst>
                <a:ext uri="{FF2B5EF4-FFF2-40B4-BE49-F238E27FC236}">
                  <a16:creationId xmlns:a16="http://schemas.microsoft.com/office/drawing/2014/main" id="{35C5D9E4-D6F8-006B-9E0E-530723243CFA}"/>
                </a:ext>
              </a:extLst>
            </p:cNvPr>
            <p:cNvGrpSpPr/>
            <p:nvPr/>
          </p:nvGrpSpPr>
          <p:grpSpPr>
            <a:xfrm>
              <a:off x="7598262" y="2718449"/>
              <a:ext cx="188153" cy="129328"/>
              <a:chOff x="5556510" y="3485524"/>
              <a:chExt cx="152929" cy="99427"/>
            </a:xfrm>
            <a:gradFill>
              <a:gsLst>
                <a:gs pos="100000">
                  <a:srgbClr val="F0F0F0"/>
                </a:gs>
                <a:gs pos="0">
                  <a:srgbClr val="D0D0D0"/>
                </a:gs>
              </a:gsLst>
              <a:lin ang="0" scaled="1"/>
            </a:gradFill>
          </p:grpSpPr>
          <p:sp>
            <p:nvSpPr>
              <p:cNvPr id="10793" name="Freeform: Shape 10792">
                <a:extLst>
                  <a:ext uri="{FF2B5EF4-FFF2-40B4-BE49-F238E27FC236}">
                    <a16:creationId xmlns:a16="http://schemas.microsoft.com/office/drawing/2014/main" id="{40D516D3-B7E8-32A3-EFBB-ED1C3147BD85}"/>
                  </a:ext>
                </a:extLst>
              </p:cNvPr>
              <p:cNvSpPr/>
              <p:nvPr/>
            </p:nvSpPr>
            <p:spPr>
              <a:xfrm>
                <a:off x="5556510" y="3485524"/>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94" name="Freeform: Shape 10793">
                <a:extLst>
                  <a:ext uri="{FF2B5EF4-FFF2-40B4-BE49-F238E27FC236}">
                    <a16:creationId xmlns:a16="http://schemas.microsoft.com/office/drawing/2014/main" id="{F0F2E0E6-8C8B-7C71-722B-E2453BBF386E}"/>
                  </a:ext>
                </a:extLst>
              </p:cNvPr>
              <p:cNvSpPr/>
              <p:nvPr/>
            </p:nvSpPr>
            <p:spPr>
              <a:xfrm>
                <a:off x="5556510" y="3485524"/>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760" name="Freeform: Shape 10759">
              <a:extLst>
                <a:ext uri="{FF2B5EF4-FFF2-40B4-BE49-F238E27FC236}">
                  <a16:creationId xmlns:a16="http://schemas.microsoft.com/office/drawing/2014/main" id="{1054A5BD-1FE8-3F42-750D-BCDD2BEC4A4C}"/>
                </a:ext>
              </a:extLst>
            </p:cNvPr>
            <p:cNvSpPr/>
            <p:nvPr/>
          </p:nvSpPr>
          <p:spPr>
            <a:xfrm>
              <a:off x="7744604" y="2804045"/>
              <a:ext cx="188153" cy="129357"/>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61" name="Graphic 653">
              <a:extLst>
                <a:ext uri="{FF2B5EF4-FFF2-40B4-BE49-F238E27FC236}">
                  <a16:creationId xmlns:a16="http://schemas.microsoft.com/office/drawing/2014/main" id="{0DE990B0-2F9E-62F8-2515-CE49EAEB234E}"/>
                </a:ext>
              </a:extLst>
            </p:cNvPr>
            <p:cNvGrpSpPr/>
            <p:nvPr/>
          </p:nvGrpSpPr>
          <p:grpSpPr>
            <a:xfrm>
              <a:off x="7744605" y="2804045"/>
              <a:ext cx="188153" cy="129357"/>
              <a:chOff x="5675456" y="3551330"/>
              <a:chExt cx="152929" cy="99449"/>
            </a:xfrm>
            <a:gradFill>
              <a:gsLst>
                <a:gs pos="100000">
                  <a:srgbClr val="F0F0F0"/>
                </a:gs>
                <a:gs pos="0">
                  <a:srgbClr val="D0D0D0"/>
                </a:gs>
              </a:gsLst>
              <a:lin ang="0" scaled="1"/>
            </a:gradFill>
          </p:grpSpPr>
          <p:sp>
            <p:nvSpPr>
              <p:cNvPr id="10791" name="Freeform: Shape 10790">
                <a:extLst>
                  <a:ext uri="{FF2B5EF4-FFF2-40B4-BE49-F238E27FC236}">
                    <a16:creationId xmlns:a16="http://schemas.microsoft.com/office/drawing/2014/main" id="{FE78E49C-F0B7-CA71-9527-D7BD7A4759D3}"/>
                  </a:ext>
                </a:extLst>
              </p:cNvPr>
              <p:cNvSpPr/>
              <p:nvPr/>
            </p:nvSpPr>
            <p:spPr>
              <a:xfrm>
                <a:off x="5675456" y="3551330"/>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92" name="Freeform: Shape 10791">
                <a:extLst>
                  <a:ext uri="{FF2B5EF4-FFF2-40B4-BE49-F238E27FC236}">
                    <a16:creationId xmlns:a16="http://schemas.microsoft.com/office/drawing/2014/main" id="{22C26D55-B11A-F69A-AB99-F8E83D53911F}"/>
                  </a:ext>
                </a:extLst>
              </p:cNvPr>
              <p:cNvSpPr/>
              <p:nvPr/>
            </p:nvSpPr>
            <p:spPr>
              <a:xfrm>
                <a:off x="5675456" y="3551330"/>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762" name="Freeform: Shape 10761">
              <a:extLst>
                <a:ext uri="{FF2B5EF4-FFF2-40B4-BE49-F238E27FC236}">
                  <a16:creationId xmlns:a16="http://schemas.microsoft.com/office/drawing/2014/main" id="{E9493428-14F3-5D15-6599-36E63BA20916}"/>
                </a:ext>
              </a:extLst>
            </p:cNvPr>
            <p:cNvSpPr/>
            <p:nvPr/>
          </p:nvSpPr>
          <p:spPr>
            <a:xfrm>
              <a:off x="7959012" y="2751722"/>
              <a:ext cx="188167" cy="129357"/>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63" name="Graphic 653">
              <a:extLst>
                <a:ext uri="{FF2B5EF4-FFF2-40B4-BE49-F238E27FC236}">
                  <a16:creationId xmlns:a16="http://schemas.microsoft.com/office/drawing/2014/main" id="{7810D739-EC12-8CFC-13B0-1E9F0DC5F08F}"/>
                </a:ext>
              </a:extLst>
            </p:cNvPr>
            <p:cNvGrpSpPr/>
            <p:nvPr/>
          </p:nvGrpSpPr>
          <p:grpSpPr>
            <a:xfrm>
              <a:off x="7959013" y="2751722"/>
              <a:ext cx="188167" cy="129357"/>
              <a:chOff x="5849725" y="3511104"/>
              <a:chExt cx="152940" cy="99449"/>
            </a:xfrm>
            <a:gradFill>
              <a:gsLst>
                <a:gs pos="100000">
                  <a:srgbClr val="F0F0F0"/>
                </a:gs>
                <a:gs pos="0">
                  <a:srgbClr val="D0D0D0"/>
                </a:gs>
              </a:gsLst>
              <a:lin ang="0" scaled="1"/>
            </a:gradFill>
          </p:grpSpPr>
          <p:sp>
            <p:nvSpPr>
              <p:cNvPr id="10789" name="Freeform: Shape 10788">
                <a:extLst>
                  <a:ext uri="{FF2B5EF4-FFF2-40B4-BE49-F238E27FC236}">
                    <a16:creationId xmlns:a16="http://schemas.microsoft.com/office/drawing/2014/main" id="{0C1F0CAA-88A9-11EA-4A77-80C338B7C00D}"/>
                  </a:ext>
                </a:extLst>
              </p:cNvPr>
              <p:cNvSpPr/>
              <p:nvPr/>
            </p:nvSpPr>
            <p:spPr>
              <a:xfrm>
                <a:off x="5849725" y="3511104"/>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90" name="Freeform: Shape 10789">
                <a:extLst>
                  <a:ext uri="{FF2B5EF4-FFF2-40B4-BE49-F238E27FC236}">
                    <a16:creationId xmlns:a16="http://schemas.microsoft.com/office/drawing/2014/main" id="{C8416A2D-445C-56D6-3931-1E77A6A53FC0}"/>
                  </a:ext>
                </a:extLst>
              </p:cNvPr>
              <p:cNvSpPr/>
              <p:nvPr/>
            </p:nvSpPr>
            <p:spPr>
              <a:xfrm>
                <a:off x="5849725" y="3511104"/>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764" name="Freeform: Shape 10763">
              <a:extLst>
                <a:ext uri="{FF2B5EF4-FFF2-40B4-BE49-F238E27FC236}">
                  <a16:creationId xmlns:a16="http://schemas.microsoft.com/office/drawing/2014/main" id="{03C43D6D-2EA1-2659-A644-F2294A4F5AFA}"/>
                </a:ext>
              </a:extLst>
            </p:cNvPr>
            <p:cNvSpPr/>
            <p:nvPr/>
          </p:nvSpPr>
          <p:spPr>
            <a:xfrm>
              <a:off x="7812964" y="2630788"/>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65" name="Freeform: Shape 10764">
              <a:extLst>
                <a:ext uri="{FF2B5EF4-FFF2-40B4-BE49-F238E27FC236}">
                  <a16:creationId xmlns:a16="http://schemas.microsoft.com/office/drawing/2014/main" id="{D68D7AF2-0FFD-1291-AF9B-CC063FBCCC7F}"/>
                </a:ext>
              </a:extLst>
            </p:cNvPr>
            <p:cNvSpPr/>
            <p:nvPr/>
          </p:nvSpPr>
          <p:spPr>
            <a:xfrm>
              <a:off x="7598557" y="2683122"/>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66" name="Freeform: Shape 10765">
              <a:extLst>
                <a:ext uri="{FF2B5EF4-FFF2-40B4-BE49-F238E27FC236}">
                  <a16:creationId xmlns:a16="http://schemas.microsoft.com/office/drawing/2014/main" id="{B4E8C675-9A4C-454D-8F99-0AB9F37128E0}"/>
                </a:ext>
              </a:extLst>
            </p:cNvPr>
            <p:cNvSpPr/>
            <p:nvPr/>
          </p:nvSpPr>
          <p:spPr>
            <a:xfrm>
              <a:off x="7959278" y="2716396"/>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67" name="Freeform: Shape 10766">
              <a:extLst>
                <a:ext uri="{FF2B5EF4-FFF2-40B4-BE49-F238E27FC236}">
                  <a16:creationId xmlns:a16="http://schemas.microsoft.com/office/drawing/2014/main" id="{D6F4D48A-FEDC-FB4E-42FA-B656AB418741}"/>
                </a:ext>
              </a:extLst>
            </p:cNvPr>
            <p:cNvSpPr/>
            <p:nvPr/>
          </p:nvSpPr>
          <p:spPr>
            <a:xfrm>
              <a:off x="7744901" y="2768720"/>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68" name="Freeform: Shape 10767">
              <a:extLst>
                <a:ext uri="{FF2B5EF4-FFF2-40B4-BE49-F238E27FC236}">
                  <a16:creationId xmlns:a16="http://schemas.microsoft.com/office/drawing/2014/main" id="{D3DCAA9C-D912-1430-0437-AA01227908CD}"/>
                </a:ext>
              </a:extLst>
            </p:cNvPr>
            <p:cNvSpPr/>
            <p:nvPr/>
          </p:nvSpPr>
          <p:spPr>
            <a:xfrm>
              <a:off x="7363095" y="2775846"/>
              <a:ext cx="188167" cy="129348"/>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69" name="Graphic 653">
              <a:extLst>
                <a:ext uri="{FF2B5EF4-FFF2-40B4-BE49-F238E27FC236}">
                  <a16:creationId xmlns:a16="http://schemas.microsoft.com/office/drawing/2014/main" id="{AFFC6697-3B45-A5CC-4372-EBEA7CDB4DFC}"/>
                </a:ext>
              </a:extLst>
            </p:cNvPr>
            <p:cNvGrpSpPr/>
            <p:nvPr/>
          </p:nvGrpSpPr>
          <p:grpSpPr>
            <a:xfrm>
              <a:off x="7363095" y="2775846"/>
              <a:ext cx="188167" cy="129343"/>
              <a:chOff x="5365368" y="3529651"/>
              <a:chExt cx="152940" cy="99438"/>
            </a:xfrm>
            <a:gradFill>
              <a:gsLst>
                <a:gs pos="100000">
                  <a:srgbClr val="F0F0F0"/>
                </a:gs>
                <a:gs pos="0">
                  <a:srgbClr val="D0D0D0"/>
                </a:gs>
              </a:gsLst>
              <a:lin ang="0" scaled="1"/>
            </a:gradFill>
          </p:grpSpPr>
          <p:sp>
            <p:nvSpPr>
              <p:cNvPr id="10787" name="Freeform: Shape 10786">
                <a:extLst>
                  <a:ext uri="{FF2B5EF4-FFF2-40B4-BE49-F238E27FC236}">
                    <a16:creationId xmlns:a16="http://schemas.microsoft.com/office/drawing/2014/main" id="{F5BE0F28-8B9C-58FC-D1F3-FF1271FFF0D2}"/>
                  </a:ext>
                </a:extLst>
              </p:cNvPr>
              <p:cNvSpPr/>
              <p:nvPr/>
            </p:nvSpPr>
            <p:spPr>
              <a:xfrm>
                <a:off x="5365368" y="3529651"/>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88" name="Freeform: Shape 10787">
                <a:extLst>
                  <a:ext uri="{FF2B5EF4-FFF2-40B4-BE49-F238E27FC236}">
                    <a16:creationId xmlns:a16="http://schemas.microsoft.com/office/drawing/2014/main" id="{CCE93A03-A3E1-4748-B9F3-331B6FD246BB}"/>
                  </a:ext>
                </a:extLst>
              </p:cNvPr>
              <p:cNvSpPr/>
              <p:nvPr/>
            </p:nvSpPr>
            <p:spPr>
              <a:xfrm>
                <a:off x="5365368" y="3529651"/>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770" name="Freeform: Shape 10769">
              <a:extLst>
                <a:ext uri="{FF2B5EF4-FFF2-40B4-BE49-F238E27FC236}">
                  <a16:creationId xmlns:a16="http://schemas.microsoft.com/office/drawing/2014/main" id="{B0D2893B-224D-574A-B12E-72EF24BF15E0}"/>
                </a:ext>
              </a:extLst>
            </p:cNvPr>
            <p:cNvSpPr/>
            <p:nvPr/>
          </p:nvSpPr>
          <p:spPr>
            <a:xfrm>
              <a:off x="7148700" y="2828169"/>
              <a:ext cx="188153" cy="129346"/>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71" name="Graphic 653">
              <a:extLst>
                <a:ext uri="{FF2B5EF4-FFF2-40B4-BE49-F238E27FC236}">
                  <a16:creationId xmlns:a16="http://schemas.microsoft.com/office/drawing/2014/main" id="{550C40E5-A338-8E86-36D1-29F126768648}"/>
                </a:ext>
              </a:extLst>
            </p:cNvPr>
            <p:cNvGrpSpPr/>
            <p:nvPr/>
          </p:nvGrpSpPr>
          <p:grpSpPr>
            <a:xfrm>
              <a:off x="7148700" y="2828169"/>
              <a:ext cx="188153" cy="129343"/>
              <a:chOff x="5191110" y="3569876"/>
              <a:chExt cx="152929" cy="99438"/>
            </a:xfrm>
            <a:gradFill>
              <a:gsLst>
                <a:gs pos="100000">
                  <a:srgbClr val="F0F0F0"/>
                </a:gs>
                <a:gs pos="0">
                  <a:srgbClr val="D0D0D0"/>
                </a:gs>
              </a:gsLst>
              <a:lin ang="0" scaled="1"/>
            </a:gradFill>
          </p:grpSpPr>
          <p:sp>
            <p:nvSpPr>
              <p:cNvPr id="10785" name="Freeform: Shape 10784">
                <a:extLst>
                  <a:ext uri="{FF2B5EF4-FFF2-40B4-BE49-F238E27FC236}">
                    <a16:creationId xmlns:a16="http://schemas.microsoft.com/office/drawing/2014/main" id="{8119F7D4-E5C6-494F-5D37-93F13C0BB73B}"/>
                  </a:ext>
                </a:extLst>
              </p:cNvPr>
              <p:cNvSpPr/>
              <p:nvPr/>
            </p:nvSpPr>
            <p:spPr>
              <a:xfrm>
                <a:off x="5191110" y="3569876"/>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86" name="Freeform: Shape 10785">
                <a:extLst>
                  <a:ext uri="{FF2B5EF4-FFF2-40B4-BE49-F238E27FC236}">
                    <a16:creationId xmlns:a16="http://schemas.microsoft.com/office/drawing/2014/main" id="{DD8FC7E1-AB5D-8C4D-6A66-CF7088C600BB}"/>
                  </a:ext>
                </a:extLst>
              </p:cNvPr>
              <p:cNvSpPr/>
              <p:nvPr/>
            </p:nvSpPr>
            <p:spPr>
              <a:xfrm>
                <a:off x="5191110" y="3569876"/>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772" name="Freeform: Shape 10771">
              <a:extLst>
                <a:ext uri="{FF2B5EF4-FFF2-40B4-BE49-F238E27FC236}">
                  <a16:creationId xmlns:a16="http://schemas.microsoft.com/office/drawing/2014/main" id="{68D01C95-2FEE-DCFC-E814-FA2D08C3EB8F}"/>
                </a:ext>
              </a:extLst>
            </p:cNvPr>
            <p:cNvSpPr/>
            <p:nvPr/>
          </p:nvSpPr>
          <p:spPr>
            <a:xfrm>
              <a:off x="7295043" y="2913765"/>
              <a:ext cx="188180" cy="129369"/>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73" name="Graphic 653">
              <a:extLst>
                <a:ext uri="{FF2B5EF4-FFF2-40B4-BE49-F238E27FC236}">
                  <a16:creationId xmlns:a16="http://schemas.microsoft.com/office/drawing/2014/main" id="{CBF1228D-695E-A2C5-D8B5-277FAA847221}"/>
                </a:ext>
              </a:extLst>
            </p:cNvPr>
            <p:cNvGrpSpPr/>
            <p:nvPr/>
          </p:nvGrpSpPr>
          <p:grpSpPr>
            <a:xfrm>
              <a:off x="7295043" y="2913765"/>
              <a:ext cx="188180" cy="129373"/>
              <a:chOff x="5310056" y="3635682"/>
              <a:chExt cx="152951" cy="99461"/>
            </a:xfrm>
            <a:gradFill>
              <a:gsLst>
                <a:gs pos="100000">
                  <a:srgbClr val="F0F0F0"/>
                </a:gs>
                <a:gs pos="0">
                  <a:srgbClr val="D0D0D0"/>
                </a:gs>
              </a:gsLst>
              <a:lin ang="0" scaled="1"/>
            </a:gradFill>
          </p:grpSpPr>
          <p:sp>
            <p:nvSpPr>
              <p:cNvPr id="10783" name="Freeform: Shape 10782">
                <a:extLst>
                  <a:ext uri="{FF2B5EF4-FFF2-40B4-BE49-F238E27FC236}">
                    <a16:creationId xmlns:a16="http://schemas.microsoft.com/office/drawing/2014/main" id="{CF8E84E3-52B6-CAAC-FB50-0A7D6EEE46E9}"/>
                  </a:ext>
                </a:extLst>
              </p:cNvPr>
              <p:cNvSpPr/>
              <p:nvPr/>
            </p:nvSpPr>
            <p:spPr>
              <a:xfrm>
                <a:off x="5310056" y="3635682"/>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84" name="Freeform: Shape 10783">
                <a:extLst>
                  <a:ext uri="{FF2B5EF4-FFF2-40B4-BE49-F238E27FC236}">
                    <a16:creationId xmlns:a16="http://schemas.microsoft.com/office/drawing/2014/main" id="{EEBC4A93-4F5A-4574-13A4-E024E9100BE7}"/>
                  </a:ext>
                </a:extLst>
              </p:cNvPr>
              <p:cNvSpPr/>
              <p:nvPr/>
            </p:nvSpPr>
            <p:spPr>
              <a:xfrm>
                <a:off x="5310056" y="3635682"/>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774" name="Freeform: Shape 10773">
              <a:extLst>
                <a:ext uri="{FF2B5EF4-FFF2-40B4-BE49-F238E27FC236}">
                  <a16:creationId xmlns:a16="http://schemas.microsoft.com/office/drawing/2014/main" id="{DAB004D6-9AA7-9DA6-283E-FB7CCADED141}"/>
                </a:ext>
              </a:extLst>
            </p:cNvPr>
            <p:cNvSpPr/>
            <p:nvPr/>
          </p:nvSpPr>
          <p:spPr>
            <a:xfrm>
              <a:off x="7509451" y="2861457"/>
              <a:ext cx="188167" cy="129343"/>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775" name="Graphic 653">
              <a:extLst>
                <a:ext uri="{FF2B5EF4-FFF2-40B4-BE49-F238E27FC236}">
                  <a16:creationId xmlns:a16="http://schemas.microsoft.com/office/drawing/2014/main" id="{AF882823-4096-237E-5B82-882EF41C5548}"/>
                </a:ext>
              </a:extLst>
            </p:cNvPr>
            <p:cNvGrpSpPr/>
            <p:nvPr/>
          </p:nvGrpSpPr>
          <p:grpSpPr>
            <a:xfrm>
              <a:off x="7509451" y="2861457"/>
              <a:ext cx="188167" cy="129343"/>
              <a:chOff x="5484325" y="3595468"/>
              <a:chExt cx="152940" cy="99438"/>
            </a:xfrm>
            <a:gradFill>
              <a:gsLst>
                <a:gs pos="100000">
                  <a:srgbClr val="F0F0F0"/>
                </a:gs>
                <a:gs pos="0">
                  <a:srgbClr val="D0D0D0"/>
                </a:gs>
              </a:gsLst>
              <a:lin ang="0" scaled="1"/>
            </a:gradFill>
          </p:grpSpPr>
          <p:sp>
            <p:nvSpPr>
              <p:cNvPr id="10781" name="Freeform: Shape 10780">
                <a:extLst>
                  <a:ext uri="{FF2B5EF4-FFF2-40B4-BE49-F238E27FC236}">
                    <a16:creationId xmlns:a16="http://schemas.microsoft.com/office/drawing/2014/main" id="{78241A51-AA52-6D1C-C4BA-F1EA2EB93814}"/>
                  </a:ext>
                </a:extLst>
              </p:cNvPr>
              <p:cNvSpPr/>
              <p:nvPr/>
            </p:nvSpPr>
            <p:spPr>
              <a:xfrm>
                <a:off x="5484325" y="3595468"/>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82" name="Freeform: Shape 10781">
                <a:extLst>
                  <a:ext uri="{FF2B5EF4-FFF2-40B4-BE49-F238E27FC236}">
                    <a16:creationId xmlns:a16="http://schemas.microsoft.com/office/drawing/2014/main" id="{505300D2-E21C-130D-38D7-0AB55C3C1E3A}"/>
                  </a:ext>
                </a:extLst>
              </p:cNvPr>
              <p:cNvSpPr/>
              <p:nvPr/>
            </p:nvSpPr>
            <p:spPr>
              <a:xfrm>
                <a:off x="5484325" y="3595468"/>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776" name="Freeform: Shape 10775">
              <a:extLst>
                <a:ext uri="{FF2B5EF4-FFF2-40B4-BE49-F238E27FC236}">
                  <a16:creationId xmlns:a16="http://schemas.microsoft.com/office/drawing/2014/main" id="{BEA7A90A-1373-2665-8940-348D1966B412}"/>
                </a:ext>
              </a:extLst>
            </p:cNvPr>
            <p:cNvSpPr/>
            <p:nvPr/>
          </p:nvSpPr>
          <p:spPr>
            <a:xfrm>
              <a:off x="7363414" y="2740516"/>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77" name="Freeform: Shape 10776">
              <a:extLst>
                <a:ext uri="{FF2B5EF4-FFF2-40B4-BE49-F238E27FC236}">
                  <a16:creationId xmlns:a16="http://schemas.microsoft.com/office/drawing/2014/main" id="{E3DA310C-1F1A-4732-18BA-AFEB95B3310C}"/>
                </a:ext>
              </a:extLst>
            </p:cNvPr>
            <p:cNvSpPr/>
            <p:nvPr/>
          </p:nvSpPr>
          <p:spPr>
            <a:xfrm>
              <a:off x="7149014" y="2792842"/>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78" name="Freeform: Shape 10777">
              <a:extLst>
                <a:ext uri="{FF2B5EF4-FFF2-40B4-BE49-F238E27FC236}">
                  <a16:creationId xmlns:a16="http://schemas.microsoft.com/office/drawing/2014/main" id="{211A3103-9788-B767-72E5-A2E0C2A142EF}"/>
                </a:ext>
              </a:extLst>
            </p:cNvPr>
            <p:cNvSpPr/>
            <p:nvPr/>
          </p:nvSpPr>
          <p:spPr>
            <a:xfrm>
              <a:off x="7509748" y="2826125"/>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79" name="Freeform: Shape 10778">
              <a:extLst>
                <a:ext uri="{FF2B5EF4-FFF2-40B4-BE49-F238E27FC236}">
                  <a16:creationId xmlns:a16="http://schemas.microsoft.com/office/drawing/2014/main" id="{2553DEF6-D3BE-6BA7-A5DD-DD7D3A51B92B}"/>
                </a:ext>
              </a:extLst>
            </p:cNvPr>
            <p:cNvSpPr/>
            <p:nvPr/>
          </p:nvSpPr>
          <p:spPr>
            <a:xfrm>
              <a:off x="7295348" y="2878449"/>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80" name="RectangleLegend2">
              <a:extLst>
                <a:ext uri="{FF2B5EF4-FFF2-40B4-BE49-F238E27FC236}">
                  <a16:creationId xmlns:a16="http://schemas.microsoft.com/office/drawing/2014/main" id="{1B4A749A-D01F-FF43-658A-D412C7F3A269}"/>
                </a:ext>
              </a:extLst>
            </p:cNvPr>
            <p:cNvSpPr>
              <a:spLocks/>
            </p:cNvSpPr>
            <p:nvPr/>
          </p:nvSpPr>
          <p:spPr>
            <a:xfrm>
              <a:off x="7089331" y="3056822"/>
              <a:ext cx="1402645" cy="105248"/>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Digitalization Blueprint</a:t>
              </a:r>
            </a:p>
          </p:txBody>
        </p:sp>
      </p:grpSp>
      <p:grpSp>
        <p:nvGrpSpPr>
          <p:cNvPr id="10797" name="Group 10796">
            <a:extLst>
              <a:ext uri="{FF2B5EF4-FFF2-40B4-BE49-F238E27FC236}">
                <a16:creationId xmlns:a16="http://schemas.microsoft.com/office/drawing/2014/main" id="{13420738-6F38-6689-266E-1C4C2D7E73CE}"/>
              </a:ext>
            </a:extLst>
          </p:cNvPr>
          <p:cNvGrpSpPr/>
          <p:nvPr/>
        </p:nvGrpSpPr>
        <p:grpSpPr>
          <a:xfrm>
            <a:off x="5538101" y="2091127"/>
            <a:ext cx="1572388" cy="801688"/>
            <a:chOff x="7050108" y="2630788"/>
            <a:chExt cx="1441868" cy="735142"/>
          </a:xfrm>
        </p:grpSpPr>
        <p:sp>
          <p:nvSpPr>
            <p:cNvPr id="10798" name="Freeform: Shape 10797">
              <a:extLst>
                <a:ext uri="{FF2B5EF4-FFF2-40B4-BE49-F238E27FC236}">
                  <a16:creationId xmlns:a16="http://schemas.microsoft.com/office/drawing/2014/main" id="{9E1D616C-691A-4755-1911-5B7011CB61BB}"/>
                </a:ext>
              </a:extLst>
            </p:cNvPr>
            <p:cNvSpPr/>
            <p:nvPr/>
          </p:nvSpPr>
          <p:spPr>
            <a:xfrm>
              <a:off x="7052488" y="2911706"/>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B8B8B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99" name="Freeform: Shape 10798">
              <a:extLst>
                <a:ext uri="{FF2B5EF4-FFF2-40B4-BE49-F238E27FC236}">
                  <a16:creationId xmlns:a16="http://schemas.microsoft.com/office/drawing/2014/main" id="{C868B949-E588-EB65-85C2-9F3D94E59714}"/>
                </a:ext>
              </a:extLst>
            </p:cNvPr>
            <p:cNvSpPr/>
            <p:nvPr/>
          </p:nvSpPr>
          <p:spPr>
            <a:xfrm>
              <a:off x="7050122" y="2909197"/>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8B8B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00" name="Freeform: Shape 10799">
              <a:extLst>
                <a:ext uri="{FF2B5EF4-FFF2-40B4-BE49-F238E27FC236}">
                  <a16:creationId xmlns:a16="http://schemas.microsoft.com/office/drawing/2014/main" id="{07C7CC72-02B0-5930-A195-F7824337B534}"/>
                </a:ext>
              </a:extLst>
            </p:cNvPr>
            <p:cNvSpPr/>
            <p:nvPr/>
          </p:nvSpPr>
          <p:spPr>
            <a:xfrm>
              <a:off x="7344673" y="2863737"/>
              <a:ext cx="900013" cy="499693"/>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D0D0D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01" name="Freeform: Shape 10800">
              <a:extLst>
                <a:ext uri="{FF2B5EF4-FFF2-40B4-BE49-F238E27FC236}">
                  <a16:creationId xmlns:a16="http://schemas.microsoft.com/office/drawing/2014/main" id="{EDCE08FC-0390-893C-2B33-C0866D803809}"/>
                </a:ext>
              </a:extLst>
            </p:cNvPr>
            <p:cNvSpPr/>
            <p:nvPr/>
          </p:nvSpPr>
          <p:spPr>
            <a:xfrm>
              <a:off x="7052488" y="2692250"/>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02" name="Freeform: Shape 10801">
              <a:extLst>
                <a:ext uri="{FF2B5EF4-FFF2-40B4-BE49-F238E27FC236}">
                  <a16:creationId xmlns:a16="http://schemas.microsoft.com/office/drawing/2014/main" id="{49F246A3-F111-EB69-B515-531DE35E6E66}"/>
                </a:ext>
              </a:extLst>
            </p:cNvPr>
            <p:cNvSpPr/>
            <p:nvPr/>
          </p:nvSpPr>
          <p:spPr>
            <a:xfrm>
              <a:off x="7050108" y="2689793"/>
              <a:ext cx="1196920" cy="395841"/>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D0D0D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03" name="Freeform: Shape 10802">
              <a:extLst>
                <a:ext uri="{FF2B5EF4-FFF2-40B4-BE49-F238E27FC236}">
                  <a16:creationId xmlns:a16="http://schemas.microsoft.com/office/drawing/2014/main" id="{7C731701-4C0E-34C2-687A-8582068E789F}"/>
                </a:ext>
              </a:extLst>
            </p:cNvPr>
            <p:cNvSpPr/>
            <p:nvPr/>
          </p:nvSpPr>
          <p:spPr>
            <a:xfrm>
              <a:off x="7812628" y="2666111"/>
              <a:ext cx="188167" cy="129346"/>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04" name="Graphic 653">
              <a:extLst>
                <a:ext uri="{FF2B5EF4-FFF2-40B4-BE49-F238E27FC236}">
                  <a16:creationId xmlns:a16="http://schemas.microsoft.com/office/drawing/2014/main" id="{FD113ED1-C0C0-C0D2-B9B0-B8C574032DAE}"/>
                </a:ext>
              </a:extLst>
            </p:cNvPr>
            <p:cNvGrpSpPr/>
            <p:nvPr/>
          </p:nvGrpSpPr>
          <p:grpSpPr>
            <a:xfrm>
              <a:off x="7812628" y="2666111"/>
              <a:ext cx="188167" cy="129343"/>
              <a:chOff x="5730744" y="3445287"/>
              <a:chExt cx="152940" cy="99438"/>
            </a:xfrm>
            <a:gradFill>
              <a:gsLst>
                <a:gs pos="100000">
                  <a:srgbClr val="F0F0F0"/>
                </a:gs>
                <a:gs pos="0">
                  <a:srgbClr val="D0D0D0"/>
                </a:gs>
              </a:gsLst>
              <a:lin ang="0" scaled="1"/>
            </a:gradFill>
          </p:grpSpPr>
          <p:sp>
            <p:nvSpPr>
              <p:cNvPr id="10842" name="Freeform: Shape 10841">
                <a:extLst>
                  <a:ext uri="{FF2B5EF4-FFF2-40B4-BE49-F238E27FC236}">
                    <a16:creationId xmlns:a16="http://schemas.microsoft.com/office/drawing/2014/main" id="{90AADA35-AA72-7E7D-E8D5-0B7D6066C41B}"/>
                  </a:ext>
                </a:extLst>
              </p:cNvPr>
              <p:cNvSpPr/>
              <p:nvPr/>
            </p:nvSpPr>
            <p:spPr>
              <a:xfrm>
                <a:off x="5730744" y="3445287"/>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43" name="Freeform: Shape 10842">
                <a:extLst>
                  <a:ext uri="{FF2B5EF4-FFF2-40B4-BE49-F238E27FC236}">
                    <a16:creationId xmlns:a16="http://schemas.microsoft.com/office/drawing/2014/main" id="{9FC2A26F-9F23-B2B3-0A8C-31508FD235DC}"/>
                  </a:ext>
                </a:extLst>
              </p:cNvPr>
              <p:cNvSpPr/>
              <p:nvPr/>
            </p:nvSpPr>
            <p:spPr>
              <a:xfrm>
                <a:off x="5730744" y="3445287"/>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805" name="Freeform: Shape 10804">
              <a:extLst>
                <a:ext uri="{FF2B5EF4-FFF2-40B4-BE49-F238E27FC236}">
                  <a16:creationId xmlns:a16="http://schemas.microsoft.com/office/drawing/2014/main" id="{2483B472-3935-42C4-2B28-0864F65374A5}"/>
                </a:ext>
              </a:extLst>
            </p:cNvPr>
            <p:cNvSpPr/>
            <p:nvPr/>
          </p:nvSpPr>
          <p:spPr>
            <a:xfrm>
              <a:off x="7598261" y="2718449"/>
              <a:ext cx="188153" cy="129335"/>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06" name="Graphic 653">
              <a:extLst>
                <a:ext uri="{FF2B5EF4-FFF2-40B4-BE49-F238E27FC236}">
                  <a16:creationId xmlns:a16="http://schemas.microsoft.com/office/drawing/2014/main" id="{B080CCB7-609A-9D60-F0ED-88582F8E68BD}"/>
                </a:ext>
              </a:extLst>
            </p:cNvPr>
            <p:cNvGrpSpPr/>
            <p:nvPr/>
          </p:nvGrpSpPr>
          <p:grpSpPr>
            <a:xfrm>
              <a:off x="7598262" y="2718449"/>
              <a:ext cx="188153" cy="129328"/>
              <a:chOff x="5556510" y="3485524"/>
              <a:chExt cx="152929" cy="99427"/>
            </a:xfrm>
            <a:gradFill>
              <a:gsLst>
                <a:gs pos="100000">
                  <a:srgbClr val="F0F0F0"/>
                </a:gs>
                <a:gs pos="0">
                  <a:srgbClr val="D0D0D0"/>
                </a:gs>
              </a:gsLst>
              <a:lin ang="0" scaled="1"/>
            </a:gradFill>
          </p:grpSpPr>
          <p:sp>
            <p:nvSpPr>
              <p:cNvPr id="10840" name="Freeform: Shape 10839">
                <a:extLst>
                  <a:ext uri="{FF2B5EF4-FFF2-40B4-BE49-F238E27FC236}">
                    <a16:creationId xmlns:a16="http://schemas.microsoft.com/office/drawing/2014/main" id="{074B8C52-722A-B8AA-08DC-E6FDB8A99294}"/>
                  </a:ext>
                </a:extLst>
              </p:cNvPr>
              <p:cNvSpPr/>
              <p:nvPr/>
            </p:nvSpPr>
            <p:spPr>
              <a:xfrm>
                <a:off x="5556510" y="3485524"/>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41" name="Freeform: Shape 10840">
                <a:extLst>
                  <a:ext uri="{FF2B5EF4-FFF2-40B4-BE49-F238E27FC236}">
                    <a16:creationId xmlns:a16="http://schemas.microsoft.com/office/drawing/2014/main" id="{523CBD1C-2911-FEF7-431F-2BC69610F881}"/>
                  </a:ext>
                </a:extLst>
              </p:cNvPr>
              <p:cNvSpPr/>
              <p:nvPr/>
            </p:nvSpPr>
            <p:spPr>
              <a:xfrm>
                <a:off x="5556510" y="3485524"/>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807" name="Freeform: Shape 10806">
              <a:extLst>
                <a:ext uri="{FF2B5EF4-FFF2-40B4-BE49-F238E27FC236}">
                  <a16:creationId xmlns:a16="http://schemas.microsoft.com/office/drawing/2014/main" id="{5B4607A8-D2E2-B739-10F6-9BE8F8810BBF}"/>
                </a:ext>
              </a:extLst>
            </p:cNvPr>
            <p:cNvSpPr/>
            <p:nvPr/>
          </p:nvSpPr>
          <p:spPr>
            <a:xfrm>
              <a:off x="7744604" y="2804045"/>
              <a:ext cx="188153" cy="129357"/>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08" name="Graphic 653">
              <a:extLst>
                <a:ext uri="{FF2B5EF4-FFF2-40B4-BE49-F238E27FC236}">
                  <a16:creationId xmlns:a16="http://schemas.microsoft.com/office/drawing/2014/main" id="{3FE0D1C6-C98C-6756-543E-E2DB9C9B4C1B}"/>
                </a:ext>
              </a:extLst>
            </p:cNvPr>
            <p:cNvGrpSpPr/>
            <p:nvPr/>
          </p:nvGrpSpPr>
          <p:grpSpPr>
            <a:xfrm>
              <a:off x="7744605" y="2804045"/>
              <a:ext cx="188153" cy="129357"/>
              <a:chOff x="5675456" y="3551330"/>
              <a:chExt cx="152929" cy="99449"/>
            </a:xfrm>
            <a:gradFill>
              <a:gsLst>
                <a:gs pos="100000">
                  <a:srgbClr val="F0F0F0"/>
                </a:gs>
                <a:gs pos="0">
                  <a:srgbClr val="D0D0D0"/>
                </a:gs>
              </a:gsLst>
              <a:lin ang="0" scaled="1"/>
            </a:gradFill>
          </p:grpSpPr>
          <p:sp>
            <p:nvSpPr>
              <p:cNvPr id="10838" name="Freeform: Shape 10837">
                <a:extLst>
                  <a:ext uri="{FF2B5EF4-FFF2-40B4-BE49-F238E27FC236}">
                    <a16:creationId xmlns:a16="http://schemas.microsoft.com/office/drawing/2014/main" id="{AD478A60-1960-D13B-EAA2-EEFAF955B8A1}"/>
                  </a:ext>
                </a:extLst>
              </p:cNvPr>
              <p:cNvSpPr/>
              <p:nvPr/>
            </p:nvSpPr>
            <p:spPr>
              <a:xfrm>
                <a:off x="5675456" y="3551330"/>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39" name="Freeform: Shape 10838">
                <a:extLst>
                  <a:ext uri="{FF2B5EF4-FFF2-40B4-BE49-F238E27FC236}">
                    <a16:creationId xmlns:a16="http://schemas.microsoft.com/office/drawing/2014/main" id="{A3157A04-D921-499F-8428-431F019CE5C3}"/>
                  </a:ext>
                </a:extLst>
              </p:cNvPr>
              <p:cNvSpPr/>
              <p:nvPr/>
            </p:nvSpPr>
            <p:spPr>
              <a:xfrm>
                <a:off x="5675456" y="3551330"/>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809" name="Freeform: Shape 10808">
              <a:extLst>
                <a:ext uri="{FF2B5EF4-FFF2-40B4-BE49-F238E27FC236}">
                  <a16:creationId xmlns:a16="http://schemas.microsoft.com/office/drawing/2014/main" id="{D74ADD2C-E53A-CFF9-D1CB-455DF4778A54}"/>
                </a:ext>
              </a:extLst>
            </p:cNvPr>
            <p:cNvSpPr/>
            <p:nvPr/>
          </p:nvSpPr>
          <p:spPr>
            <a:xfrm>
              <a:off x="7959012" y="2751722"/>
              <a:ext cx="188167" cy="129357"/>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10" name="Graphic 653">
              <a:extLst>
                <a:ext uri="{FF2B5EF4-FFF2-40B4-BE49-F238E27FC236}">
                  <a16:creationId xmlns:a16="http://schemas.microsoft.com/office/drawing/2014/main" id="{186521E8-683D-CA00-7F43-369BCBC56E9F}"/>
                </a:ext>
              </a:extLst>
            </p:cNvPr>
            <p:cNvGrpSpPr/>
            <p:nvPr/>
          </p:nvGrpSpPr>
          <p:grpSpPr>
            <a:xfrm>
              <a:off x="7959013" y="2751722"/>
              <a:ext cx="188167" cy="129357"/>
              <a:chOff x="5849725" y="3511104"/>
              <a:chExt cx="152940" cy="99449"/>
            </a:xfrm>
            <a:gradFill>
              <a:gsLst>
                <a:gs pos="100000">
                  <a:srgbClr val="F0F0F0"/>
                </a:gs>
                <a:gs pos="0">
                  <a:srgbClr val="D0D0D0"/>
                </a:gs>
              </a:gsLst>
              <a:lin ang="0" scaled="1"/>
            </a:gradFill>
          </p:grpSpPr>
          <p:sp>
            <p:nvSpPr>
              <p:cNvPr id="10836" name="Freeform: Shape 10835">
                <a:extLst>
                  <a:ext uri="{FF2B5EF4-FFF2-40B4-BE49-F238E27FC236}">
                    <a16:creationId xmlns:a16="http://schemas.microsoft.com/office/drawing/2014/main" id="{151C006B-985F-B92D-66A0-5CDE6575BADF}"/>
                  </a:ext>
                </a:extLst>
              </p:cNvPr>
              <p:cNvSpPr/>
              <p:nvPr/>
            </p:nvSpPr>
            <p:spPr>
              <a:xfrm>
                <a:off x="5849725" y="3511104"/>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37" name="Freeform: Shape 10836">
                <a:extLst>
                  <a:ext uri="{FF2B5EF4-FFF2-40B4-BE49-F238E27FC236}">
                    <a16:creationId xmlns:a16="http://schemas.microsoft.com/office/drawing/2014/main" id="{6C4362DF-4373-7783-0BE1-65F2BD4CF700}"/>
                  </a:ext>
                </a:extLst>
              </p:cNvPr>
              <p:cNvSpPr/>
              <p:nvPr/>
            </p:nvSpPr>
            <p:spPr>
              <a:xfrm>
                <a:off x="5849725" y="3511104"/>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811" name="Freeform: Shape 10810">
              <a:extLst>
                <a:ext uri="{FF2B5EF4-FFF2-40B4-BE49-F238E27FC236}">
                  <a16:creationId xmlns:a16="http://schemas.microsoft.com/office/drawing/2014/main" id="{297BA98E-899B-142B-AEB7-65F02469D7EA}"/>
                </a:ext>
              </a:extLst>
            </p:cNvPr>
            <p:cNvSpPr/>
            <p:nvPr/>
          </p:nvSpPr>
          <p:spPr>
            <a:xfrm>
              <a:off x="7812964" y="2630788"/>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12" name="Freeform: Shape 10811">
              <a:extLst>
                <a:ext uri="{FF2B5EF4-FFF2-40B4-BE49-F238E27FC236}">
                  <a16:creationId xmlns:a16="http://schemas.microsoft.com/office/drawing/2014/main" id="{AE6C967B-0C97-A138-FF98-8B3783904E7E}"/>
                </a:ext>
              </a:extLst>
            </p:cNvPr>
            <p:cNvSpPr/>
            <p:nvPr/>
          </p:nvSpPr>
          <p:spPr>
            <a:xfrm>
              <a:off x="7598557" y="2683122"/>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13" name="Freeform: Shape 10812">
              <a:extLst>
                <a:ext uri="{FF2B5EF4-FFF2-40B4-BE49-F238E27FC236}">
                  <a16:creationId xmlns:a16="http://schemas.microsoft.com/office/drawing/2014/main" id="{5B71B056-15E3-6873-DBE2-451FDDD4B781}"/>
                </a:ext>
              </a:extLst>
            </p:cNvPr>
            <p:cNvSpPr/>
            <p:nvPr/>
          </p:nvSpPr>
          <p:spPr>
            <a:xfrm>
              <a:off x="7959278" y="2716396"/>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14" name="Freeform: Shape 10813">
              <a:extLst>
                <a:ext uri="{FF2B5EF4-FFF2-40B4-BE49-F238E27FC236}">
                  <a16:creationId xmlns:a16="http://schemas.microsoft.com/office/drawing/2014/main" id="{9E8F8BA0-CA61-6738-A3FA-508954936184}"/>
                </a:ext>
              </a:extLst>
            </p:cNvPr>
            <p:cNvSpPr/>
            <p:nvPr/>
          </p:nvSpPr>
          <p:spPr>
            <a:xfrm>
              <a:off x="7744901" y="2768720"/>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15" name="Freeform: Shape 10814">
              <a:extLst>
                <a:ext uri="{FF2B5EF4-FFF2-40B4-BE49-F238E27FC236}">
                  <a16:creationId xmlns:a16="http://schemas.microsoft.com/office/drawing/2014/main" id="{C4B1DA3F-C5C4-6853-C261-B271C9142F82}"/>
                </a:ext>
              </a:extLst>
            </p:cNvPr>
            <p:cNvSpPr/>
            <p:nvPr/>
          </p:nvSpPr>
          <p:spPr>
            <a:xfrm>
              <a:off x="7363095" y="2775846"/>
              <a:ext cx="188167" cy="129348"/>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16" name="Graphic 653">
              <a:extLst>
                <a:ext uri="{FF2B5EF4-FFF2-40B4-BE49-F238E27FC236}">
                  <a16:creationId xmlns:a16="http://schemas.microsoft.com/office/drawing/2014/main" id="{D9AAE4BF-6126-0231-2D91-D763A70977A0}"/>
                </a:ext>
              </a:extLst>
            </p:cNvPr>
            <p:cNvGrpSpPr/>
            <p:nvPr/>
          </p:nvGrpSpPr>
          <p:grpSpPr>
            <a:xfrm>
              <a:off x="7363095" y="2775846"/>
              <a:ext cx="188167" cy="129343"/>
              <a:chOff x="5365368" y="3529651"/>
              <a:chExt cx="152940" cy="99438"/>
            </a:xfrm>
            <a:gradFill>
              <a:gsLst>
                <a:gs pos="100000">
                  <a:srgbClr val="F0F0F0"/>
                </a:gs>
                <a:gs pos="0">
                  <a:srgbClr val="D0D0D0"/>
                </a:gs>
              </a:gsLst>
              <a:lin ang="0" scaled="1"/>
            </a:gradFill>
          </p:grpSpPr>
          <p:sp>
            <p:nvSpPr>
              <p:cNvPr id="10834" name="Freeform: Shape 10833">
                <a:extLst>
                  <a:ext uri="{FF2B5EF4-FFF2-40B4-BE49-F238E27FC236}">
                    <a16:creationId xmlns:a16="http://schemas.microsoft.com/office/drawing/2014/main" id="{0D188AAE-B9A2-0494-1E8E-5BD48580A346}"/>
                  </a:ext>
                </a:extLst>
              </p:cNvPr>
              <p:cNvSpPr/>
              <p:nvPr/>
            </p:nvSpPr>
            <p:spPr>
              <a:xfrm>
                <a:off x="5365368" y="3529651"/>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35" name="Freeform: Shape 10834">
                <a:extLst>
                  <a:ext uri="{FF2B5EF4-FFF2-40B4-BE49-F238E27FC236}">
                    <a16:creationId xmlns:a16="http://schemas.microsoft.com/office/drawing/2014/main" id="{1FB20AB2-5FE5-B1EE-EA08-62703518D8E6}"/>
                  </a:ext>
                </a:extLst>
              </p:cNvPr>
              <p:cNvSpPr/>
              <p:nvPr/>
            </p:nvSpPr>
            <p:spPr>
              <a:xfrm>
                <a:off x="5365368" y="3529651"/>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817" name="Freeform: Shape 10816">
              <a:extLst>
                <a:ext uri="{FF2B5EF4-FFF2-40B4-BE49-F238E27FC236}">
                  <a16:creationId xmlns:a16="http://schemas.microsoft.com/office/drawing/2014/main" id="{CE58715E-D7B8-044A-7234-C9A1F79835A8}"/>
                </a:ext>
              </a:extLst>
            </p:cNvPr>
            <p:cNvSpPr/>
            <p:nvPr/>
          </p:nvSpPr>
          <p:spPr>
            <a:xfrm>
              <a:off x="7148700" y="2828169"/>
              <a:ext cx="188153" cy="129346"/>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18" name="Graphic 653">
              <a:extLst>
                <a:ext uri="{FF2B5EF4-FFF2-40B4-BE49-F238E27FC236}">
                  <a16:creationId xmlns:a16="http://schemas.microsoft.com/office/drawing/2014/main" id="{C5956F1A-7F39-AFC2-0A03-5F35EA8B86E7}"/>
                </a:ext>
              </a:extLst>
            </p:cNvPr>
            <p:cNvGrpSpPr/>
            <p:nvPr/>
          </p:nvGrpSpPr>
          <p:grpSpPr>
            <a:xfrm>
              <a:off x="7148700" y="2828169"/>
              <a:ext cx="188153" cy="129343"/>
              <a:chOff x="5191110" y="3569876"/>
              <a:chExt cx="152929" cy="99438"/>
            </a:xfrm>
            <a:gradFill>
              <a:gsLst>
                <a:gs pos="100000">
                  <a:srgbClr val="F0F0F0"/>
                </a:gs>
                <a:gs pos="0">
                  <a:srgbClr val="D0D0D0"/>
                </a:gs>
              </a:gsLst>
              <a:lin ang="0" scaled="1"/>
            </a:gradFill>
          </p:grpSpPr>
          <p:sp>
            <p:nvSpPr>
              <p:cNvPr id="10832" name="Freeform: Shape 10831">
                <a:extLst>
                  <a:ext uri="{FF2B5EF4-FFF2-40B4-BE49-F238E27FC236}">
                    <a16:creationId xmlns:a16="http://schemas.microsoft.com/office/drawing/2014/main" id="{D18F8F9F-CF68-9F7C-BF3F-FB01C9F6369D}"/>
                  </a:ext>
                </a:extLst>
              </p:cNvPr>
              <p:cNvSpPr/>
              <p:nvPr/>
            </p:nvSpPr>
            <p:spPr>
              <a:xfrm>
                <a:off x="5191110" y="3569876"/>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33" name="Freeform: Shape 10832">
                <a:extLst>
                  <a:ext uri="{FF2B5EF4-FFF2-40B4-BE49-F238E27FC236}">
                    <a16:creationId xmlns:a16="http://schemas.microsoft.com/office/drawing/2014/main" id="{5BD38515-2A68-63D3-AC0D-47AA0678067B}"/>
                  </a:ext>
                </a:extLst>
              </p:cNvPr>
              <p:cNvSpPr/>
              <p:nvPr/>
            </p:nvSpPr>
            <p:spPr>
              <a:xfrm>
                <a:off x="5191110" y="3569876"/>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819" name="Freeform: Shape 10818">
              <a:extLst>
                <a:ext uri="{FF2B5EF4-FFF2-40B4-BE49-F238E27FC236}">
                  <a16:creationId xmlns:a16="http://schemas.microsoft.com/office/drawing/2014/main" id="{BC30BE05-1A7E-7FFA-184C-45DA6DE23B35}"/>
                </a:ext>
              </a:extLst>
            </p:cNvPr>
            <p:cNvSpPr/>
            <p:nvPr/>
          </p:nvSpPr>
          <p:spPr>
            <a:xfrm>
              <a:off x="7295043" y="2913765"/>
              <a:ext cx="188180" cy="129369"/>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20" name="Graphic 653">
              <a:extLst>
                <a:ext uri="{FF2B5EF4-FFF2-40B4-BE49-F238E27FC236}">
                  <a16:creationId xmlns:a16="http://schemas.microsoft.com/office/drawing/2014/main" id="{BDE9F0F9-31E6-FD6F-EBAE-C694E747D9E2}"/>
                </a:ext>
              </a:extLst>
            </p:cNvPr>
            <p:cNvGrpSpPr/>
            <p:nvPr/>
          </p:nvGrpSpPr>
          <p:grpSpPr>
            <a:xfrm>
              <a:off x="7295043" y="2913765"/>
              <a:ext cx="188180" cy="129373"/>
              <a:chOff x="5310056" y="3635682"/>
              <a:chExt cx="152951" cy="99461"/>
            </a:xfrm>
            <a:gradFill>
              <a:gsLst>
                <a:gs pos="100000">
                  <a:srgbClr val="F0F0F0"/>
                </a:gs>
                <a:gs pos="0">
                  <a:srgbClr val="D0D0D0"/>
                </a:gs>
              </a:gsLst>
              <a:lin ang="0" scaled="1"/>
            </a:gradFill>
          </p:grpSpPr>
          <p:sp>
            <p:nvSpPr>
              <p:cNvPr id="10830" name="Freeform: Shape 10829">
                <a:extLst>
                  <a:ext uri="{FF2B5EF4-FFF2-40B4-BE49-F238E27FC236}">
                    <a16:creationId xmlns:a16="http://schemas.microsoft.com/office/drawing/2014/main" id="{1AAAA6EB-0034-9FF5-2DA7-C2884EEFD519}"/>
                  </a:ext>
                </a:extLst>
              </p:cNvPr>
              <p:cNvSpPr/>
              <p:nvPr/>
            </p:nvSpPr>
            <p:spPr>
              <a:xfrm>
                <a:off x="5310056" y="3635682"/>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31" name="Freeform: Shape 10830">
                <a:extLst>
                  <a:ext uri="{FF2B5EF4-FFF2-40B4-BE49-F238E27FC236}">
                    <a16:creationId xmlns:a16="http://schemas.microsoft.com/office/drawing/2014/main" id="{FFBB11D8-AA31-B85E-FBAB-FBF1D1E6D7EE}"/>
                  </a:ext>
                </a:extLst>
              </p:cNvPr>
              <p:cNvSpPr/>
              <p:nvPr/>
            </p:nvSpPr>
            <p:spPr>
              <a:xfrm>
                <a:off x="5310056" y="3635682"/>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821" name="Freeform: Shape 10820">
              <a:extLst>
                <a:ext uri="{FF2B5EF4-FFF2-40B4-BE49-F238E27FC236}">
                  <a16:creationId xmlns:a16="http://schemas.microsoft.com/office/drawing/2014/main" id="{4B68EFBF-46CE-D2A8-6017-84FFBA908FF1}"/>
                </a:ext>
              </a:extLst>
            </p:cNvPr>
            <p:cNvSpPr/>
            <p:nvPr/>
          </p:nvSpPr>
          <p:spPr>
            <a:xfrm>
              <a:off x="7509451" y="2861457"/>
              <a:ext cx="188167" cy="129343"/>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22" name="Graphic 653">
              <a:extLst>
                <a:ext uri="{FF2B5EF4-FFF2-40B4-BE49-F238E27FC236}">
                  <a16:creationId xmlns:a16="http://schemas.microsoft.com/office/drawing/2014/main" id="{3AC9771F-3888-B2FC-EF8B-18D4194B63DB}"/>
                </a:ext>
              </a:extLst>
            </p:cNvPr>
            <p:cNvGrpSpPr/>
            <p:nvPr/>
          </p:nvGrpSpPr>
          <p:grpSpPr>
            <a:xfrm>
              <a:off x="7509451" y="2861457"/>
              <a:ext cx="188167" cy="129343"/>
              <a:chOff x="5484325" y="3595468"/>
              <a:chExt cx="152940" cy="99438"/>
            </a:xfrm>
            <a:gradFill>
              <a:gsLst>
                <a:gs pos="100000">
                  <a:srgbClr val="F0F0F0"/>
                </a:gs>
                <a:gs pos="0">
                  <a:srgbClr val="D0D0D0"/>
                </a:gs>
              </a:gsLst>
              <a:lin ang="0" scaled="1"/>
            </a:gradFill>
          </p:grpSpPr>
          <p:sp>
            <p:nvSpPr>
              <p:cNvPr id="10828" name="Freeform: Shape 10827">
                <a:extLst>
                  <a:ext uri="{FF2B5EF4-FFF2-40B4-BE49-F238E27FC236}">
                    <a16:creationId xmlns:a16="http://schemas.microsoft.com/office/drawing/2014/main" id="{3E842488-F3E0-2175-72F1-1EF0E5A6FF26}"/>
                  </a:ext>
                </a:extLst>
              </p:cNvPr>
              <p:cNvSpPr/>
              <p:nvPr/>
            </p:nvSpPr>
            <p:spPr>
              <a:xfrm>
                <a:off x="5484325" y="3595468"/>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29" name="Freeform: Shape 10828">
                <a:extLst>
                  <a:ext uri="{FF2B5EF4-FFF2-40B4-BE49-F238E27FC236}">
                    <a16:creationId xmlns:a16="http://schemas.microsoft.com/office/drawing/2014/main" id="{68BBF431-F8AD-3206-3116-FB5FB4558D3B}"/>
                  </a:ext>
                </a:extLst>
              </p:cNvPr>
              <p:cNvSpPr/>
              <p:nvPr/>
            </p:nvSpPr>
            <p:spPr>
              <a:xfrm>
                <a:off x="5484325" y="3595468"/>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823" name="Freeform: Shape 10822">
              <a:extLst>
                <a:ext uri="{FF2B5EF4-FFF2-40B4-BE49-F238E27FC236}">
                  <a16:creationId xmlns:a16="http://schemas.microsoft.com/office/drawing/2014/main" id="{3228765D-00DD-7583-83C0-EEFF089B262B}"/>
                </a:ext>
              </a:extLst>
            </p:cNvPr>
            <p:cNvSpPr/>
            <p:nvPr/>
          </p:nvSpPr>
          <p:spPr>
            <a:xfrm>
              <a:off x="7363414" y="2740516"/>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24" name="Freeform: Shape 10823">
              <a:extLst>
                <a:ext uri="{FF2B5EF4-FFF2-40B4-BE49-F238E27FC236}">
                  <a16:creationId xmlns:a16="http://schemas.microsoft.com/office/drawing/2014/main" id="{5DB2FA95-F7AC-FBD8-CC80-B94C6B492CBB}"/>
                </a:ext>
              </a:extLst>
            </p:cNvPr>
            <p:cNvSpPr/>
            <p:nvPr/>
          </p:nvSpPr>
          <p:spPr>
            <a:xfrm>
              <a:off x="7149014" y="2792842"/>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25" name="Freeform: Shape 10824">
              <a:extLst>
                <a:ext uri="{FF2B5EF4-FFF2-40B4-BE49-F238E27FC236}">
                  <a16:creationId xmlns:a16="http://schemas.microsoft.com/office/drawing/2014/main" id="{4334529B-3872-165B-E3D5-FDA1B268225E}"/>
                </a:ext>
              </a:extLst>
            </p:cNvPr>
            <p:cNvSpPr/>
            <p:nvPr/>
          </p:nvSpPr>
          <p:spPr>
            <a:xfrm>
              <a:off x="7509748" y="2826125"/>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26" name="Freeform: Shape 10825">
              <a:extLst>
                <a:ext uri="{FF2B5EF4-FFF2-40B4-BE49-F238E27FC236}">
                  <a16:creationId xmlns:a16="http://schemas.microsoft.com/office/drawing/2014/main" id="{E18E6303-F9D5-7B91-ADAD-8A473870B66C}"/>
                </a:ext>
              </a:extLst>
            </p:cNvPr>
            <p:cNvSpPr/>
            <p:nvPr/>
          </p:nvSpPr>
          <p:spPr>
            <a:xfrm>
              <a:off x="7295348" y="2878449"/>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27" name="RectangleLegend2">
              <a:extLst>
                <a:ext uri="{FF2B5EF4-FFF2-40B4-BE49-F238E27FC236}">
                  <a16:creationId xmlns:a16="http://schemas.microsoft.com/office/drawing/2014/main" id="{4A0CDE53-1730-39E0-A5F1-2C396C692E1B}"/>
                </a:ext>
              </a:extLst>
            </p:cNvPr>
            <p:cNvSpPr>
              <a:spLocks/>
            </p:cNvSpPr>
            <p:nvPr/>
          </p:nvSpPr>
          <p:spPr>
            <a:xfrm>
              <a:off x="7089331" y="3004198"/>
              <a:ext cx="1402645" cy="210495"/>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ES &amp; Process</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utomation</a:t>
              </a:r>
            </a:p>
          </p:txBody>
        </p:sp>
      </p:grpSp>
      <p:grpSp>
        <p:nvGrpSpPr>
          <p:cNvPr id="10845" name="Group 10844">
            <a:extLst>
              <a:ext uri="{FF2B5EF4-FFF2-40B4-BE49-F238E27FC236}">
                <a16:creationId xmlns:a16="http://schemas.microsoft.com/office/drawing/2014/main" id="{02994918-FC09-A57B-2F4A-A290E36DEDB9}"/>
              </a:ext>
            </a:extLst>
          </p:cNvPr>
          <p:cNvGrpSpPr/>
          <p:nvPr/>
        </p:nvGrpSpPr>
        <p:grpSpPr>
          <a:xfrm>
            <a:off x="3367322" y="4585991"/>
            <a:ext cx="1572602" cy="801690"/>
            <a:chOff x="6452087" y="3417415"/>
            <a:chExt cx="1442064" cy="735143"/>
          </a:xfrm>
        </p:grpSpPr>
        <p:sp>
          <p:nvSpPr>
            <p:cNvPr id="10846" name="Freeform: Shape 10845">
              <a:extLst>
                <a:ext uri="{FF2B5EF4-FFF2-40B4-BE49-F238E27FC236}">
                  <a16:creationId xmlns:a16="http://schemas.microsoft.com/office/drawing/2014/main" id="{4E39BA23-6EDB-11D3-D338-497FC3F5DEC4}"/>
                </a:ext>
              </a:extLst>
            </p:cNvPr>
            <p:cNvSpPr/>
            <p:nvPr/>
          </p:nvSpPr>
          <p:spPr>
            <a:xfrm>
              <a:off x="6454467" y="3698333"/>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8D982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47" name="Freeform: Shape 10846">
              <a:extLst>
                <a:ext uri="{FF2B5EF4-FFF2-40B4-BE49-F238E27FC236}">
                  <a16:creationId xmlns:a16="http://schemas.microsoft.com/office/drawing/2014/main" id="{DCFA40A9-34BA-2556-BC86-A4ABC1CE613A}"/>
                </a:ext>
              </a:extLst>
            </p:cNvPr>
            <p:cNvSpPr/>
            <p:nvPr/>
          </p:nvSpPr>
          <p:spPr>
            <a:xfrm>
              <a:off x="6452102" y="3695824"/>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B900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48" name="Freeform: Shape 10847">
              <a:extLst>
                <a:ext uri="{FF2B5EF4-FFF2-40B4-BE49-F238E27FC236}">
                  <a16:creationId xmlns:a16="http://schemas.microsoft.com/office/drawing/2014/main" id="{CBA70D4B-6636-4D70-973B-B33DDF748B81}"/>
                </a:ext>
              </a:extLst>
            </p:cNvPr>
            <p:cNvSpPr/>
            <p:nvPr/>
          </p:nvSpPr>
          <p:spPr>
            <a:xfrm>
              <a:off x="6746652" y="3650364"/>
              <a:ext cx="900013" cy="499693"/>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BECE33"/>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49" name="Freeform: Shape 10848">
              <a:extLst>
                <a:ext uri="{FF2B5EF4-FFF2-40B4-BE49-F238E27FC236}">
                  <a16:creationId xmlns:a16="http://schemas.microsoft.com/office/drawing/2014/main" id="{45E99997-62AA-1073-D2FC-098D129E2454}"/>
                </a:ext>
              </a:extLst>
            </p:cNvPr>
            <p:cNvSpPr/>
            <p:nvPr/>
          </p:nvSpPr>
          <p:spPr>
            <a:xfrm>
              <a:off x="6744286" y="3647847"/>
              <a:ext cx="904715" cy="504711"/>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50" name="Freeform: Shape 10849">
              <a:extLst>
                <a:ext uri="{FF2B5EF4-FFF2-40B4-BE49-F238E27FC236}">
                  <a16:creationId xmlns:a16="http://schemas.microsoft.com/office/drawing/2014/main" id="{482154B5-04A0-B3C3-33F6-097EF950722B}"/>
                </a:ext>
              </a:extLst>
            </p:cNvPr>
            <p:cNvSpPr/>
            <p:nvPr/>
          </p:nvSpPr>
          <p:spPr>
            <a:xfrm>
              <a:off x="6454467" y="3478877"/>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51" name="Freeform: Shape 10850">
              <a:extLst>
                <a:ext uri="{FF2B5EF4-FFF2-40B4-BE49-F238E27FC236}">
                  <a16:creationId xmlns:a16="http://schemas.microsoft.com/office/drawing/2014/main" id="{11710D2E-7688-2E43-FB96-C9E895EBEB19}"/>
                </a:ext>
              </a:extLst>
            </p:cNvPr>
            <p:cNvSpPr/>
            <p:nvPr/>
          </p:nvSpPr>
          <p:spPr>
            <a:xfrm>
              <a:off x="6452087" y="3476420"/>
              <a:ext cx="1196920" cy="395841"/>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FFE9BA"/>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52" name="Graphic 648">
              <a:extLst>
                <a:ext uri="{FF2B5EF4-FFF2-40B4-BE49-F238E27FC236}">
                  <a16:creationId xmlns:a16="http://schemas.microsoft.com/office/drawing/2014/main" id="{70542D17-39BF-E3ED-38C5-A5A72F953B6C}"/>
                </a:ext>
              </a:extLst>
            </p:cNvPr>
            <p:cNvGrpSpPr/>
            <p:nvPr/>
          </p:nvGrpSpPr>
          <p:grpSpPr>
            <a:xfrm>
              <a:off x="7214607" y="3452738"/>
              <a:ext cx="188167" cy="129346"/>
              <a:chOff x="5076275" y="4141580"/>
              <a:chExt cx="152940" cy="99440"/>
            </a:xfrm>
            <a:gradFill>
              <a:gsLst>
                <a:gs pos="100000">
                  <a:srgbClr val="D0DB67"/>
                </a:gs>
                <a:gs pos="0">
                  <a:srgbClr val="BECE33"/>
                </a:gs>
              </a:gsLst>
              <a:lin ang="0" scaled="1"/>
            </a:gradFill>
          </p:grpSpPr>
          <p:sp>
            <p:nvSpPr>
              <p:cNvPr id="10897" name="Freeform: Shape 10896">
                <a:extLst>
                  <a:ext uri="{FF2B5EF4-FFF2-40B4-BE49-F238E27FC236}">
                    <a16:creationId xmlns:a16="http://schemas.microsoft.com/office/drawing/2014/main" id="{615F76BF-E328-D2D5-B446-113173F167AF}"/>
                  </a:ext>
                </a:extLst>
              </p:cNvPr>
              <p:cNvSpPr/>
              <p:nvPr/>
            </p:nvSpPr>
            <p:spPr>
              <a:xfrm>
                <a:off x="5076275" y="414158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98" name="Graphic 648">
                <a:extLst>
                  <a:ext uri="{FF2B5EF4-FFF2-40B4-BE49-F238E27FC236}">
                    <a16:creationId xmlns:a16="http://schemas.microsoft.com/office/drawing/2014/main" id="{41F63C98-F007-D5AC-38CD-34A0C0377174}"/>
                  </a:ext>
                </a:extLst>
              </p:cNvPr>
              <p:cNvGrpSpPr/>
              <p:nvPr/>
            </p:nvGrpSpPr>
            <p:grpSpPr>
              <a:xfrm>
                <a:off x="5076275" y="4141580"/>
                <a:ext cx="152940" cy="99438"/>
                <a:chOff x="5076275" y="4141580"/>
                <a:chExt cx="152940" cy="99438"/>
              </a:xfrm>
              <a:grpFill/>
            </p:grpSpPr>
            <p:sp>
              <p:nvSpPr>
                <p:cNvPr id="10899" name="Freeform: Shape 10898">
                  <a:extLst>
                    <a:ext uri="{FF2B5EF4-FFF2-40B4-BE49-F238E27FC236}">
                      <a16:creationId xmlns:a16="http://schemas.microsoft.com/office/drawing/2014/main" id="{271815F2-5AE5-57EC-78F7-7F7C61A9797C}"/>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00" name="Freeform: Shape 10899">
                  <a:extLst>
                    <a:ext uri="{FF2B5EF4-FFF2-40B4-BE49-F238E27FC236}">
                      <a16:creationId xmlns:a16="http://schemas.microsoft.com/office/drawing/2014/main" id="{18B9F579-5CB3-2D7C-DDB8-7EA32483167C}"/>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853" name="Graphic 648">
              <a:extLst>
                <a:ext uri="{FF2B5EF4-FFF2-40B4-BE49-F238E27FC236}">
                  <a16:creationId xmlns:a16="http://schemas.microsoft.com/office/drawing/2014/main" id="{EBE633EA-A723-D5BE-7C63-640276836012}"/>
                </a:ext>
              </a:extLst>
            </p:cNvPr>
            <p:cNvGrpSpPr/>
            <p:nvPr/>
          </p:nvGrpSpPr>
          <p:grpSpPr>
            <a:xfrm>
              <a:off x="7000240" y="3505075"/>
              <a:ext cx="188153" cy="129335"/>
              <a:chOff x="4902040" y="4181817"/>
              <a:chExt cx="152929" cy="99432"/>
            </a:xfrm>
            <a:gradFill>
              <a:gsLst>
                <a:gs pos="100000">
                  <a:srgbClr val="D0DB67"/>
                </a:gs>
                <a:gs pos="0">
                  <a:srgbClr val="BECE33"/>
                </a:gs>
              </a:gsLst>
              <a:lin ang="0" scaled="1"/>
            </a:gradFill>
          </p:grpSpPr>
          <p:sp>
            <p:nvSpPr>
              <p:cNvPr id="10893" name="Freeform: Shape 10892">
                <a:extLst>
                  <a:ext uri="{FF2B5EF4-FFF2-40B4-BE49-F238E27FC236}">
                    <a16:creationId xmlns:a16="http://schemas.microsoft.com/office/drawing/2014/main" id="{F0467E26-ADB2-2CFA-C0C8-C085720C7E76}"/>
                  </a:ext>
                </a:extLst>
              </p:cNvPr>
              <p:cNvSpPr/>
              <p:nvPr/>
            </p:nvSpPr>
            <p:spPr>
              <a:xfrm>
                <a:off x="4902040" y="418181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94" name="Graphic 648">
                <a:extLst>
                  <a:ext uri="{FF2B5EF4-FFF2-40B4-BE49-F238E27FC236}">
                    <a16:creationId xmlns:a16="http://schemas.microsoft.com/office/drawing/2014/main" id="{1E97F7F2-E8A5-89E2-A71E-75BBAC4452B8}"/>
                  </a:ext>
                </a:extLst>
              </p:cNvPr>
              <p:cNvGrpSpPr/>
              <p:nvPr/>
            </p:nvGrpSpPr>
            <p:grpSpPr>
              <a:xfrm>
                <a:off x="4902041" y="4181817"/>
                <a:ext cx="152929" cy="99427"/>
                <a:chOff x="4902041" y="4181817"/>
                <a:chExt cx="152929" cy="99427"/>
              </a:xfrm>
              <a:grpFill/>
            </p:grpSpPr>
            <p:sp>
              <p:nvSpPr>
                <p:cNvPr id="10895" name="Freeform: Shape 10894">
                  <a:extLst>
                    <a:ext uri="{FF2B5EF4-FFF2-40B4-BE49-F238E27FC236}">
                      <a16:creationId xmlns:a16="http://schemas.microsoft.com/office/drawing/2014/main" id="{B00126FD-D0B5-2930-1153-9AED6F7E0644}"/>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96" name="Freeform: Shape 10895">
                  <a:extLst>
                    <a:ext uri="{FF2B5EF4-FFF2-40B4-BE49-F238E27FC236}">
                      <a16:creationId xmlns:a16="http://schemas.microsoft.com/office/drawing/2014/main" id="{3D12256A-EA7D-71C6-FCD2-3D7B0F180D6E}"/>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854" name="Graphic 648">
              <a:extLst>
                <a:ext uri="{FF2B5EF4-FFF2-40B4-BE49-F238E27FC236}">
                  <a16:creationId xmlns:a16="http://schemas.microsoft.com/office/drawing/2014/main" id="{4FF363AC-581A-2774-A320-BC8A21B0D19A}"/>
                </a:ext>
              </a:extLst>
            </p:cNvPr>
            <p:cNvGrpSpPr/>
            <p:nvPr/>
          </p:nvGrpSpPr>
          <p:grpSpPr>
            <a:xfrm>
              <a:off x="7146583" y="3590672"/>
              <a:ext cx="188153" cy="129357"/>
              <a:chOff x="5020986" y="4247623"/>
              <a:chExt cx="152929" cy="99449"/>
            </a:xfrm>
            <a:gradFill>
              <a:gsLst>
                <a:gs pos="100000">
                  <a:srgbClr val="D0DB67"/>
                </a:gs>
                <a:gs pos="0">
                  <a:srgbClr val="BECE33"/>
                </a:gs>
              </a:gsLst>
              <a:lin ang="0" scaled="1"/>
            </a:gradFill>
          </p:grpSpPr>
          <p:sp>
            <p:nvSpPr>
              <p:cNvPr id="10889" name="Freeform: Shape 10888">
                <a:extLst>
                  <a:ext uri="{FF2B5EF4-FFF2-40B4-BE49-F238E27FC236}">
                    <a16:creationId xmlns:a16="http://schemas.microsoft.com/office/drawing/2014/main" id="{48D9A77D-6376-2AB5-FDA0-B93D60B921C5}"/>
                  </a:ext>
                </a:extLst>
              </p:cNvPr>
              <p:cNvSpPr/>
              <p:nvPr/>
            </p:nvSpPr>
            <p:spPr>
              <a:xfrm>
                <a:off x="5020986" y="424762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90" name="Graphic 648">
                <a:extLst>
                  <a:ext uri="{FF2B5EF4-FFF2-40B4-BE49-F238E27FC236}">
                    <a16:creationId xmlns:a16="http://schemas.microsoft.com/office/drawing/2014/main" id="{0E5C3E05-DE0C-BB13-8B86-85B511B984BB}"/>
                  </a:ext>
                </a:extLst>
              </p:cNvPr>
              <p:cNvGrpSpPr/>
              <p:nvPr/>
            </p:nvGrpSpPr>
            <p:grpSpPr>
              <a:xfrm>
                <a:off x="5020987" y="4247623"/>
                <a:ext cx="152929" cy="99449"/>
                <a:chOff x="5020987" y="4247623"/>
                <a:chExt cx="152929" cy="99449"/>
              </a:xfrm>
              <a:grpFill/>
            </p:grpSpPr>
            <p:sp>
              <p:nvSpPr>
                <p:cNvPr id="10891" name="Freeform: Shape 10890">
                  <a:extLst>
                    <a:ext uri="{FF2B5EF4-FFF2-40B4-BE49-F238E27FC236}">
                      <a16:creationId xmlns:a16="http://schemas.microsoft.com/office/drawing/2014/main" id="{A60BEE1E-6225-8A26-7DEA-4BC13AA23400}"/>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92" name="Freeform: Shape 10891">
                  <a:extLst>
                    <a:ext uri="{FF2B5EF4-FFF2-40B4-BE49-F238E27FC236}">
                      <a16:creationId xmlns:a16="http://schemas.microsoft.com/office/drawing/2014/main" id="{879696E2-261C-21BE-9F55-A3E42B6073D7}"/>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855" name="Graphic 648">
              <a:extLst>
                <a:ext uri="{FF2B5EF4-FFF2-40B4-BE49-F238E27FC236}">
                  <a16:creationId xmlns:a16="http://schemas.microsoft.com/office/drawing/2014/main" id="{37995030-BEC6-CF7E-A218-EE6246F5504D}"/>
                </a:ext>
              </a:extLst>
            </p:cNvPr>
            <p:cNvGrpSpPr/>
            <p:nvPr/>
          </p:nvGrpSpPr>
          <p:grpSpPr>
            <a:xfrm>
              <a:off x="7360991" y="3538348"/>
              <a:ext cx="188167" cy="129357"/>
              <a:chOff x="5195255" y="4207397"/>
              <a:chExt cx="152940" cy="99449"/>
            </a:xfrm>
            <a:gradFill>
              <a:gsLst>
                <a:gs pos="100000">
                  <a:srgbClr val="D0DB67"/>
                </a:gs>
                <a:gs pos="0">
                  <a:srgbClr val="BECE33"/>
                </a:gs>
              </a:gsLst>
              <a:lin ang="0" scaled="1"/>
            </a:gradFill>
          </p:grpSpPr>
          <p:sp>
            <p:nvSpPr>
              <p:cNvPr id="10885" name="Freeform: Shape 10884">
                <a:extLst>
                  <a:ext uri="{FF2B5EF4-FFF2-40B4-BE49-F238E27FC236}">
                    <a16:creationId xmlns:a16="http://schemas.microsoft.com/office/drawing/2014/main" id="{44D54056-2716-7EF2-EBB9-C8556D2D4033}"/>
                  </a:ext>
                </a:extLst>
              </p:cNvPr>
              <p:cNvSpPr/>
              <p:nvPr/>
            </p:nvSpPr>
            <p:spPr>
              <a:xfrm>
                <a:off x="5195255" y="420739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86" name="Graphic 648">
                <a:extLst>
                  <a:ext uri="{FF2B5EF4-FFF2-40B4-BE49-F238E27FC236}">
                    <a16:creationId xmlns:a16="http://schemas.microsoft.com/office/drawing/2014/main" id="{D112C6E5-426B-05AD-93F1-F31C72424E05}"/>
                  </a:ext>
                </a:extLst>
              </p:cNvPr>
              <p:cNvGrpSpPr/>
              <p:nvPr/>
            </p:nvGrpSpPr>
            <p:grpSpPr>
              <a:xfrm>
                <a:off x="5195256" y="4207397"/>
                <a:ext cx="152940" cy="99449"/>
                <a:chOff x="5195256" y="4207397"/>
                <a:chExt cx="152940" cy="99449"/>
              </a:xfrm>
              <a:grpFill/>
            </p:grpSpPr>
            <p:sp>
              <p:nvSpPr>
                <p:cNvPr id="10887" name="Freeform: Shape 10886">
                  <a:extLst>
                    <a:ext uri="{FF2B5EF4-FFF2-40B4-BE49-F238E27FC236}">
                      <a16:creationId xmlns:a16="http://schemas.microsoft.com/office/drawing/2014/main" id="{7BD3F4C9-2037-E9D9-7508-0B14E8F7946F}"/>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88" name="Freeform: Shape 10887">
                  <a:extLst>
                    <a:ext uri="{FF2B5EF4-FFF2-40B4-BE49-F238E27FC236}">
                      <a16:creationId xmlns:a16="http://schemas.microsoft.com/office/drawing/2014/main" id="{61488D8C-758E-E446-4F5E-F9E1F071F46E}"/>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856" name="Freeform: Shape 10855">
              <a:extLst>
                <a:ext uri="{FF2B5EF4-FFF2-40B4-BE49-F238E27FC236}">
                  <a16:creationId xmlns:a16="http://schemas.microsoft.com/office/drawing/2014/main" id="{7E099649-0E83-71CF-974F-FF7830DCF73B}"/>
                </a:ext>
              </a:extLst>
            </p:cNvPr>
            <p:cNvSpPr/>
            <p:nvPr/>
          </p:nvSpPr>
          <p:spPr>
            <a:xfrm>
              <a:off x="7214943" y="3417415"/>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57" name="Freeform: Shape 10856">
              <a:extLst>
                <a:ext uri="{FF2B5EF4-FFF2-40B4-BE49-F238E27FC236}">
                  <a16:creationId xmlns:a16="http://schemas.microsoft.com/office/drawing/2014/main" id="{0482B171-E0FC-B332-2FDA-3F0907F00BB7}"/>
                </a:ext>
              </a:extLst>
            </p:cNvPr>
            <p:cNvSpPr/>
            <p:nvPr/>
          </p:nvSpPr>
          <p:spPr>
            <a:xfrm>
              <a:off x="7000536" y="3469749"/>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58" name="Freeform: Shape 10857">
              <a:extLst>
                <a:ext uri="{FF2B5EF4-FFF2-40B4-BE49-F238E27FC236}">
                  <a16:creationId xmlns:a16="http://schemas.microsoft.com/office/drawing/2014/main" id="{B004942F-2793-9C5D-BDFA-65D95FE8AC14}"/>
                </a:ext>
              </a:extLst>
            </p:cNvPr>
            <p:cNvSpPr/>
            <p:nvPr/>
          </p:nvSpPr>
          <p:spPr>
            <a:xfrm>
              <a:off x="7361257" y="3503023"/>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59" name="Freeform: Shape 10858">
              <a:extLst>
                <a:ext uri="{FF2B5EF4-FFF2-40B4-BE49-F238E27FC236}">
                  <a16:creationId xmlns:a16="http://schemas.microsoft.com/office/drawing/2014/main" id="{EFDB7DB4-2137-EAD8-1298-084443F6CAE0}"/>
                </a:ext>
              </a:extLst>
            </p:cNvPr>
            <p:cNvSpPr/>
            <p:nvPr/>
          </p:nvSpPr>
          <p:spPr>
            <a:xfrm>
              <a:off x="7146880" y="3555346"/>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60" name="Graphic 648">
              <a:extLst>
                <a:ext uri="{FF2B5EF4-FFF2-40B4-BE49-F238E27FC236}">
                  <a16:creationId xmlns:a16="http://schemas.microsoft.com/office/drawing/2014/main" id="{DA27EF72-B348-4AED-3D3C-8C01E18236CE}"/>
                </a:ext>
              </a:extLst>
            </p:cNvPr>
            <p:cNvGrpSpPr/>
            <p:nvPr/>
          </p:nvGrpSpPr>
          <p:grpSpPr>
            <a:xfrm>
              <a:off x="6765074" y="3562473"/>
              <a:ext cx="188167" cy="129348"/>
              <a:chOff x="4710899" y="4225944"/>
              <a:chExt cx="152940" cy="99442"/>
            </a:xfrm>
            <a:gradFill>
              <a:gsLst>
                <a:gs pos="100000">
                  <a:srgbClr val="D0DB67"/>
                </a:gs>
                <a:gs pos="0">
                  <a:srgbClr val="BECE33"/>
                </a:gs>
              </a:gsLst>
              <a:lin ang="0" scaled="1"/>
            </a:gradFill>
          </p:grpSpPr>
          <p:sp>
            <p:nvSpPr>
              <p:cNvPr id="10881" name="Freeform: Shape 10880">
                <a:extLst>
                  <a:ext uri="{FF2B5EF4-FFF2-40B4-BE49-F238E27FC236}">
                    <a16:creationId xmlns:a16="http://schemas.microsoft.com/office/drawing/2014/main" id="{2042D81E-0F3F-E021-C7B4-9036B4106B6F}"/>
                  </a:ext>
                </a:extLst>
              </p:cNvPr>
              <p:cNvSpPr/>
              <p:nvPr/>
            </p:nvSpPr>
            <p:spPr>
              <a:xfrm>
                <a:off x="4710899" y="422594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82" name="Graphic 648">
                <a:extLst>
                  <a:ext uri="{FF2B5EF4-FFF2-40B4-BE49-F238E27FC236}">
                    <a16:creationId xmlns:a16="http://schemas.microsoft.com/office/drawing/2014/main" id="{9D8868A3-566C-4089-DC90-88672A4DC48C}"/>
                  </a:ext>
                </a:extLst>
              </p:cNvPr>
              <p:cNvGrpSpPr/>
              <p:nvPr/>
            </p:nvGrpSpPr>
            <p:grpSpPr>
              <a:xfrm>
                <a:off x="4710899" y="4225944"/>
                <a:ext cx="152940" cy="99438"/>
                <a:chOff x="4710899" y="4225944"/>
                <a:chExt cx="152940" cy="99438"/>
              </a:xfrm>
              <a:grpFill/>
            </p:grpSpPr>
            <p:sp>
              <p:nvSpPr>
                <p:cNvPr id="10883" name="Freeform: Shape 10882">
                  <a:extLst>
                    <a:ext uri="{FF2B5EF4-FFF2-40B4-BE49-F238E27FC236}">
                      <a16:creationId xmlns:a16="http://schemas.microsoft.com/office/drawing/2014/main" id="{3239AC25-7634-3B81-B3B4-F55EB4B3F3DE}"/>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84" name="Freeform: Shape 10883">
                  <a:extLst>
                    <a:ext uri="{FF2B5EF4-FFF2-40B4-BE49-F238E27FC236}">
                      <a16:creationId xmlns:a16="http://schemas.microsoft.com/office/drawing/2014/main" id="{A1FC2096-54D8-0B35-BE7B-18BB9151E13E}"/>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861" name="Graphic 648">
              <a:extLst>
                <a:ext uri="{FF2B5EF4-FFF2-40B4-BE49-F238E27FC236}">
                  <a16:creationId xmlns:a16="http://schemas.microsoft.com/office/drawing/2014/main" id="{509B5A0A-3C88-9CD9-9C37-3BBE0C040CA7}"/>
                </a:ext>
              </a:extLst>
            </p:cNvPr>
            <p:cNvGrpSpPr/>
            <p:nvPr/>
          </p:nvGrpSpPr>
          <p:grpSpPr>
            <a:xfrm>
              <a:off x="6550679" y="3614795"/>
              <a:ext cx="188153" cy="129346"/>
              <a:chOff x="4536641" y="4266169"/>
              <a:chExt cx="152929" cy="99440"/>
            </a:xfrm>
            <a:gradFill>
              <a:gsLst>
                <a:gs pos="100000">
                  <a:srgbClr val="D0DB67"/>
                </a:gs>
                <a:gs pos="0">
                  <a:srgbClr val="BECE33"/>
                </a:gs>
              </a:gsLst>
              <a:lin ang="0" scaled="1"/>
            </a:gradFill>
          </p:grpSpPr>
          <p:sp>
            <p:nvSpPr>
              <p:cNvPr id="10877" name="Freeform: Shape 10876">
                <a:extLst>
                  <a:ext uri="{FF2B5EF4-FFF2-40B4-BE49-F238E27FC236}">
                    <a16:creationId xmlns:a16="http://schemas.microsoft.com/office/drawing/2014/main" id="{B5A09CF3-40A9-9837-FED2-FA843BA336A2}"/>
                  </a:ext>
                </a:extLst>
              </p:cNvPr>
              <p:cNvSpPr/>
              <p:nvPr/>
            </p:nvSpPr>
            <p:spPr>
              <a:xfrm>
                <a:off x="4536641" y="4266169"/>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78" name="Graphic 648">
                <a:extLst>
                  <a:ext uri="{FF2B5EF4-FFF2-40B4-BE49-F238E27FC236}">
                    <a16:creationId xmlns:a16="http://schemas.microsoft.com/office/drawing/2014/main" id="{66245A2C-AE16-3C02-7655-73575724A458}"/>
                  </a:ext>
                </a:extLst>
              </p:cNvPr>
              <p:cNvGrpSpPr/>
              <p:nvPr/>
            </p:nvGrpSpPr>
            <p:grpSpPr>
              <a:xfrm>
                <a:off x="4536641" y="4266169"/>
                <a:ext cx="152929" cy="99438"/>
                <a:chOff x="4536641" y="4266169"/>
                <a:chExt cx="152929" cy="99438"/>
              </a:xfrm>
              <a:grpFill/>
            </p:grpSpPr>
            <p:sp>
              <p:nvSpPr>
                <p:cNvPr id="10879" name="Freeform: Shape 10878">
                  <a:extLst>
                    <a:ext uri="{FF2B5EF4-FFF2-40B4-BE49-F238E27FC236}">
                      <a16:creationId xmlns:a16="http://schemas.microsoft.com/office/drawing/2014/main" id="{7D51C230-374F-F792-2C68-9053842D5E4E}"/>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80" name="Freeform: Shape 10879">
                  <a:extLst>
                    <a:ext uri="{FF2B5EF4-FFF2-40B4-BE49-F238E27FC236}">
                      <a16:creationId xmlns:a16="http://schemas.microsoft.com/office/drawing/2014/main" id="{7C956790-A067-D7F1-DDDA-9A7C24537846}"/>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862" name="Graphic 648">
              <a:extLst>
                <a:ext uri="{FF2B5EF4-FFF2-40B4-BE49-F238E27FC236}">
                  <a16:creationId xmlns:a16="http://schemas.microsoft.com/office/drawing/2014/main" id="{ADCA4707-B74C-322B-2946-352DA6E18133}"/>
                </a:ext>
              </a:extLst>
            </p:cNvPr>
            <p:cNvGrpSpPr/>
            <p:nvPr/>
          </p:nvGrpSpPr>
          <p:grpSpPr>
            <a:xfrm>
              <a:off x="6697022" y="3700392"/>
              <a:ext cx="188180" cy="129373"/>
              <a:chOff x="4655587" y="4331975"/>
              <a:chExt cx="152951" cy="99461"/>
            </a:xfrm>
            <a:gradFill>
              <a:gsLst>
                <a:gs pos="100000">
                  <a:srgbClr val="D0DB67"/>
                </a:gs>
                <a:gs pos="0">
                  <a:srgbClr val="BECE33"/>
                </a:gs>
              </a:gsLst>
              <a:lin ang="0" scaled="1"/>
            </a:gradFill>
          </p:grpSpPr>
          <p:sp>
            <p:nvSpPr>
              <p:cNvPr id="10873" name="Freeform: Shape 10872">
                <a:extLst>
                  <a:ext uri="{FF2B5EF4-FFF2-40B4-BE49-F238E27FC236}">
                    <a16:creationId xmlns:a16="http://schemas.microsoft.com/office/drawing/2014/main" id="{EDBFB8BA-293F-CA83-F595-DE6764904D3B}"/>
                  </a:ext>
                </a:extLst>
              </p:cNvPr>
              <p:cNvSpPr/>
              <p:nvPr/>
            </p:nvSpPr>
            <p:spPr>
              <a:xfrm>
                <a:off x="4655587" y="4331975"/>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74" name="Graphic 648">
                <a:extLst>
                  <a:ext uri="{FF2B5EF4-FFF2-40B4-BE49-F238E27FC236}">
                    <a16:creationId xmlns:a16="http://schemas.microsoft.com/office/drawing/2014/main" id="{D1D460EA-B05A-56D9-D2E3-E6ED71E59A5E}"/>
                  </a:ext>
                </a:extLst>
              </p:cNvPr>
              <p:cNvGrpSpPr/>
              <p:nvPr/>
            </p:nvGrpSpPr>
            <p:grpSpPr>
              <a:xfrm>
                <a:off x="4655587" y="4331975"/>
                <a:ext cx="152951" cy="99461"/>
                <a:chOff x="4655587" y="4331975"/>
                <a:chExt cx="152951" cy="99461"/>
              </a:xfrm>
              <a:grpFill/>
            </p:grpSpPr>
            <p:sp>
              <p:nvSpPr>
                <p:cNvPr id="10875" name="Freeform: Shape 10874">
                  <a:extLst>
                    <a:ext uri="{FF2B5EF4-FFF2-40B4-BE49-F238E27FC236}">
                      <a16:creationId xmlns:a16="http://schemas.microsoft.com/office/drawing/2014/main" id="{CFDA8634-FC4E-1F6B-2F2C-CD778E43FF92}"/>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76" name="Freeform: Shape 10875">
                  <a:extLst>
                    <a:ext uri="{FF2B5EF4-FFF2-40B4-BE49-F238E27FC236}">
                      <a16:creationId xmlns:a16="http://schemas.microsoft.com/office/drawing/2014/main" id="{A733725E-D344-51CC-5B58-3D2A4D5EF195}"/>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863" name="Graphic 648">
              <a:extLst>
                <a:ext uri="{FF2B5EF4-FFF2-40B4-BE49-F238E27FC236}">
                  <a16:creationId xmlns:a16="http://schemas.microsoft.com/office/drawing/2014/main" id="{8F13CC42-D395-E687-95C8-7D00598C4064}"/>
                </a:ext>
              </a:extLst>
            </p:cNvPr>
            <p:cNvGrpSpPr/>
            <p:nvPr/>
          </p:nvGrpSpPr>
          <p:grpSpPr>
            <a:xfrm>
              <a:off x="6911430" y="3648084"/>
              <a:ext cx="188167" cy="129343"/>
              <a:chOff x="4829856" y="4291761"/>
              <a:chExt cx="152940" cy="99438"/>
            </a:xfrm>
            <a:gradFill>
              <a:gsLst>
                <a:gs pos="100000">
                  <a:srgbClr val="D0DB67"/>
                </a:gs>
                <a:gs pos="0">
                  <a:srgbClr val="BECE33"/>
                </a:gs>
              </a:gsLst>
              <a:lin ang="0" scaled="1"/>
            </a:gradFill>
          </p:grpSpPr>
          <p:sp>
            <p:nvSpPr>
              <p:cNvPr id="10869" name="Freeform: Shape 10868">
                <a:extLst>
                  <a:ext uri="{FF2B5EF4-FFF2-40B4-BE49-F238E27FC236}">
                    <a16:creationId xmlns:a16="http://schemas.microsoft.com/office/drawing/2014/main" id="{05744584-F360-05AE-6936-DEC099DA8EFB}"/>
                  </a:ext>
                </a:extLst>
              </p:cNvPr>
              <p:cNvSpPr/>
              <p:nvPr/>
            </p:nvSpPr>
            <p:spPr>
              <a:xfrm>
                <a:off x="4829856" y="429176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870" name="Graphic 648">
                <a:extLst>
                  <a:ext uri="{FF2B5EF4-FFF2-40B4-BE49-F238E27FC236}">
                    <a16:creationId xmlns:a16="http://schemas.microsoft.com/office/drawing/2014/main" id="{33B25DC2-563F-2078-A01E-C4A1BC82C0F7}"/>
                  </a:ext>
                </a:extLst>
              </p:cNvPr>
              <p:cNvGrpSpPr/>
              <p:nvPr/>
            </p:nvGrpSpPr>
            <p:grpSpPr>
              <a:xfrm>
                <a:off x="4829856" y="4291761"/>
                <a:ext cx="152940" cy="99438"/>
                <a:chOff x="4829856" y="4291761"/>
                <a:chExt cx="152940" cy="99438"/>
              </a:xfrm>
              <a:grpFill/>
            </p:grpSpPr>
            <p:sp>
              <p:nvSpPr>
                <p:cNvPr id="10871" name="Freeform: Shape 10870">
                  <a:extLst>
                    <a:ext uri="{FF2B5EF4-FFF2-40B4-BE49-F238E27FC236}">
                      <a16:creationId xmlns:a16="http://schemas.microsoft.com/office/drawing/2014/main" id="{0A9D37E9-543B-FB16-49BE-9F3597333A0B}"/>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72" name="Freeform: Shape 10871">
                  <a:extLst>
                    <a:ext uri="{FF2B5EF4-FFF2-40B4-BE49-F238E27FC236}">
                      <a16:creationId xmlns:a16="http://schemas.microsoft.com/office/drawing/2014/main" id="{015A5D43-5EE3-D8AB-EEF3-74183FB08204}"/>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864" name="Freeform: Shape 10863">
              <a:extLst>
                <a:ext uri="{FF2B5EF4-FFF2-40B4-BE49-F238E27FC236}">
                  <a16:creationId xmlns:a16="http://schemas.microsoft.com/office/drawing/2014/main" id="{DC6A79FE-44DF-FB7C-A00E-0FC6D916B063}"/>
                </a:ext>
              </a:extLst>
            </p:cNvPr>
            <p:cNvSpPr/>
            <p:nvPr/>
          </p:nvSpPr>
          <p:spPr>
            <a:xfrm>
              <a:off x="6765393" y="3527142"/>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65" name="Freeform: Shape 10864">
              <a:extLst>
                <a:ext uri="{FF2B5EF4-FFF2-40B4-BE49-F238E27FC236}">
                  <a16:creationId xmlns:a16="http://schemas.microsoft.com/office/drawing/2014/main" id="{00F1D593-BF97-8B28-2907-2CD5C9556D1C}"/>
                </a:ext>
              </a:extLst>
            </p:cNvPr>
            <p:cNvSpPr/>
            <p:nvPr/>
          </p:nvSpPr>
          <p:spPr>
            <a:xfrm>
              <a:off x="6550993" y="3579469"/>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66" name="Freeform: Shape 10865">
              <a:extLst>
                <a:ext uri="{FF2B5EF4-FFF2-40B4-BE49-F238E27FC236}">
                  <a16:creationId xmlns:a16="http://schemas.microsoft.com/office/drawing/2014/main" id="{D913B82D-0B72-F94B-8861-BBB21D6458A9}"/>
                </a:ext>
              </a:extLst>
            </p:cNvPr>
            <p:cNvSpPr/>
            <p:nvPr/>
          </p:nvSpPr>
          <p:spPr>
            <a:xfrm>
              <a:off x="6911727" y="3612752"/>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67" name="Freeform: Shape 10866">
              <a:extLst>
                <a:ext uri="{FF2B5EF4-FFF2-40B4-BE49-F238E27FC236}">
                  <a16:creationId xmlns:a16="http://schemas.microsoft.com/office/drawing/2014/main" id="{0D2DC2F1-43F2-0629-BB84-DD03B521546B}"/>
                </a:ext>
              </a:extLst>
            </p:cNvPr>
            <p:cNvSpPr/>
            <p:nvPr/>
          </p:nvSpPr>
          <p:spPr>
            <a:xfrm>
              <a:off x="6697327" y="3665076"/>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868" name="RectangleLegend2">
              <a:extLst>
                <a:ext uri="{FF2B5EF4-FFF2-40B4-BE49-F238E27FC236}">
                  <a16:creationId xmlns:a16="http://schemas.microsoft.com/office/drawing/2014/main" id="{2FB29A48-D4C7-395A-CAD9-F77C6EF95C86}"/>
                </a:ext>
              </a:extLst>
            </p:cNvPr>
            <p:cNvSpPr>
              <a:spLocks/>
            </p:cNvSpPr>
            <p:nvPr/>
          </p:nvSpPr>
          <p:spPr>
            <a:xfrm>
              <a:off x="6491506" y="3793535"/>
              <a:ext cx="1402645" cy="225783"/>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BioNTainer</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roduction hall</a:t>
              </a:r>
            </a:p>
          </p:txBody>
        </p:sp>
      </p:grpSp>
      <p:grpSp>
        <p:nvGrpSpPr>
          <p:cNvPr id="10901" name="Group 10900">
            <a:extLst>
              <a:ext uri="{FF2B5EF4-FFF2-40B4-BE49-F238E27FC236}">
                <a16:creationId xmlns:a16="http://schemas.microsoft.com/office/drawing/2014/main" id="{5685D317-2C68-D16F-9812-316F37706BC3}"/>
              </a:ext>
            </a:extLst>
          </p:cNvPr>
          <p:cNvGrpSpPr/>
          <p:nvPr/>
        </p:nvGrpSpPr>
        <p:grpSpPr>
          <a:xfrm>
            <a:off x="2372931" y="4831682"/>
            <a:ext cx="1572602" cy="801690"/>
            <a:chOff x="6452087" y="3417415"/>
            <a:chExt cx="1442064" cy="735143"/>
          </a:xfrm>
        </p:grpSpPr>
        <p:sp>
          <p:nvSpPr>
            <p:cNvPr id="10902" name="Freeform: Shape 10901">
              <a:extLst>
                <a:ext uri="{FF2B5EF4-FFF2-40B4-BE49-F238E27FC236}">
                  <a16:creationId xmlns:a16="http://schemas.microsoft.com/office/drawing/2014/main" id="{7526AE9F-4CE3-F2BC-B964-A017CA843CA7}"/>
                </a:ext>
              </a:extLst>
            </p:cNvPr>
            <p:cNvSpPr/>
            <p:nvPr/>
          </p:nvSpPr>
          <p:spPr>
            <a:xfrm>
              <a:off x="6454467" y="3698333"/>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8D982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03" name="Freeform: Shape 10902">
              <a:extLst>
                <a:ext uri="{FF2B5EF4-FFF2-40B4-BE49-F238E27FC236}">
                  <a16:creationId xmlns:a16="http://schemas.microsoft.com/office/drawing/2014/main" id="{7D5C7D25-76DF-168A-0829-68677E043530}"/>
                </a:ext>
              </a:extLst>
            </p:cNvPr>
            <p:cNvSpPr/>
            <p:nvPr/>
          </p:nvSpPr>
          <p:spPr>
            <a:xfrm>
              <a:off x="6452102" y="3695824"/>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B900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04" name="Freeform: Shape 10903">
              <a:extLst>
                <a:ext uri="{FF2B5EF4-FFF2-40B4-BE49-F238E27FC236}">
                  <a16:creationId xmlns:a16="http://schemas.microsoft.com/office/drawing/2014/main" id="{9C9C9BB3-08B5-A371-4C7B-7A9885B0A3EB}"/>
                </a:ext>
              </a:extLst>
            </p:cNvPr>
            <p:cNvSpPr/>
            <p:nvPr/>
          </p:nvSpPr>
          <p:spPr>
            <a:xfrm>
              <a:off x="6746652" y="3650364"/>
              <a:ext cx="900013" cy="499693"/>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BECE33"/>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05" name="Freeform: Shape 10904">
              <a:extLst>
                <a:ext uri="{FF2B5EF4-FFF2-40B4-BE49-F238E27FC236}">
                  <a16:creationId xmlns:a16="http://schemas.microsoft.com/office/drawing/2014/main" id="{D588D601-F750-2F99-C3C3-C9DD80125A29}"/>
                </a:ext>
              </a:extLst>
            </p:cNvPr>
            <p:cNvSpPr/>
            <p:nvPr/>
          </p:nvSpPr>
          <p:spPr>
            <a:xfrm>
              <a:off x="6744286" y="3647847"/>
              <a:ext cx="904715" cy="504711"/>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06" name="Freeform: Shape 10905">
              <a:extLst>
                <a:ext uri="{FF2B5EF4-FFF2-40B4-BE49-F238E27FC236}">
                  <a16:creationId xmlns:a16="http://schemas.microsoft.com/office/drawing/2014/main" id="{3003E142-5B8C-ABC3-EDB5-A6EE51119156}"/>
                </a:ext>
              </a:extLst>
            </p:cNvPr>
            <p:cNvSpPr/>
            <p:nvPr/>
          </p:nvSpPr>
          <p:spPr>
            <a:xfrm>
              <a:off x="6454467" y="3478877"/>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07" name="Freeform: Shape 10906">
              <a:extLst>
                <a:ext uri="{FF2B5EF4-FFF2-40B4-BE49-F238E27FC236}">
                  <a16:creationId xmlns:a16="http://schemas.microsoft.com/office/drawing/2014/main" id="{EDFECF16-635A-C13E-70C1-5AE8FDFDF617}"/>
                </a:ext>
              </a:extLst>
            </p:cNvPr>
            <p:cNvSpPr/>
            <p:nvPr/>
          </p:nvSpPr>
          <p:spPr>
            <a:xfrm>
              <a:off x="6452087" y="3476420"/>
              <a:ext cx="1196920" cy="395841"/>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FFE9BA"/>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08" name="Graphic 648">
              <a:extLst>
                <a:ext uri="{FF2B5EF4-FFF2-40B4-BE49-F238E27FC236}">
                  <a16:creationId xmlns:a16="http://schemas.microsoft.com/office/drawing/2014/main" id="{FDE1A2A3-696D-0DFC-61B4-920466EB4C87}"/>
                </a:ext>
              </a:extLst>
            </p:cNvPr>
            <p:cNvGrpSpPr/>
            <p:nvPr/>
          </p:nvGrpSpPr>
          <p:grpSpPr>
            <a:xfrm>
              <a:off x="7214607" y="3452738"/>
              <a:ext cx="188167" cy="129346"/>
              <a:chOff x="5076275" y="4141580"/>
              <a:chExt cx="152940" cy="99440"/>
            </a:xfrm>
            <a:gradFill>
              <a:gsLst>
                <a:gs pos="100000">
                  <a:srgbClr val="D0DB67"/>
                </a:gs>
                <a:gs pos="0">
                  <a:srgbClr val="BECE33"/>
                </a:gs>
              </a:gsLst>
              <a:lin ang="0" scaled="1"/>
            </a:gradFill>
          </p:grpSpPr>
          <p:sp>
            <p:nvSpPr>
              <p:cNvPr id="10953" name="Freeform: Shape 10952">
                <a:extLst>
                  <a:ext uri="{FF2B5EF4-FFF2-40B4-BE49-F238E27FC236}">
                    <a16:creationId xmlns:a16="http://schemas.microsoft.com/office/drawing/2014/main" id="{1B51FF47-B9FB-32BC-815E-03E67EF70783}"/>
                  </a:ext>
                </a:extLst>
              </p:cNvPr>
              <p:cNvSpPr/>
              <p:nvPr/>
            </p:nvSpPr>
            <p:spPr>
              <a:xfrm>
                <a:off x="5076275" y="414158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54" name="Graphic 648">
                <a:extLst>
                  <a:ext uri="{FF2B5EF4-FFF2-40B4-BE49-F238E27FC236}">
                    <a16:creationId xmlns:a16="http://schemas.microsoft.com/office/drawing/2014/main" id="{B7A4475F-7932-23B0-CAE3-D2380A3FD280}"/>
                  </a:ext>
                </a:extLst>
              </p:cNvPr>
              <p:cNvGrpSpPr/>
              <p:nvPr/>
            </p:nvGrpSpPr>
            <p:grpSpPr>
              <a:xfrm>
                <a:off x="5076275" y="4141580"/>
                <a:ext cx="152940" cy="99438"/>
                <a:chOff x="5076275" y="4141580"/>
                <a:chExt cx="152940" cy="99438"/>
              </a:xfrm>
              <a:grpFill/>
            </p:grpSpPr>
            <p:sp>
              <p:nvSpPr>
                <p:cNvPr id="10955" name="Freeform: Shape 10954">
                  <a:extLst>
                    <a:ext uri="{FF2B5EF4-FFF2-40B4-BE49-F238E27FC236}">
                      <a16:creationId xmlns:a16="http://schemas.microsoft.com/office/drawing/2014/main" id="{DEA047D2-8B1F-DEE8-EA45-970555C1A584}"/>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56" name="Freeform: Shape 10955">
                  <a:extLst>
                    <a:ext uri="{FF2B5EF4-FFF2-40B4-BE49-F238E27FC236}">
                      <a16:creationId xmlns:a16="http://schemas.microsoft.com/office/drawing/2014/main" id="{BCCD9834-7EDF-205B-68CD-9CE60A7CEB92}"/>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09" name="Graphic 648">
              <a:extLst>
                <a:ext uri="{FF2B5EF4-FFF2-40B4-BE49-F238E27FC236}">
                  <a16:creationId xmlns:a16="http://schemas.microsoft.com/office/drawing/2014/main" id="{8067D110-EDF0-C269-A563-5E7F2A9ECA85}"/>
                </a:ext>
              </a:extLst>
            </p:cNvPr>
            <p:cNvGrpSpPr/>
            <p:nvPr/>
          </p:nvGrpSpPr>
          <p:grpSpPr>
            <a:xfrm>
              <a:off x="7000240" y="3505075"/>
              <a:ext cx="188153" cy="129335"/>
              <a:chOff x="4902040" y="4181817"/>
              <a:chExt cx="152929" cy="99432"/>
            </a:xfrm>
            <a:gradFill>
              <a:gsLst>
                <a:gs pos="100000">
                  <a:srgbClr val="D0DB67"/>
                </a:gs>
                <a:gs pos="0">
                  <a:srgbClr val="BECE33"/>
                </a:gs>
              </a:gsLst>
              <a:lin ang="0" scaled="1"/>
            </a:gradFill>
          </p:grpSpPr>
          <p:sp>
            <p:nvSpPr>
              <p:cNvPr id="10949" name="Freeform: Shape 10948">
                <a:extLst>
                  <a:ext uri="{FF2B5EF4-FFF2-40B4-BE49-F238E27FC236}">
                    <a16:creationId xmlns:a16="http://schemas.microsoft.com/office/drawing/2014/main" id="{68CF3DBC-15E6-B868-858B-D3F18C5AFE85}"/>
                  </a:ext>
                </a:extLst>
              </p:cNvPr>
              <p:cNvSpPr/>
              <p:nvPr/>
            </p:nvSpPr>
            <p:spPr>
              <a:xfrm>
                <a:off x="4902040" y="418181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50" name="Graphic 648">
                <a:extLst>
                  <a:ext uri="{FF2B5EF4-FFF2-40B4-BE49-F238E27FC236}">
                    <a16:creationId xmlns:a16="http://schemas.microsoft.com/office/drawing/2014/main" id="{DB7248B9-1B6F-4930-20CB-0DC97BAF9D4B}"/>
                  </a:ext>
                </a:extLst>
              </p:cNvPr>
              <p:cNvGrpSpPr/>
              <p:nvPr/>
            </p:nvGrpSpPr>
            <p:grpSpPr>
              <a:xfrm>
                <a:off x="4902041" y="4181817"/>
                <a:ext cx="152929" cy="99427"/>
                <a:chOff x="4902041" y="4181817"/>
                <a:chExt cx="152929" cy="99427"/>
              </a:xfrm>
              <a:grpFill/>
            </p:grpSpPr>
            <p:sp>
              <p:nvSpPr>
                <p:cNvPr id="10951" name="Freeform: Shape 10950">
                  <a:extLst>
                    <a:ext uri="{FF2B5EF4-FFF2-40B4-BE49-F238E27FC236}">
                      <a16:creationId xmlns:a16="http://schemas.microsoft.com/office/drawing/2014/main" id="{BD51623A-BD9C-AE09-0AB8-49A0148E04B3}"/>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52" name="Freeform: Shape 10951">
                  <a:extLst>
                    <a:ext uri="{FF2B5EF4-FFF2-40B4-BE49-F238E27FC236}">
                      <a16:creationId xmlns:a16="http://schemas.microsoft.com/office/drawing/2014/main" id="{9F67F225-916C-AB17-E5B8-9871EFF6B167}"/>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10" name="Graphic 648">
              <a:extLst>
                <a:ext uri="{FF2B5EF4-FFF2-40B4-BE49-F238E27FC236}">
                  <a16:creationId xmlns:a16="http://schemas.microsoft.com/office/drawing/2014/main" id="{A3DF8EDB-0382-F5C4-D203-013347B88181}"/>
                </a:ext>
              </a:extLst>
            </p:cNvPr>
            <p:cNvGrpSpPr/>
            <p:nvPr/>
          </p:nvGrpSpPr>
          <p:grpSpPr>
            <a:xfrm>
              <a:off x="7146583" y="3590672"/>
              <a:ext cx="188153" cy="129357"/>
              <a:chOff x="5020986" y="4247623"/>
              <a:chExt cx="152929" cy="99449"/>
            </a:xfrm>
            <a:gradFill>
              <a:gsLst>
                <a:gs pos="100000">
                  <a:srgbClr val="D0DB67"/>
                </a:gs>
                <a:gs pos="0">
                  <a:srgbClr val="BECE33"/>
                </a:gs>
              </a:gsLst>
              <a:lin ang="0" scaled="1"/>
            </a:gradFill>
          </p:grpSpPr>
          <p:sp>
            <p:nvSpPr>
              <p:cNvPr id="10945" name="Freeform: Shape 10944">
                <a:extLst>
                  <a:ext uri="{FF2B5EF4-FFF2-40B4-BE49-F238E27FC236}">
                    <a16:creationId xmlns:a16="http://schemas.microsoft.com/office/drawing/2014/main" id="{C65F3C03-13DE-2D5E-91DB-978937B23FAF}"/>
                  </a:ext>
                </a:extLst>
              </p:cNvPr>
              <p:cNvSpPr/>
              <p:nvPr/>
            </p:nvSpPr>
            <p:spPr>
              <a:xfrm>
                <a:off x="5020986" y="424762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46" name="Graphic 648">
                <a:extLst>
                  <a:ext uri="{FF2B5EF4-FFF2-40B4-BE49-F238E27FC236}">
                    <a16:creationId xmlns:a16="http://schemas.microsoft.com/office/drawing/2014/main" id="{4976AFC2-F40E-EE7D-F86E-7E969C73F68C}"/>
                  </a:ext>
                </a:extLst>
              </p:cNvPr>
              <p:cNvGrpSpPr/>
              <p:nvPr/>
            </p:nvGrpSpPr>
            <p:grpSpPr>
              <a:xfrm>
                <a:off x="5020987" y="4247623"/>
                <a:ext cx="152929" cy="99449"/>
                <a:chOff x="5020987" y="4247623"/>
                <a:chExt cx="152929" cy="99449"/>
              </a:xfrm>
              <a:grpFill/>
            </p:grpSpPr>
            <p:sp>
              <p:nvSpPr>
                <p:cNvPr id="10947" name="Freeform: Shape 10946">
                  <a:extLst>
                    <a:ext uri="{FF2B5EF4-FFF2-40B4-BE49-F238E27FC236}">
                      <a16:creationId xmlns:a16="http://schemas.microsoft.com/office/drawing/2014/main" id="{0C5EED63-A603-2751-B15B-780A32E5F6C2}"/>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48" name="Freeform: Shape 10947">
                  <a:extLst>
                    <a:ext uri="{FF2B5EF4-FFF2-40B4-BE49-F238E27FC236}">
                      <a16:creationId xmlns:a16="http://schemas.microsoft.com/office/drawing/2014/main" id="{B09FD8C3-246D-58D9-AA80-C564A5D9CF40}"/>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11" name="Graphic 648">
              <a:extLst>
                <a:ext uri="{FF2B5EF4-FFF2-40B4-BE49-F238E27FC236}">
                  <a16:creationId xmlns:a16="http://schemas.microsoft.com/office/drawing/2014/main" id="{899B74E5-7B38-92E0-70F3-63276FCB0327}"/>
                </a:ext>
              </a:extLst>
            </p:cNvPr>
            <p:cNvGrpSpPr/>
            <p:nvPr/>
          </p:nvGrpSpPr>
          <p:grpSpPr>
            <a:xfrm>
              <a:off x="7360991" y="3538348"/>
              <a:ext cx="188167" cy="129357"/>
              <a:chOff x="5195255" y="4207397"/>
              <a:chExt cx="152940" cy="99449"/>
            </a:xfrm>
            <a:gradFill>
              <a:gsLst>
                <a:gs pos="100000">
                  <a:srgbClr val="D0DB67"/>
                </a:gs>
                <a:gs pos="0">
                  <a:srgbClr val="BECE33"/>
                </a:gs>
              </a:gsLst>
              <a:lin ang="0" scaled="1"/>
            </a:gradFill>
          </p:grpSpPr>
          <p:sp>
            <p:nvSpPr>
              <p:cNvPr id="10941" name="Freeform: Shape 10940">
                <a:extLst>
                  <a:ext uri="{FF2B5EF4-FFF2-40B4-BE49-F238E27FC236}">
                    <a16:creationId xmlns:a16="http://schemas.microsoft.com/office/drawing/2014/main" id="{ECE9FD09-5EE6-3D0B-5AC7-667D4780581F}"/>
                  </a:ext>
                </a:extLst>
              </p:cNvPr>
              <p:cNvSpPr/>
              <p:nvPr/>
            </p:nvSpPr>
            <p:spPr>
              <a:xfrm>
                <a:off x="5195255" y="420739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42" name="Graphic 648">
                <a:extLst>
                  <a:ext uri="{FF2B5EF4-FFF2-40B4-BE49-F238E27FC236}">
                    <a16:creationId xmlns:a16="http://schemas.microsoft.com/office/drawing/2014/main" id="{06B5042D-15AB-349B-67E2-00E41FD9497D}"/>
                  </a:ext>
                </a:extLst>
              </p:cNvPr>
              <p:cNvGrpSpPr/>
              <p:nvPr/>
            </p:nvGrpSpPr>
            <p:grpSpPr>
              <a:xfrm>
                <a:off x="5195256" y="4207397"/>
                <a:ext cx="152940" cy="99449"/>
                <a:chOff x="5195256" y="4207397"/>
                <a:chExt cx="152940" cy="99449"/>
              </a:xfrm>
              <a:grpFill/>
            </p:grpSpPr>
            <p:sp>
              <p:nvSpPr>
                <p:cNvPr id="10943" name="Freeform: Shape 10942">
                  <a:extLst>
                    <a:ext uri="{FF2B5EF4-FFF2-40B4-BE49-F238E27FC236}">
                      <a16:creationId xmlns:a16="http://schemas.microsoft.com/office/drawing/2014/main" id="{DC5356A7-32D1-570A-DD71-E15B39C0C02C}"/>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44" name="Freeform: Shape 10943">
                  <a:extLst>
                    <a:ext uri="{FF2B5EF4-FFF2-40B4-BE49-F238E27FC236}">
                      <a16:creationId xmlns:a16="http://schemas.microsoft.com/office/drawing/2014/main" id="{AE81C1A6-A6C0-421B-95AD-138E7724C955}"/>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912" name="Freeform: Shape 10911">
              <a:extLst>
                <a:ext uri="{FF2B5EF4-FFF2-40B4-BE49-F238E27FC236}">
                  <a16:creationId xmlns:a16="http://schemas.microsoft.com/office/drawing/2014/main" id="{D68E0917-6E30-CB47-72EB-941E903A3C04}"/>
                </a:ext>
              </a:extLst>
            </p:cNvPr>
            <p:cNvSpPr/>
            <p:nvPr/>
          </p:nvSpPr>
          <p:spPr>
            <a:xfrm>
              <a:off x="7214943" y="3417415"/>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13" name="Freeform: Shape 10912">
              <a:extLst>
                <a:ext uri="{FF2B5EF4-FFF2-40B4-BE49-F238E27FC236}">
                  <a16:creationId xmlns:a16="http://schemas.microsoft.com/office/drawing/2014/main" id="{F5DE0B32-E007-44AE-749D-4F6B581F9444}"/>
                </a:ext>
              </a:extLst>
            </p:cNvPr>
            <p:cNvSpPr/>
            <p:nvPr/>
          </p:nvSpPr>
          <p:spPr>
            <a:xfrm>
              <a:off x="7000536" y="3469749"/>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14" name="Freeform: Shape 10913">
              <a:extLst>
                <a:ext uri="{FF2B5EF4-FFF2-40B4-BE49-F238E27FC236}">
                  <a16:creationId xmlns:a16="http://schemas.microsoft.com/office/drawing/2014/main" id="{A1FFE048-025C-A41B-67E9-4D830B985E48}"/>
                </a:ext>
              </a:extLst>
            </p:cNvPr>
            <p:cNvSpPr/>
            <p:nvPr/>
          </p:nvSpPr>
          <p:spPr>
            <a:xfrm>
              <a:off x="7361257" y="3503023"/>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15" name="Freeform: Shape 10914">
              <a:extLst>
                <a:ext uri="{FF2B5EF4-FFF2-40B4-BE49-F238E27FC236}">
                  <a16:creationId xmlns:a16="http://schemas.microsoft.com/office/drawing/2014/main" id="{B6C0A282-BEDE-0D52-FECE-51DB6AF4A4D6}"/>
                </a:ext>
              </a:extLst>
            </p:cNvPr>
            <p:cNvSpPr/>
            <p:nvPr/>
          </p:nvSpPr>
          <p:spPr>
            <a:xfrm>
              <a:off x="7146880" y="3555346"/>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16" name="Graphic 648">
              <a:extLst>
                <a:ext uri="{FF2B5EF4-FFF2-40B4-BE49-F238E27FC236}">
                  <a16:creationId xmlns:a16="http://schemas.microsoft.com/office/drawing/2014/main" id="{985521E3-7EA1-CDDE-18DD-F07CCB17D9E0}"/>
                </a:ext>
              </a:extLst>
            </p:cNvPr>
            <p:cNvGrpSpPr/>
            <p:nvPr/>
          </p:nvGrpSpPr>
          <p:grpSpPr>
            <a:xfrm>
              <a:off x="6765074" y="3562473"/>
              <a:ext cx="188167" cy="129348"/>
              <a:chOff x="4710899" y="4225944"/>
              <a:chExt cx="152940" cy="99442"/>
            </a:xfrm>
            <a:gradFill>
              <a:gsLst>
                <a:gs pos="100000">
                  <a:srgbClr val="D0DB67"/>
                </a:gs>
                <a:gs pos="0">
                  <a:srgbClr val="BECE33"/>
                </a:gs>
              </a:gsLst>
              <a:lin ang="0" scaled="1"/>
            </a:gradFill>
          </p:grpSpPr>
          <p:sp>
            <p:nvSpPr>
              <p:cNvPr id="10937" name="Freeform: Shape 10936">
                <a:extLst>
                  <a:ext uri="{FF2B5EF4-FFF2-40B4-BE49-F238E27FC236}">
                    <a16:creationId xmlns:a16="http://schemas.microsoft.com/office/drawing/2014/main" id="{3D59088A-95EF-8BF6-C3D2-C9BCCE55B95A}"/>
                  </a:ext>
                </a:extLst>
              </p:cNvPr>
              <p:cNvSpPr/>
              <p:nvPr/>
            </p:nvSpPr>
            <p:spPr>
              <a:xfrm>
                <a:off x="4710899" y="422594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38" name="Graphic 648">
                <a:extLst>
                  <a:ext uri="{FF2B5EF4-FFF2-40B4-BE49-F238E27FC236}">
                    <a16:creationId xmlns:a16="http://schemas.microsoft.com/office/drawing/2014/main" id="{E3049AB2-2315-4372-AD49-2FC1C87C3680}"/>
                  </a:ext>
                </a:extLst>
              </p:cNvPr>
              <p:cNvGrpSpPr/>
              <p:nvPr/>
            </p:nvGrpSpPr>
            <p:grpSpPr>
              <a:xfrm>
                <a:off x="4710899" y="4225944"/>
                <a:ext cx="152940" cy="99438"/>
                <a:chOff x="4710899" y="4225944"/>
                <a:chExt cx="152940" cy="99438"/>
              </a:xfrm>
              <a:grpFill/>
            </p:grpSpPr>
            <p:sp>
              <p:nvSpPr>
                <p:cNvPr id="10939" name="Freeform: Shape 10938">
                  <a:extLst>
                    <a:ext uri="{FF2B5EF4-FFF2-40B4-BE49-F238E27FC236}">
                      <a16:creationId xmlns:a16="http://schemas.microsoft.com/office/drawing/2014/main" id="{A8D655A1-B2B0-48BC-8595-70D6E50C9EF6}"/>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40" name="Freeform: Shape 10939">
                  <a:extLst>
                    <a:ext uri="{FF2B5EF4-FFF2-40B4-BE49-F238E27FC236}">
                      <a16:creationId xmlns:a16="http://schemas.microsoft.com/office/drawing/2014/main" id="{084DC523-FD21-C9FF-D178-F7E2ACD3B7AE}"/>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17" name="Graphic 648">
              <a:extLst>
                <a:ext uri="{FF2B5EF4-FFF2-40B4-BE49-F238E27FC236}">
                  <a16:creationId xmlns:a16="http://schemas.microsoft.com/office/drawing/2014/main" id="{9B948734-B72C-74F2-DD81-44AF455F6345}"/>
                </a:ext>
              </a:extLst>
            </p:cNvPr>
            <p:cNvGrpSpPr/>
            <p:nvPr/>
          </p:nvGrpSpPr>
          <p:grpSpPr>
            <a:xfrm>
              <a:off x="6550679" y="3614795"/>
              <a:ext cx="188153" cy="129346"/>
              <a:chOff x="4536641" y="4266169"/>
              <a:chExt cx="152929" cy="99440"/>
            </a:xfrm>
            <a:gradFill>
              <a:gsLst>
                <a:gs pos="100000">
                  <a:srgbClr val="D0DB67"/>
                </a:gs>
                <a:gs pos="0">
                  <a:srgbClr val="BECE33"/>
                </a:gs>
              </a:gsLst>
              <a:lin ang="0" scaled="1"/>
            </a:gradFill>
          </p:grpSpPr>
          <p:sp>
            <p:nvSpPr>
              <p:cNvPr id="10933" name="Freeform: Shape 10932">
                <a:extLst>
                  <a:ext uri="{FF2B5EF4-FFF2-40B4-BE49-F238E27FC236}">
                    <a16:creationId xmlns:a16="http://schemas.microsoft.com/office/drawing/2014/main" id="{1E43A651-282C-3918-7C35-D8864F670A32}"/>
                  </a:ext>
                </a:extLst>
              </p:cNvPr>
              <p:cNvSpPr/>
              <p:nvPr/>
            </p:nvSpPr>
            <p:spPr>
              <a:xfrm>
                <a:off x="4536641" y="4266169"/>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34" name="Graphic 648">
                <a:extLst>
                  <a:ext uri="{FF2B5EF4-FFF2-40B4-BE49-F238E27FC236}">
                    <a16:creationId xmlns:a16="http://schemas.microsoft.com/office/drawing/2014/main" id="{5CA80629-1312-91E4-114A-E0F95FD895C4}"/>
                  </a:ext>
                </a:extLst>
              </p:cNvPr>
              <p:cNvGrpSpPr/>
              <p:nvPr/>
            </p:nvGrpSpPr>
            <p:grpSpPr>
              <a:xfrm>
                <a:off x="4536641" y="4266169"/>
                <a:ext cx="152929" cy="99438"/>
                <a:chOff x="4536641" y="4266169"/>
                <a:chExt cx="152929" cy="99438"/>
              </a:xfrm>
              <a:grpFill/>
            </p:grpSpPr>
            <p:sp>
              <p:nvSpPr>
                <p:cNvPr id="10935" name="Freeform: Shape 10934">
                  <a:extLst>
                    <a:ext uri="{FF2B5EF4-FFF2-40B4-BE49-F238E27FC236}">
                      <a16:creationId xmlns:a16="http://schemas.microsoft.com/office/drawing/2014/main" id="{2BE9C01E-0069-F9E6-938E-835798064399}"/>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36" name="Freeform: Shape 10935">
                  <a:extLst>
                    <a:ext uri="{FF2B5EF4-FFF2-40B4-BE49-F238E27FC236}">
                      <a16:creationId xmlns:a16="http://schemas.microsoft.com/office/drawing/2014/main" id="{708C2577-64E0-7C62-2E9C-8CDF81019B8A}"/>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18" name="Graphic 648">
              <a:extLst>
                <a:ext uri="{FF2B5EF4-FFF2-40B4-BE49-F238E27FC236}">
                  <a16:creationId xmlns:a16="http://schemas.microsoft.com/office/drawing/2014/main" id="{96CBFA22-32FD-69B5-F14A-9EB50D93659E}"/>
                </a:ext>
              </a:extLst>
            </p:cNvPr>
            <p:cNvGrpSpPr/>
            <p:nvPr/>
          </p:nvGrpSpPr>
          <p:grpSpPr>
            <a:xfrm>
              <a:off x="6697022" y="3700392"/>
              <a:ext cx="188180" cy="129373"/>
              <a:chOff x="4655587" y="4331975"/>
              <a:chExt cx="152951" cy="99461"/>
            </a:xfrm>
            <a:gradFill>
              <a:gsLst>
                <a:gs pos="100000">
                  <a:srgbClr val="D0DB67"/>
                </a:gs>
                <a:gs pos="0">
                  <a:srgbClr val="BECE33"/>
                </a:gs>
              </a:gsLst>
              <a:lin ang="0" scaled="1"/>
            </a:gradFill>
          </p:grpSpPr>
          <p:sp>
            <p:nvSpPr>
              <p:cNvPr id="10929" name="Freeform: Shape 10928">
                <a:extLst>
                  <a:ext uri="{FF2B5EF4-FFF2-40B4-BE49-F238E27FC236}">
                    <a16:creationId xmlns:a16="http://schemas.microsoft.com/office/drawing/2014/main" id="{53F5754D-4DE1-8D96-24E1-AA246BABDCD9}"/>
                  </a:ext>
                </a:extLst>
              </p:cNvPr>
              <p:cNvSpPr/>
              <p:nvPr/>
            </p:nvSpPr>
            <p:spPr>
              <a:xfrm>
                <a:off x="4655587" y="4331975"/>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30" name="Graphic 648">
                <a:extLst>
                  <a:ext uri="{FF2B5EF4-FFF2-40B4-BE49-F238E27FC236}">
                    <a16:creationId xmlns:a16="http://schemas.microsoft.com/office/drawing/2014/main" id="{EDB644C5-C6F8-9346-E790-81CB2F5F908B}"/>
                  </a:ext>
                </a:extLst>
              </p:cNvPr>
              <p:cNvGrpSpPr/>
              <p:nvPr/>
            </p:nvGrpSpPr>
            <p:grpSpPr>
              <a:xfrm>
                <a:off x="4655587" y="4331975"/>
                <a:ext cx="152951" cy="99461"/>
                <a:chOff x="4655587" y="4331975"/>
                <a:chExt cx="152951" cy="99461"/>
              </a:xfrm>
              <a:grpFill/>
            </p:grpSpPr>
            <p:sp>
              <p:nvSpPr>
                <p:cNvPr id="10931" name="Freeform: Shape 10930">
                  <a:extLst>
                    <a:ext uri="{FF2B5EF4-FFF2-40B4-BE49-F238E27FC236}">
                      <a16:creationId xmlns:a16="http://schemas.microsoft.com/office/drawing/2014/main" id="{CB743973-F203-9F69-448B-1907BAFD3E55}"/>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32" name="Freeform: Shape 10931">
                  <a:extLst>
                    <a:ext uri="{FF2B5EF4-FFF2-40B4-BE49-F238E27FC236}">
                      <a16:creationId xmlns:a16="http://schemas.microsoft.com/office/drawing/2014/main" id="{0512B2C0-BD0A-8AEF-71EE-DD9EA0835307}"/>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19" name="Graphic 648">
              <a:extLst>
                <a:ext uri="{FF2B5EF4-FFF2-40B4-BE49-F238E27FC236}">
                  <a16:creationId xmlns:a16="http://schemas.microsoft.com/office/drawing/2014/main" id="{74886E2A-DFD3-9449-FD02-5CE0A492DD10}"/>
                </a:ext>
              </a:extLst>
            </p:cNvPr>
            <p:cNvGrpSpPr/>
            <p:nvPr/>
          </p:nvGrpSpPr>
          <p:grpSpPr>
            <a:xfrm>
              <a:off x="6911430" y="3648084"/>
              <a:ext cx="188167" cy="129343"/>
              <a:chOff x="4829856" y="4291761"/>
              <a:chExt cx="152940" cy="99438"/>
            </a:xfrm>
            <a:gradFill>
              <a:gsLst>
                <a:gs pos="100000">
                  <a:srgbClr val="D0DB67"/>
                </a:gs>
                <a:gs pos="0">
                  <a:srgbClr val="BECE33"/>
                </a:gs>
              </a:gsLst>
              <a:lin ang="0" scaled="1"/>
            </a:gradFill>
          </p:grpSpPr>
          <p:sp>
            <p:nvSpPr>
              <p:cNvPr id="10925" name="Freeform: Shape 10924">
                <a:extLst>
                  <a:ext uri="{FF2B5EF4-FFF2-40B4-BE49-F238E27FC236}">
                    <a16:creationId xmlns:a16="http://schemas.microsoft.com/office/drawing/2014/main" id="{58E703E2-2BEE-90C1-17AB-6EB18EACE473}"/>
                  </a:ext>
                </a:extLst>
              </p:cNvPr>
              <p:cNvSpPr/>
              <p:nvPr/>
            </p:nvSpPr>
            <p:spPr>
              <a:xfrm>
                <a:off x="4829856" y="429176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26" name="Graphic 648">
                <a:extLst>
                  <a:ext uri="{FF2B5EF4-FFF2-40B4-BE49-F238E27FC236}">
                    <a16:creationId xmlns:a16="http://schemas.microsoft.com/office/drawing/2014/main" id="{5EEED554-749F-F1FD-215C-51AE6E38D2C7}"/>
                  </a:ext>
                </a:extLst>
              </p:cNvPr>
              <p:cNvGrpSpPr/>
              <p:nvPr/>
            </p:nvGrpSpPr>
            <p:grpSpPr>
              <a:xfrm>
                <a:off x="4829856" y="4291761"/>
                <a:ext cx="152940" cy="99438"/>
                <a:chOff x="4829856" y="4291761"/>
                <a:chExt cx="152940" cy="99438"/>
              </a:xfrm>
              <a:grpFill/>
            </p:grpSpPr>
            <p:sp>
              <p:nvSpPr>
                <p:cNvPr id="10927" name="Freeform: Shape 10926">
                  <a:extLst>
                    <a:ext uri="{FF2B5EF4-FFF2-40B4-BE49-F238E27FC236}">
                      <a16:creationId xmlns:a16="http://schemas.microsoft.com/office/drawing/2014/main" id="{B834EA9C-8AE8-C9CE-8F67-51D2F3739FC3}"/>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28" name="Freeform: Shape 10927">
                  <a:extLst>
                    <a:ext uri="{FF2B5EF4-FFF2-40B4-BE49-F238E27FC236}">
                      <a16:creationId xmlns:a16="http://schemas.microsoft.com/office/drawing/2014/main" id="{ED737C9F-B7F7-7E55-E8CF-7FDABE5AD392}"/>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920" name="Freeform: Shape 10919">
              <a:extLst>
                <a:ext uri="{FF2B5EF4-FFF2-40B4-BE49-F238E27FC236}">
                  <a16:creationId xmlns:a16="http://schemas.microsoft.com/office/drawing/2014/main" id="{69520374-22B6-52B6-0B18-6C6E9959F964}"/>
                </a:ext>
              </a:extLst>
            </p:cNvPr>
            <p:cNvSpPr/>
            <p:nvPr/>
          </p:nvSpPr>
          <p:spPr>
            <a:xfrm>
              <a:off x="6765393" y="3527142"/>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21" name="Freeform: Shape 10920">
              <a:extLst>
                <a:ext uri="{FF2B5EF4-FFF2-40B4-BE49-F238E27FC236}">
                  <a16:creationId xmlns:a16="http://schemas.microsoft.com/office/drawing/2014/main" id="{A1EE7970-FDE0-1C42-F5BC-44CDD0E01EC7}"/>
                </a:ext>
              </a:extLst>
            </p:cNvPr>
            <p:cNvSpPr/>
            <p:nvPr/>
          </p:nvSpPr>
          <p:spPr>
            <a:xfrm>
              <a:off x="6550993" y="3579469"/>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22" name="Freeform: Shape 10921">
              <a:extLst>
                <a:ext uri="{FF2B5EF4-FFF2-40B4-BE49-F238E27FC236}">
                  <a16:creationId xmlns:a16="http://schemas.microsoft.com/office/drawing/2014/main" id="{CCF064B0-8537-F43E-E795-9EAFE0B29023}"/>
                </a:ext>
              </a:extLst>
            </p:cNvPr>
            <p:cNvSpPr/>
            <p:nvPr/>
          </p:nvSpPr>
          <p:spPr>
            <a:xfrm>
              <a:off x="6911727" y="3612752"/>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23" name="Freeform: Shape 10922">
              <a:extLst>
                <a:ext uri="{FF2B5EF4-FFF2-40B4-BE49-F238E27FC236}">
                  <a16:creationId xmlns:a16="http://schemas.microsoft.com/office/drawing/2014/main" id="{A6D9D05C-9647-73B7-0DA4-311471C48B43}"/>
                </a:ext>
              </a:extLst>
            </p:cNvPr>
            <p:cNvSpPr/>
            <p:nvPr/>
          </p:nvSpPr>
          <p:spPr>
            <a:xfrm>
              <a:off x="6697327" y="3665076"/>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24" name="RectangleLegend2">
              <a:extLst>
                <a:ext uri="{FF2B5EF4-FFF2-40B4-BE49-F238E27FC236}">
                  <a16:creationId xmlns:a16="http://schemas.microsoft.com/office/drawing/2014/main" id="{B71673C6-654C-1484-00B5-C84BF659D206}"/>
                </a:ext>
              </a:extLst>
            </p:cNvPr>
            <p:cNvSpPr>
              <a:spLocks/>
            </p:cNvSpPr>
            <p:nvPr/>
          </p:nvSpPr>
          <p:spPr>
            <a:xfrm>
              <a:off x="6491506" y="3793535"/>
              <a:ext cx="1402645" cy="225783"/>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err="1">
                  <a:ln>
                    <a:noFill/>
                  </a:ln>
                  <a:solidFill>
                    <a:srgbClr val="000000"/>
                  </a:solidFill>
                  <a:effectLst/>
                  <a:uLnTx/>
                  <a:uFillTx/>
                  <a:latin typeface="Arial" panose="020B0604020202020204"/>
                  <a:ea typeface="+mn-ea"/>
                  <a:cs typeface="+mn-cs"/>
                </a:rPr>
                <a:t>BioNTainers</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for GMP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roduction</a:t>
              </a:r>
            </a:p>
          </p:txBody>
        </p:sp>
      </p:grpSp>
      <p:grpSp>
        <p:nvGrpSpPr>
          <p:cNvPr id="10957" name="Group 10956">
            <a:extLst>
              <a:ext uri="{FF2B5EF4-FFF2-40B4-BE49-F238E27FC236}">
                <a16:creationId xmlns:a16="http://schemas.microsoft.com/office/drawing/2014/main" id="{1F16B98D-4366-10F1-CCBA-3433FF9BFB8B}"/>
              </a:ext>
            </a:extLst>
          </p:cNvPr>
          <p:cNvGrpSpPr/>
          <p:nvPr/>
        </p:nvGrpSpPr>
        <p:grpSpPr>
          <a:xfrm>
            <a:off x="3650863" y="4197545"/>
            <a:ext cx="1572602" cy="801690"/>
            <a:chOff x="6452087" y="3417415"/>
            <a:chExt cx="1442064" cy="735143"/>
          </a:xfrm>
        </p:grpSpPr>
        <p:sp>
          <p:nvSpPr>
            <p:cNvPr id="10958" name="Freeform: Shape 10957">
              <a:extLst>
                <a:ext uri="{FF2B5EF4-FFF2-40B4-BE49-F238E27FC236}">
                  <a16:creationId xmlns:a16="http://schemas.microsoft.com/office/drawing/2014/main" id="{ADAAD489-0093-1BDB-D5E1-09A5FE565CF4}"/>
                </a:ext>
              </a:extLst>
            </p:cNvPr>
            <p:cNvSpPr/>
            <p:nvPr/>
          </p:nvSpPr>
          <p:spPr>
            <a:xfrm>
              <a:off x="6454467" y="3698333"/>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8D982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59" name="Freeform: Shape 10958">
              <a:extLst>
                <a:ext uri="{FF2B5EF4-FFF2-40B4-BE49-F238E27FC236}">
                  <a16:creationId xmlns:a16="http://schemas.microsoft.com/office/drawing/2014/main" id="{40F253B1-4AFE-DB9D-F6F5-887BE2CD00A5}"/>
                </a:ext>
              </a:extLst>
            </p:cNvPr>
            <p:cNvSpPr/>
            <p:nvPr/>
          </p:nvSpPr>
          <p:spPr>
            <a:xfrm>
              <a:off x="6452102" y="3695824"/>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B900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60" name="Freeform: Shape 10959">
              <a:extLst>
                <a:ext uri="{FF2B5EF4-FFF2-40B4-BE49-F238E27FC236}">
                  <a16:creationId xmlns:a16="http://schemas.microsoft.com/office/drawing/2014/main" id="{A0DBAE6C-7399-487B-B121-21BBEEF7A4E0}"/>
                </a:ext>
              </a:extLst>
            </p:cNvPr>
            <p:cNvSpPr/>
            <p:nvPr/>
          </p:nvSpPr>
          <p:spPr>
            <a:xfrm>
              <a:off x="6746652" y="3650364"/>
              <a:ext cx="900013" cy="499693"/>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BECE33"/>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61" name="Freeform: Shape 10960">
              <a:extLst>
                <a:ext uri="{FF2B5EF4-FFF2-40B4-BE49-F238E27FC236}">
                  <a16:creationId xmlns:a16="http://schemas.microsoft.com/office/drawing/2014/main" id="{F22BBB7B-D1BD-AE58-9C05-6125F7923BD5}"/>
                </a:ext>
              </a:extLst>
            </p:cNvPr>
            <p:cNvSpPr/>
            <p:nvPr/>
          </p:nvSpPr>
          <p:spPr>
            <a:xfrm>
              <a:off x="6744286" y="3647847"/>
              <a:ext cx="904715" cy="504711"/>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62" name="Freeform: Shape 10961">
              <a:extLst>
                <a:ext uri="{FF2B5EF4-FFF2-40B4-BE49-F238E27FC236}">
                  <a16:creationId xmlns:a16="http://schemas.microsoft.com/office/drawing/2014/main" id="{A004B5D8-1994-BB58-CF2D-5CDF13948EE9}"/>
                </a:ext>
              </a:extLst>
            </p:cNvPr>
            <p:cNvSpPr/>
            <p:nvPr/>
          </p:nvSpPr>
          <p:spPr>
            <a:xfrm>
              <a:off x="6454467" y="3478877"/>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63" name="Freeform: Shape 10962">
              <a:extLst>
                <a:ext uri="{FF2B5EF4-FFF2-40B4-BE49-F238E27FC236}">
                  <a16:creationId xmlns:a16="http://schemas.microsoft.com/office/drawing/2014/main" id="{40572DF1-F0C4-DE34-5C0F-105CDE606E17}"/>
                </a:ext>
              </a:extLst>
            </p:cNvPr>
            <p:cNvSpPr/>
            <p:nvPr/>
          </p:nvSpPr>
          <p:spPr>
            <a:xfrm>
              <a:off x="6452087" y="3476420"/>
              <a:ext cx="1196920" cy="395841"/>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FFE9BA"/>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64" name="Graphic 648">
              <a:extLst>
                <a:ext uri="{FF2B5EF4-FFF2-40B4-BE49-F238E27FC236}">
                  <a16:creationId xmlns:a16="http://schemas.microsoft.com/office/drawing/2014/main" id="{AAB3B2F3-F9D0-54CC-1F35-17FBBA4F2FC1}"/>
                </a:ext>
              </a:extLst>
            </p:cNvPr>
            <p:cNvGrpSpPr/>
            <p:nvPr/>
          </p:nvGrpSpPr>
          <p:grpSpPr>
            <a:xfrm>
              <a:off x="7214607" y="3452738"/>
              <a:ext cx="188167" cy="129346"/>
              <a:chOff x="5076275" y="4141580"/>
              <a:chExt cx="152940" cy="99440"/>
            </a:xfrm>
            <a:gradFill>
              <a:gsLst>
                <a:gs pos="100000">
                  <a:srgbClr val="D0DB67"/>
                </a:gs>
                <a:gs pos="0">
                  <a:srgbClr val="BECE33"/>
                </a:gs>
              </a:gsLst>
              <a:lin ang="0" scaled="1"/>
            </a:gradFill>
          </p:grpSpPr>
          <p:sp>
            <p:nvSpPr>
              <p:cNvPr id="11009" name="Freeform: Shape 11008">
                <a:extLst>
                  <a:ext uri="{FF2B5EF4-FFF2-40B4-BE49-F238E27FC236}">
                    <a16:creationId xmlns:a16="http://schemas.microsoft.com/office/drawing/2014/main" id="{7B192C0E-FA74-9F2D-1588-E9664E234F86}"/>
                  </a:ext>
                </a:extLst>
              </p:cNvPr>
              <p:cNvSpPr/>
              <p:nvPr/>
            </p:nvSpPr>
            <p:spPr>
              <a:xfrm>
                <a:off x="5076275" y="414158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10" name="Graphic 648">
                <a:extLst>
                  <a:ext uri="{FF2B5EF4-FFF2-40B4-BE49-F238E27FC236}">
                    <a16:creationId xmlns:a16="http://schemas.microsoft.com/office/drawing/2014/main" id="{23C54936-F18B-19EF-F45F-18325D19F739}"/>
                  </a:ext>
                </a:extLst>
              </p:cNvPr>
              <p:cNvGrpSpPr/>
              <p:nvPr/>
            </p:nvGrpSpPr>
            <p:grpSpPr>
              <a:xfrm>
                <a:off x="5076275" y="4141580"/>
                <a:ext cx="152940" cy="99438"/>
                <a:chOff x="5076275" y="4141580"/>
                <a:chExt cx="152940" cy="99438"/>
              </a:xfrm>
              <a:grpFill/>
            </p:grpSpPr>
            <p:sp>
              <p:nvSpPr>
                <p:cNvPr id="11011" name="Freeform: Shape 11010">
                  <a:extLst>
                    <a:ext uri="{FF2B5EF4-FFF2-40B4-BE49-F238E27FC236}">
                      <a16:creationId xmlns:a16="http://schemas.microsoft.com/office/drawing/2014/main" id="{712B993C-F473-2C60-64BB-1BAFE35AD027}"/>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12" name="Freeform: Shape 11011">
                  <a:extLst>
                    <a:ext uri="{FF2B5EF4-FFF2-40B4-BE49-F238E27FC236}">
                      <a16:creationId xmlns:a16="http://schemas.microsoft.com/office/drawing/2014/main" id="{7CDD5515-7C22-3E56-AE26-F425777C9456}"/>
                    </a:ext>
                  </a:extLst>
                </p:cNvPr>
                <p:cNvSpPr/>
                <p:nvPr/>
              </p:nvSpPr>
              <p:spPr>
                <a:xfrm>
                  <a:off x="5076275" y="414158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65" name="Graphic 648">
              <a:extLst>
                <a:ext uri="{FF2B5EF4-FFF2-40B4-BE49-F238E27FC236}">
                  <a16:creationId xmlns:a16="http://schemas.microsoft.com/office/drawing/2014/main" id="{33989E67-6492-0E4C-C354-4E7F96A9043F}"/>
                </a:ext>
              </a:extLst>
            </p:cNvPr>
            <p:cNvGrpSpPr/>
            <p:nvPr/>
          </p:nvGrpSpPr>
          <p:grpSpPr>
            <a:xfrm>
              <a:off x="7000240" y="3505075"/>
              <a:ext cx="188153" cy="129335"/>
              <a:chOff x="4902040" y="4181817"/>
              <a:chExt cx="152929" cy="99432"/>
            </a:xfrm>
            <a:gradFill>
              <a:gsLst>
                <a:gs pos="100000">
                  <a:srgbClr val="D0DB67"/>
                </a:gs>
                <a:gs pos="0">
                  <a:srgbClr val="BECE33"/>
                </a:gs>
              </a:gsLst>
              <a:lin ang="0" scaled="1"/>
            </a:gradFill>
          </p:grpSpPr>
          <p:sp>
            <p:nvSpPr>
              <p:cNvPr id="11005" name="Freeform: Shape 11004">
                <a:extLst>
                  <a:ext uri="{FF2B5EF4-FFF2-40B4-BE49-F238E27FC236}">
                    <a16:creationId xmlns:a16="http://schemas.microsoft.com/office/drawing/2014/main" id="{7C10BEE8-B24A-A210-2AE9-0069471B155A}"/>
                  </a:ext>
                </a:extLst>
              </p:cNvPr>
              <p:cNvSpPr/>
              <p:nvPr/>
            </p:nvSpPr>
            <p:spPr>
              <a:xfrm>
                <a:off x="4902040" y="418181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06" name="Graphic 648">
                <a:extLst>
                  <a:ext uri="{FF2B5EF4-FFF2-40B4-BE49-F238E27FC236}">
                    <a16:creationId xmlns:a16="http://schemas.microsoft.com/office/drawing/2014/main" id="{0926ED20-5F02-C0C5-1D86-22125D060EAF}"/>
                  </a:ext>
                </a:extLst>
              </p:cNvPr>
              <p:cNvGrpSpPr/>
              <p:nvPr/>
            </p:nvGrpSpPr>
            <p:grpSpPr>
              <a:xfrm>
                <a:off x="4902041" y="4181817"/>
                <a:ext cx="152929" cy="99427"/>
                <a:chOff x="4902041" y="4181817"/>
                <a:chExt cx="152929" cy="99427"/>
              </a:xfrm>
              <a:grpFill/>
            </p:grpSpPr>
            <p:sp>
              <p:nvSpPr>
                <p:cNvPr id="11007" name="Freeform: Shape 11006">
                  <a:extLst>
                    <a:ext uri="{FF2B5EF4-FFF2-40B4-BE49-F238E27FC236}">
                      <a16:creationId xmlns:a16="http://schemas.microsoft.com/office/drawing/2014/main" id="{0CBFC3AE-C261-B742-5F0E-2559B31C86FF}"/>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08" name="Freeform: Shape 11007">
                  <a:extLst>
                    <a:ext uri="{FF2B5EF4-FFF2-40B4-BE49-F238E27FC236}">
                      <a16:creationId xmlns:a16="http://schemas.microsoft.com/office/drawing/2014/main" id="{AB051F53-510D-46AE-6F5B-63AF5F788EFD}"/>
                    </a:ext>
                  </a:extLst>
                </p:cNvPr>
                <p:cNvSpPr/>
                <p:nvPr/>
              </p:nvSpPr>
              <p:spPr>
                <a:xfrm>
                  <a:off x="4902041" y="418181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66" name="Graphic 648">
              <a:extLst>
                <a:ext uri="{FF2B5EF4-FFF2-40B4-BE49-F238E27FC236}">
                  <a16:creationId xmlns:a16="http://schemas.microsoft.com/office/drawing/2014/main" id="{76D88E53-B52F-B783-53E3-4D973687EB4D}"/>
                </a:ext>
              </a:extLst>
            </p:cNvPr>
            <p:cNvGrpSpPr/>
            <p:nvPr/>
          </p:nvGrpSpPr>
          <p:grpSpPr>
            <a:xfrm>
              <a:off x="7146583" y="3590672"/>
              <a:ext cx="188153" cy="129357"/>
              <a:chOff x="5020986" y="4247623"/>
              <a:chExt cx="152929" cy="99449"/>
            </a:xfrm>
            <a:gradFill>
              <a:gsLst>
                <a:gs pos="100000">
                  <a:srgbClr val="D0DB67"/>
                </a:gs>
                <a:gs pos="0">
                  <a:srgbClr val="BECE33"/>
                </a:gs>
              </a:gsLst>
              <a:lin ang="0" scaled="1"/>
            </a:gradFill>
          </p:grpSpPr>
          <p:sp>
            <p:nvSpPr>
              <p:cNvPr id="11001" name="Freeform: Shape 11000">
                <a:extLst>
                  <a:ext uri="{FF2B5EF4-FFF2-40B4-BE49-F238E27FC236}">
                    <a16:creationId xmlns:a16="http://schemas.microsoft.com/office/drawing/2014/main" id="{633EE44D-23EC-6376-5787-9DD7FEF01B69}"/>
                  </a:ext>
                </a:extLst>
              </p:cNvPr>
              <p:cNvSpPr/>
              <p:nvPr/>
            </p:nvSpPr>
            <p:spPr>
              <a:xfrm>
                <a:off x="5020986" y="424762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02" name="Graphic 648">
                <a:extLst>
                  <a:ext uri="{FF2B5EF4-FFF2-40B4-BE49-F238E27FC236}">
                    <a16:creationId xmlns:a16="http://schemas.microsoft.com/office/drawing/2014/main" id="{3A6EF108-D698-B038-FBA8-484976287896}"/>
                  </a:ext>
                </a:extLst>
              </p:cNvPr>
              <p:cNvGrpSpPr/>
              <p:nvPr/>
            </p:nvGrpSpPr>
            <p:grpSpPr>
              <a:xfrm>
                <a:off x="5020987" y="4247623"/>
                <a:ext cx="152929" cy="99449"/>
                <a:chOff x="5020987" y="4247623"/>
                <a:chExt cx="152929" cy="99449"/>
              </a:xfrm>
              <a:grpFill/>
            </p:grpSpPr>
            <p:sp>
              <p:nvSpPr>
                <p:cNvPr id="11003" name="Freeform: Shape 11002">
                  <a:extLst>
                    <a:ext uri="{FF2B5EF4-FFF2-40B4-BE49-F238E27FC236}">
                      <a16:creationId xmlns:a16="http://schemas.microsoft.com/office/drawing/2014/main" id="{4E387C73-17FF-27D6-844F-FDF0241ED19A}"/>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04" name="Freeform: Shape 11003">
                  <a:extLst>
                    <a:ext uri="{FF2B5EF4-FFF2-40B4-BE49-F238E27FC236}">
                      <a16:creationId xmlns:a16="http://schemas.microsoft.com/office/drawing/2014/main" id="{E18360BC-0BB2-8648-D34A-20C4C3999AF5}"/>
                    </a:ext>
                  </a:extLst>
                </p:cNvPr>
                <p:cNvSpPr/>
                <p:nvPr/>
              </p:nvSpPr>
              <p:spPr>
                <a:xfrm>
                  <a:off x="5020987" y="424762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67" name="Graphic 648">
              <a:extLst>
                <a:ext uri="{FF2B5EF4-FFF2-40B4-BE49-F238E27FC236}">
                  <a16:creationId xmlns:a16="http://schemas.microsoft.com/office/drawing/2014/main" id="{875D9B50-604A-CB2A-585C-2F98EB0371FB}"/>
                </a:ext>
              </a:extLst>
            </p:cNvPr>
            <p:cNvGrpSpPr/>
            <p:nvPr/>
          </p:nvGrpSpPr>
          <p:grpSpPr>
            <a:xfrm>
              <a:off x="7360991" y="3538348"/>
              <a:ext cx="188167" cy="129357"/>
              <a:chOff x="5195255" y="4207397"/>
              <a:chExt cx="152940" cy="99449"/>
            </a:xfrm>
            <a:gradFill>
              <a:gsLst>
                <a:gs pos="100000">
                  <a:srgbClr val="D0DB67"/>
                </a:gs>
                <a:gs pos="0">
                  <a:srgbClr val="BECE33"/>
                </a:gs>
              </a:gsLst>
              <a:lin ang="0" scaled="1"/>
            </a:gradFill>
          </p:grpSpPr>
          <p:sp>
            <p:nvSpPr>
              <p:cNvPr id="10997" name="Freeform: Shape 10996">
                <a:extLst>
                  <a:ext uri="{FF2B5EF4-FFF2-40B4-BE49-F238E27FC236}">
                    <a16:creationId xmlns:a16="http://schemas.microsoft.com/office/drawing/2014/main" id="{49894491-E805-502C-8DCD-DA44368C9B76}"/>
                  </a:ext>
                </a:extLst>
              </p:cNvPr>
              <p:cNvSpPr/>
              <p:nvPr/>
            </p:nvSpPr>
            <p:spPr>
              <a:xfrm>
                <a:off x="5195255" y="420739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98" name="Graphic 648">
                <a:extLst>
                  <a:ext uri="{FF2B5EF4-FFF2-40B4-BE49-F238E27FC236}">
                    <a16:creationId xmlns:a16="http://schemas.microsoft.com/office/drawing/2014/main" id="{2A3F6C6F-2300-EB71-72F4-BC2915889261}"/>
                  </a:ext>
                </a:extLst>
              </p:cNvPr>
              <p:cNvGrpSpPr/>
              <p:nvPr/>
            </p:nvGrpSpPr>
            <p:grpSpPr>
              <a:xfrm>
                <a:off x="5195256" y="4207397"/>
                <a:ext cx="152940" cy="99449"/>
                <a:chOff x="5195256" y="4207397"/>
                <a:chExt cx="152940" cy="99449"/>
              </a:xfrm>
              <a:grpFill/>
            </p:grpSpPr>
            <p:sp>
              <p:nvSpPr>
                <p:cNvPr id="10999" name="Freeform: Shape 10998">
                  <a:extLst>
                    <a:ext uri="{FF2B5EF4-FFF2-40B4-BE49-F238E27FC236}">
                      <a16:creationId xmlns:a16="http://schemas.microsoft.com/office/drawing/2014/main" id="{63308F3A-6800-4175-BB4B-90F08C2AE0EF}"/>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00" name="Freeform: Shape 10999">
                  <a:extLst>
                    <a:ext uri="{FF2B5EF4-FFF2-40B4-BE49-F238E27FC236}">
                      <a16:creationId xmlns:a16="http://schemas.microsoft.com/office/drawing/2014/main" id="{F92F6C57-F04F-58E9-8578-EF5382395F18}"/>
                    </a:ext>
                  </a:extLst>
                </p:cNvPr>
                <p:cNvSpPr/>
                <p:nvPr/>
              </p:nvSpPr>
              <p:spPr>
                <a:xfrm>
                  <a:off x="5195256" y="420739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968" name="Freeform: Shape 10967">
              <a:extLst>
                <a:ext uri="{FF2B5EF4-FFF2-40B4-BE49-F238E27FC236}">
                  <a16:creationId xmlns:a16="http://schemas.microsoft.com/office/drawing/2014/main" id="{A08D77FF-BF67-0472-DE16-C9EB6DF29432}"/>
                </a:ext>
              </a:extLst>
            </p:cNvPr>
            <p:cNvSpPr/>
            <p:nvPr/>
          </p:nvSpPr>
          <p:spPr>
            <a:xfrm>
              <a:off x="7214943" y="3417415"/>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69" name="Freeform: Shape 10968">
              <a:extLst>
                <a:ext uri="{FF2B5EF4-FFF2-40B4-BE49-F238E27FC236}">
                  <a16:creationId xmlns:a16="http://schemas.microsoft.com/office/drawing/2014/main" id="{73465879-DB2D-5539-8D93-1192765CE7AB}"/>
                </a:ext>
              </a:extLst>
            </p:cNvPr>
            <p:cNvSpPr/>
            <p:nvPr/>
          </p:nvSpPr>
          <p:spPr>
            <a:xfrm>
              <a:off x="7000536" y="3469749"/>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70" name="Freeform: Shape 10969">
              <a:extLst>
                <a:ext uri="{FF2B5EF4-FFF2-40B4-BE49-F238E27FC236}">
                  <a16:creationId xmlns:a16="http://schemas.microsoft.com/office/drawing/2014/main" id="{2D8438C7-1E01-D1DB-83F2-10F14F1E8DED}"/>
                </a:ext>
              </a:extLst>
            </p:cNvPr>
            <p:cNvSpPr/>
            <p:nvPr/>
          </p:nvSpPr>
          <p:spPr>
            <a:xfrm>
              <a:off x="7361257" y="3503023"/>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71" name="Freeform: Shape 10970">
              <a:extLst>
                <a:ext uri="{FF2B5EF4-FFF2-40B4-BE49-F238E27FC236}">
                  <a16:creationId xmlns:a16="http://schemas.microsoft.com/office/drawing/2014/main" id="{44470BBE-8168-E9DF-2B95-B0F400B2B593}"/>
                </a:ext>
              </a:extLst>
            </p:cNvPr>
            <p:cNvSpPr/>
            <p:nvPr/>
          </p:nvSpPr>
          <p:spPr>
            <a:xfrm>
              <a:off x="7146880" y="3555346"/>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72" name="Graphic 648">
              <a:extLst>
                <a:ext uri="{FF2B5EF4-FFF2-40B4-BE49-F238E27FC236}">
                  <a16:creationId xmlns:a16="http://schemas.microsoft.com/office/drawing/2014/main" id="{0DF764EC-9C1F-4FCD-BBA4-02F2C5DDE2D0}"/>
                </a:ext>
              </a:extLst>
            </p:cNvPr>
            <p:cNvGrpSpPr/>
            <p:nvPr/>
          </p:nvGrpSpPr>
          <p:grpSpPr>
            <a:xfrm>
              <a:off x="6765074" y="3562473"/>
              <a:ext cx="188167" cy="129348"/>
              <a:chOff x="4710899" y="4225944"/>
              <a:chExt cx="152940" cy="99442"/>
            </a:xfrm>
            <a:gradFill>
              <a:gsLst>
                <a:gs pos="100000">
                  <a:srgbClr val="D0DB67"/>
                </a:gs>
                <a:gs pos="0">
                  <a:srgbClr val="BECE33"/>
                </a:gs>
              </a:gsLst>
              <a:lin ang="0" scaled="1"/>
            </a:gradFill>
          </p:grpSpPr>
          <p:sp>
            <p:nvSpPr>
              <p:cNvPr id="10993" name="Freeform: Shape 10992">
                <a:extLst>
                  <a:ext uri="{FF2B5EF4-FFF2-40B4-BE49-F238E27FC236}">
                    <a16:creationId xmlns:a16="http://schemas.microsoft.com/office/drawing/2014/main" id="{62FBDCD7-8AF8-3DA1-07A1-E1C37A2502F2}"/>
                  </a:ext>
                </a:extLst>
              </p:cNvPr>
              <p:cNvSpPr/>
              <p:nvPr/>
            </p:nvSpPr>
            <p:spPr>
              <a:xfrm>
                <a:off x="4710899" y="422594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94" name="Graphic 648">
                <a:extLst>
                  <a:ext uri="{FF2B5EF4-FFF2-40B4-BE49-F238E27FC236}">
                    <a16:creationId xmlns:a16="http://schemas.microsoft.com/office/drawing/2014/main" id="{E768EB44-ED4C-C6B1-B9AC-1D6A67DCA4A6}"/>
                  </a:ext>
                </a:extLst>
              </p:cNvPr>
              <p:cNvGrpSpPr/>
              <p:nvPr/>
            </p:nvGrpSpPr>
            <p:grpSpPr>
              <a:xfrm>
                <a:off x="4710899" y="4225944"/>
                <a:ext cx="152940" cy="99438"/>
                <a:chOff x="4710899" y="4225944"/>
                <a:chExt cx="152940" cy="99438"/>
              </a:xfrm>
              <a:grpFill/>
            </p:grpSpPr>
            <p:sp>
              <p:nvSpPr>
                <p:cNvPr id="10995" name="Freeform: Shape 10994">
                  <a:extLst>
                    <a:ext uri="{FF2B5EF4-FFF2-40B4-BE49-F238E27FC236}">
                      <a16:creationId xmlns:a16="http://schemas.microsoft.com/office/drawing/2014/main" id="{9EBA3710-D28B-C7BA-775B-8794D8EDA2FF}"/>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96" name="Freeform: Shape 10995">
                  <a:extLst>
                    <a:ext uri="{FF2B5EF4-FFF2-40B4-BE49-F238E27FC236}">
                      <a16:creationId xmlns:a16="http://schemas.microsoft.com/office/drawing/2014/main" id="{ED615319-250C-9882-95C6-84311149C4F2}"/>
                    </a:ext>
                  </a:extLst>
                </p:cNvPr>
                <p:cNvSpPr/>
                <p:nvPr/>
              </p:nvSpPr>
              <p:spPr>
                <a:xfrm>
                  <a:off x="4710899" y="422594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73" name="Graphic 648">
              <a:extLst>
                <a:ext uri="{FF2B5EF4-FFF2-40B4-BE49-F238E27FC236}">
                  <a16:creationId xmlns:a16="http://schemas.microsoft.com/office/drawing/2014/main" id="{3EFB59AD-81E7-3270-20A9-45EB448B75E3}"/>
                </a:ext>
              </a:extLst>
            </p:cNvPr>
            <p:cNvGrpSpPr/>
            <p:nvPr/>
          </p:nvGrpSpPr>
          <p:grpSpPr>
            <a:xfrm>
              <a:off x="6550679" y="3614795"/>
              <a:ext cx="188153" cy="129346"/>
              <a:chOff x="4536641" y="4266169"/>
              <a:chExt cx="152929" cy="99440"/>
            </a:xfrm>
            <a:gradFill>
              <a:gsLst>
                <a:gs pos="100000">
                  <a:srgbClr val="D0DB67"/>
                </a:gs>
                <a:gs pos="0">
                  <a:srgbClr val="BECE33"/>
                </a:gs>
              </a:gsLst>
              <a:lin ang="0" scaled="1"/>
            </a:gradFill>
          </p:grpSpPr>
          <p:sp>
            <p:nvSpPr>
              <p:cNvPr id="10989" name="Freeform: Shape 10988">
                <a:extLst>
                  <a:ext uri="{FF2B5EF4-FFF2-40B4-BE49-F238E27FC236}">
                    <a16:creationId xmlns:a16="http://schemas.microsoft.com/office/drawing/2014/main" id="{74E96E50-28F1-00A8-0AF1-9B823921FF0F}"/>
                  </a:ext>
                </a:extLst>
              </p:cNvPr>
              <p:cNvSpPr/>
              <p:nvPr/>
            </p:nvSpPr>
            <p:spPr>
              <a:xfrm>
                <a:off x="4536641" y="4266169"/>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90" name="Graphic 648">
                <a:extLst>
                  <a:ext uri="{FF2B5EF4-FFF2-40B4-BE49-F238E27FC236}">
                    <a16:creationId xmlns:a16="http://schemas.microsoft.com/office/drawing/2014/main" id="{C36A7D8E-0B5F-776A-0F35-A79104263D9B}"/>
                  </a:ext>
                </a:extLst>
              </p:cNvPr>
              <p:cNvGrpSpPr/>
              <p:nvPr/>
            </p:nvGrpSpPr>
            <p:grpSpPr>
              <a:xfrm>
                <a:off x="4536641" y="4266169"/>
                <a:ext cx="152929" cy="99438"/>
                <a:chOff x="4536641" y="4266169"/>
                <a:chExt cx="152929" cy="99438"/>
              </a:xfrm>
              <a:grpFill/>
            </p:grpSpPr>
            <p:sp>
              <p:nvSpPr>
                <p:cNvPr id="10991" name="Freeform: Shape 10990">
                  <a:extLst>
                    <a:ext uri="{FF2B5EF4-FFF2-40B4-BE49-F238E27FC236}">
                      <a16:creationId xmlns:a16="http://schemas.microsoft.com/office/drawing/2014/main" id="{B6A39B24-9F6B-6549-A014-3B0429A6A046}"/>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92" name="Freeform: Shape 10991">
                  <a:extLst>
                    <a:ext uri="{FF2B5EF4-FFF2-40B4-BE49-F238E27FC236}">
                      <a16:creationId xmlns:a16="http://schemas.microsoft.com/office/drawing/2014/main" id="{32DE4AAA-F82E-0E32-7394-B39106BD6201}"/>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74" name="Graphic 648">
              <a:extLst>
                <a:ext uri="{FF2B5EF4-FFF2-40B4-BE49-F238E27FC236}">
                  <a16:creationId xmlns:a16="http://schemas.microsoft.com/office/drawing/2014/main" id="{CEDCE010-99BA-F2F2-774E-B8EB0C3D06C8}"/>
                </a:ext>
              </a:extLst>
            </p:cNvPr>
            <p:cNvGrpSpPr/>
            <p:nvPr/>
          </p:nvGrpSpPr>
          <p:grpSpPr>
            <a:xfrm>
              <a:off x="6697022" y="3700392"/>
              <a:ext cx="188180" cy="129373"/>
              <a:chOff x="4655587" y="4331975"/>
              <a:chExt cx="152951" cy="99461"/>
            </a:xfrm>
            <a:gradFill>
              <a:gsLst>
                <a:gs pos="100000">
                  <a:srgbClr val="D0DB67"/>
                </a:gs>
                <a:gs pos="0">
                  <a:srgbClr val="BECE33"/>
                </a:gs>
              </a:gsLst>
              <a:lin ang="0" scaled="1"/>
            </a:gradFill>
          </p:grpSpPr>
          <p:sp>
            <p:nvSpPr>
              <p:cNvPr id="10985" name="Freeform: Shape 10984">
                <a:extLst>
                  <a:ext uri="{FF2B5EF4-FFF2-40B4-BE49-F238E27FC236}">
                    <a16:creationId xmlns:a16="http://schemas.microsoft.com/office/drawing/2014/main" id="{1E68D68C-E1F4-1EDB-A76B-7E727A471820}"/>
                  </a:ext>
                </a:extLst>
              </p:cNvPr>
              <p:cNvSpPr/>
              <p:nvPr/>
            </p:nvSpPr>
            <p:spPr>
              <a:xfrm>
                <a:off x="4655587" y="4331975"/>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86" name="Graphic 648">
                <a:extLst>
                  <a:ext uri="{FF2B5EF4-FFF2-40B4-BE49-F238E27FC236}">
                    <a16:creationId xmlns:a16="http://schemas.microsoft.com/office/drawing/2014/main" id="{08FDEED7-0E3F-BC51-46C4-4E48E38FD98B}"/>
                  </a:ext>
                </a:extLst>
              </p:cNvPr>
              <p:cNvGrpSpPr/>
              <p:nvPr/>
            </p:nvGrpSpPr>
            <p:grpSpPr>
              <a:xfrm>
                <a:off x="4655587" y="4331975"/>
                <a:ext cx="152951" cy="99461"/>
                <a:chOff x="4655587" y="4331975"/>
                <a:chExt cx="152951" cy="99461"/>
              </a:xfrm>
              <a:grpFill/>
            </p:grpSpPr>
            <p:sp>
              <p:nvSpPr>
                <p:cNvPr id="10987" name="Freeform: Shape 10986">
                  <a:extLst>
                    <a:ext uri="{FF2B5EF4-FFF2-40B4-BE49-F238E27FC236}">
                      <a16:creationId xmlns:a16="http://schemas.microsoft.com/office/drawing/2014/main" id="{1046CF5A-8A69-2888-874C-57CBF307C992}"/>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88" name="Freeform: Shape 10987">
                  <a:extLst>
                    <a:ext uri="{FF2B5EF4-FFF2-40B4-BE49-F238E27FC236}">
                      <a16:creationId xmlns:a16="http://schemas.microsoft.com/office/drawing/2014/main" id="{0D76CB0C-058A-57C7-F8E8-781A132C3296}"/>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975" name="Graphic 648">
              <a:extLst>
                <a:ext uri="{FF2B5EF4-FFF2-40B4-BE49-F238E27FC236}">
                  <a16:creationId xmlns:a16="http://schemas.microsoft.com/office/drawing/2014/main" id="{9B51A2CD-E131-D59D-9724-EC1CF55AF3F1}"/>
                </a:ext>
              </a:extLst>
            </p:cNvPr>
            <p:cNvGrpSpPr/>
            <p:nvPr/>
          </p:nvGrpSpPr>
          <p:grpSpPr>
            <a:xfrm>
              <a:off x="6911430" y="3648084"/>
              <a:ext cx="188167" cy="129343"/>
              <a:chOff x="4829856" y="4291761"/>
              <a:chExt cx="152940" cy="99438"/>
            </a:xfrm>
            <a:gradFill>
              <a:gsLst>
                <a:gs pos="100000">
                  <a:srgbClr val="D0DB67"/>
                </a:gs>
                <a:gs pos="0">
                  <a:srgbClr val="BECE33"/>
                </a:gs>
              </a:gsLst>
              <a:lin ang="0" scaled="1"/>
            </a:gradFill>
          </p:grpSpPr>
          <p:sp>
            <p:nvSpPr>
              <p:cNvPr id="10981" name="Freeform: Shape 10980">
                <a:extLst>
                  <a:ext uri="{FF2B5EF4-FFF2-40B4-BE49-F238E27FC236}">
                    <a16:creationId xmlns:a16="http://schemas.microsoft.com/office/drawing/2014/main" id="{B7BDAFAC-C852-C1EA-F4B6-A3A154D373FB}"/>
                  </a:ext>
                </a:extLst>
              </p:cNvPr>
              <p:cNvSpPr/>
              <p:nvPr/>
            </p:nvSpPr>
            <p:spPr>
              <a:xfrm>
                <a:off x="4829856" y="429176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982" name="Graphic 648">
                <a:extLst>
                  <a:ext uri="{FF2B5EF4-FFF2-40B4-BE49-F238E27FC236}">
                    <a16:creationId xmlns:a16="http://schemas.microsoft.com/office/drawing/2014/main" id="{840C5733-F282-1C79-06B7-52A10359EF9A}"/>
                  </a:ext>
                </a:extLst>
              </p:cNvPr>
              <p:cNvGrpSpPr/>
              <p:nvPr/>
            </p:nvGrpSpPr>
            <p:grpSpPr>
              <a:xfrm>
                <a:off x="4829856" y="4291761"/>
                <a:ext cx="152940" cy="99438"/>
                <a:chOff x="4829856" y="4291761"/>
                <a:chExt cx="152940" cy="99438"/>
              </a:xfrm>
              <a:grpFill/>
            </p:grpSpPr>
            <p:sp>
              <p:nvSpPr>
                <p:cNvPr id="10983" name="Freeform: Shape 10982">
                  <a:extLst>
                    <a:ext uri="{FF2B5EF4-FFF2-40B4-BE49-F238E27FC236}">
                      <a16:creationId xmlns:a16="http://schemas.microsoft.com/office/drawing/2014/main" id="{1C56593C-DA79-BBAE-A592-EF35E59F1E42}"/>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84" name="Freeform: Shape 10983">
                  <a:extLst>
                    <a:ext uri="{FF2B5EF4-FFF2-40B4-BE49-F238E27FC236}">
                      <a16:creationId xmlns:a16="http://schemas.microsoft.com/office/drawing/2014/main" id="{1E94483E-1022-793F-1397-F088A8D46767}"/>
                    </a:ext>
                  </a:extLst>
                </p:cNvPr>
                <p:cNvSpPr/>
                <p:nvPr/>
              </p:nvSpPr>
              <p:spPr>
                <a:xfrm>
                  <a:off x="4829856" y="429176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976" name="Freeform: Shape 10975">
              <a:extLst>
                <a:ext uri="{FF2B5EF4-FFF2-40B4-BE49-F238E27FC236}">
                  <a16:creationId xmlns:a16="http://schemas.microsoft.com/office/drawing/2014/main" id="{70E484F3-84FD-2751-867B-29092B516329}"/>
                </a:ext>
              </a:extLst>
            </p:cNvPr>
            <p:cNvSpPr/>
            <p:nvPr/>
          </p:nvSpPr>
          <p:spPr>
            <a:xfrm>
              <a:off x="6765393" y="3527142"/>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77" name="Freeform: Shape 10976">
              <a:extLst>
                <a:ext uri="{FF2B5EF4-FFF2-40B4-BE49-F238E27FC236}">
                  <a16:creationId xmlns:a16="http://schemas.microsoft.com/office/drawing/2014/main" id="{85AB3698-1E99-0D66-D9EC-8AD63965A845}"/>
                </a:ext>
              </a:extLst>
            </p:cNvPr>
            <p:cNvSpPr/>
            <p:nvPr/>
          </p:nvSpPr>
          <p:spPr>
            <a:xfrm>
              <a:off x="6550993" y="3579469"/>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78" name="Freeform: Shape 10977">
              <a:extLst>
                <a:ext uri="{FF2B5EF4-FFF2-40B4-BE49-F238E27FC236}">
                  <a16:creationId xmlns:a16="http://schemas.microsoft.com/office/drawing/2014/main" id="{0A332023-919B-29D9-03AE-63C01090BD26}"/>
                </a:ext>
              </a:extLst>
            </p:cNvPr>
            <p:cNvSpPr/>
            <p:nvPr/>
          </p:nvSpPr>
          <p:spPr>
            <a:xfrm>
              <a:off x="6911727" y="3612752"/>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79" name="Freeform: Shape 10978">
              <a:extLst>
                <a:ext uri="{FF2B5EF4-FFF2-40B4-BE49-F238E27FC236}">
                  <a16:creationId xmlns:a16="http://schemas.microsoft.com/office/drawing/2014/main" id="{D53E7A20-C225-C756-88AA-9A3294DB9D0D}"/>
                </a:ext>
              </a:extLst>
            </p:cNvPr>
            <p:cNvSpPr/>
            <p:nvPr/>
          </p:nvSpPr>
          <p:spPr>
            <a:xfrm>
              <a:off x="6697327" y="3665076"/>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980" name="RectangleLegend2">
              <a:extLst>
                <a:ext uri="{FF2B5EF4-FFF2-40B4-BE49-F238E27FC236}">
                  <a16:creationId xmlns:a16="http://schemas.microsoft.com/office/drawing/2014/main" id="{090572C5-4549-D5CE-933F-4F374DDDB202}"/>
                </a:ext>
              </a:extLst>
            </p:cNvPr>
            <p:cNvSpPr>
              <a:spLocks/>
            </p:cNvSpPr>
            <p:nvPr/>
          </p:nvSpPr>
          <p:spPr>
            <a:xfrm>
              <a:off x="6491506" y="3793535"/>
              <a:ext cx="1402645" cy="225783"/>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uxiliary services </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building</a:t>
              </a:r>
            </a:p>
          </p:txBody>
        </p:sp>
      </p:grpSp>
      <p:grpSp>
        <p:nvGrpSpPr>
          <p:cNvPr id="11013" name="Group 11012">
            <a:extLst>
              <a:ext uri="{FF2B5EF4-FFF2-40B4-BE49-F238E27FC236}">
                <a16:creationId xmlns:a16="http://schemas.microsoft.com/office/drawing/2014/main" id="{DB09BCE5-BFC8-BA14-5064-63D5ADBAC06D}"/>
              </a:ext>
            </a:extLst>
          </p:cNvPr>
          <p:cNvGrpSpPr/>
          <p:nvPr/>
        </p:nvGrpSpPr>
        <p:grpSpPr>
          <a:xfrm>
            <a:off x="2652271" y="4439351"/>
            <a:ext cx="1570393" cy="801691"/>
            <a:chOff x="14899386" y="1530890"/>
            <a:chExt cx="1684446" cy="859915"/>
          </a:xfrm>
        </p:grpSpPr>
        <p:grpSp>
          <p:nvGrpSpPr>
            <p:cNvPr id="11014" name="Graphic 455">
              <a:extLst>
                <a:ext uri="{FF2B5EF4-FFF2-40B4-BE49-F238E27FC236}">
                  <a16:creationId xmlns:a16="http://schemas.microsoft.com/office/drawing/2014/main" id="{AD08BA42-F805-4EB3-5405-0516296A6A1A}"/>
                </a:ext>
              </a:extLst>
            </p:cNvPr>
            <p:cNvGrpSpPr/>
            <p:nvPr/>
          </p:nvGrpSpPr>
          <p:grpSpPr>
            <a:xfrm>
              <a:off x="15553893" y="1961995"/>
              <a:ext cx="220103" cy="151299"/>
              <a:chOff x="2595171" y="4564360"/>
              <a:chExt cx="152940" cy="99440"/>
            </a:xfrm>
            <a:gradFill flip="none" rotWithShape="1">
              <a:gsLst>
                <a:gs pos="100000">
                  <a:srgbClr val="008896"/>
                </a:gs>
                <a:gs pos="0">
                  <a:srgbClr val="005A64"/>
                </a:gs>
              </a:gsLst>
              <a:lin ang="0" scaled="1"/>
              <a:tileRect/>
            </a:gradFill>
          </p:grpSpPr>
          <p:sp>
            <p:nvSpPr>
              <p:cNvPr id="11101" name="Freeform: Shape 11100">
                <a:extLst>
                  <a:ext uri="{FF2B5EF4-FFF2-40B4-BE49-F238E27FC236}">
                    <a16:creationId xmlns:a16="http://schemas.microsoft.com/office/drawing/2014/main" id="{07C43DA6-B078-F8CA-6D44-8D853B304CE3}"/>
                  </a:ext>
                </a:extLst>
              </p:cNvPr>
              <p:cNvSpPr/>
              <p:nvPr/>
            </p:nvSpPr>
            <p:spPr>
              <a:xfrm>
                <a:off x="2595171" y="456436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02" name="Graphic 455">
                <a:extLst>
                  <a:ext uri="{FF2B5EF4-FFF2-40B4-BE49-F238E27FC236}">
                    <a16:creationId xmlns:a16="http://schemas.microsoft.com/office/drawing/2014/main" id="{7AB32355-871A-3D08-D211-014C1913EB0A}"/>
                  </a:ext>
                </a:extLst>
              </p:cNvPr>
              <p:cNvGrpSpPr/>
              <p:nvPr/>
            </p:nvGrpSpPr>
            <p:grpSpPr>
              <a:xfrm>
                <a:off x="2595171" y="4564360"/>
                <a:ext cx="152940" cy="99438"/>
                <a:chOff x="2595171" y="4564360"/>
                <a:chExt cx="152940" cy="99438"/>
              </a:xfrm>
              <a:grpFill/>
            </p:grpSpPr>
            <p:sp>
              <p:nvSpPr>
                <p:cNvPr id="11103" name="Freeform: Shape 11102">
                  <a:extLst>
                    <a:ext uri="{FF2B5EF4-FFF2-40B4-BE49-F238E27FC236}">
                      <a16:creationId xmlns:a16="http://schemas.microsoft.com/office/drawing/2014/main" id="{CF5B65B4-F239-4A99-AB32-AADC176248B3}"/>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04" name="Freeform: Shape 11103">
                  <a:extLst>
                    <a:ext uri="{FF2B5EF4-FFF2-40B4-BE49-F238E27FC236}">
                      <a16:creationId xmlns:a16="http://schemas.microsoft.com/office/drawing/2014/main" id="{57048EB5-1E54-AC6B-D169-F1F0D33342D7}"/>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015" name="Graphic 455">
              <a:extLst>
                <a:ext uri="{FF2B5EF4-FFF2-40B4-BE49-F238E27FC236}">
                  <a16:creationId xmlns:a16="http://schemas.microsoft.com/office/drawing/2014/main" id="{16CFF95D-CBE9-D110-119E-10F4C8AC6E23}"/>
                </a:ext>
              </a:extLst>
            </p:cNvPr>
            <p:cNvGrpSpPr/>
            <p:nvPr/>
          </p:nvGrpSpPr>
          <p:grpSpPr>
            <a:xfrm>
              <a:off x="15303143" y="2023216"/>
              <a:ext cx="220087" cy="151286"/>
              <a:chOff x="2420936" y="4604597"/>
              <a:chExt cx="152929" cy="99432"/>
            </a:xfrm>
            <a:gradFill flip="none" rotWithShape="1">
              <a:gsLst>
                <a:gs pos="100000">
                  <a:srgbClr val="008896"/>
                </a:gs>
                <a:gs pos="0">
                  <a:srgbClr val="005A64"/>
                </a:gs>
              </a:gsLst>
              <a:lin ang="0" scaled="1"/>
              <a:tileRect/>
            </a:gradFill>
          </p:grpSpPr>
          <p:sp>
            <p:nvSpPr>
              <p:cNvPr id="11097" name="Freeform: Shape 11096">
                <a:extLst>
                  <a:ext uri="{FF2B5EF4-FFF2-40B4-BE49-F238E27FC236}">
                    <a16:creationId xmlns:a16="http://schemas.microsoft.com/office/drawing/2014/main" id="{517C0E37-C829-993B-FA9E-8814197FD893}"/>
                  </a:ext>
                </a:extLst>
              </p:cNvPr>
              <p:cNvSpPr/>
              <p:nvPr/>
            </p:nvSpPr>
            <p:spPr>
              <a:xfrm>
                <a:off x="2420936" y="460459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98" name="Graphic 455">
                <a:extLst>
                  <a:ext uri="{FF2B5EF4-FFF2-40B4-BE49-F238E27FC236}">
                    <a16:creationId xmlns:a16="http://schemas.microsoft.com/office/drawing/2014/main" id="{25CF6AFD-3F93-81DB-85F4-486E3CF3AE9B}"/>
                  </a:ext>
                </a:extLst>
              </p:cNvPr>
              <p:cNvGrpSpPr/>
              <p:nvPr/>
            </p:nvGrpSpPr>
            <p:grpSpPr>
              <a:xfrm>
                <a:off x="2420937" y="4604597"/>
                <a:ext cx="152929" cy="99427"/>
                <a:chOff x="2420937" y="4604597"/>
                <a:chExt cx="152929" cy="99427"/>
              </a:xfrm>
              <a:grpFill/>
            </p:grpSpPr>
            <p:sp>
              <p:nvSpPr>
                <p:cNvPr id="11099" name="Freeform: Shape 11098">
                  <a:extLst>
                    <a:ext uri="{FF2B5EF4-FFF2-40B4-BE49-F238E27FC236}">
                      <a16:creationId xmlns:a16="http://schemas.microsoft.com/office/drawing/2014/main" id="{007A4DA7-C213-3513-A93A-B79FCC268F99}"/>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00" name="Freeform: Shape 11099">
                  <a:extLst>
                    <a:ext uri="{FF2B5EF4-FFF2-40B4-BE49-F238E27FC236}">
                      <a16:creationId xmlns:a16="http://schemas.microsoft.com/office/drawing/2014/main" id="{21D95D38-E3C2-0F24-12A1-DA48C8A723C3}"/>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016" name="Graphic 455">
              <a:extLst>
                <a:ext uri="{FF2B5EF4-FFF2-40B4-BE49-F238E27FC236}">
                  <a16:creationId xmlns:a16="http://schemas.microsoft.com/office/drawing/2014/main" id="{DFDE67AC-8E8F-1E3E-062D-8BEA5B8D1827}"/>
                </a:ext>
              </a:extLst>
            </p:cNvPr>
            <p:cNvGrpSpPr/>
            <p:nvPr/>
          </p:nvGrpSpPr>
          <p:grpSpPr>
            <a:xfrm>
              <a:off x="15474324" y="2123341"/>
              <a:ext cx="220087" cy="151312"/>
              <a:chOff x="2539882" y="4670403"/>
              <a:chExt cx="152929" cy="99449"/>
            </a:xfrm>
            <a:gradFill flip="none" rotWithShape="1">
              <a:gsLst>
                <a:gs pos="100000">
                  <a:srgbClr val="008896"/>
                </a:gs>
                <a:gs pos="0">
                  <a:srgbClr val="005A64"/>
                </a:gs>
              </a:gsLst>
              <a:lin ang="0" scaled="1"/>
              <a:tileRect/>
            </a:gradFill>
          </p:grpSpPr>
          <p:sp>
            <p:nvSpPr>
              <p:cNvPr id="11093" name="Freeform: Shape 11092">
                <a:extLst>
                  <a:ext uri="{FF2B5EF4-FFF2-40B4-BE49-F238E27FC236}">
                    <a16:creationId xmlns:a16="http://schemas.microsoft.com/office/drawing/2014/main" id="{57068850-AF71-EF75-E073-11262A1906DB}"/>
                  </a:ext>
                </a:extLst>
              </p:cNvPr>
              <p:cNvSpPr/>
              <p:nvPr/>
            </p:nvSpPr>
            <p:spPr>
              <a:xfrm>
                <a:off x="2539882" y="467040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94" name="Graphic 455">
                <a:extLst>
                  <a:ext uri="{FF2B5EF4-FFF2-40B4-BE49-F238E27FC236}">
                    <a16:creationId xmlns:a16="http://schemas.microsoft.com/office/drawing/2014/main" id="{2C8743F2-6B02-B943-A359-0DFD903036BD}"/>
                  </a:ext>
                </a:extLst>
              </p:cNvPr>
              <p:cNvGrpSpPr/>
              <p:nvPr/>
            </p:nvGrpSpPr>
            <p:grpSpPr>
              <a:xfrm>
                <a:off x="2539883" y="4670403"/>
                <a:ext cx="152929" cy="99449"/>
                <a:chOff x="2539883" y="4670403"/>
                <a:chExt cx="152929" cy="99449"/>
              </a:xfrm>
              <a:grpFill/>
            </p:grpSpPr>
            <p:sp>
              <p:nvSpPr>
                <p:cNvPr id="11095" name="Freeform: Shape 11094">
                  <a:extLst>
                    <a:ext uri="{FF2B5EF4-FFF2-40B4-BE49-F238E27FC236}">
                      <a16:creationId xmlns:a16="http://schemas.microsoft.com/office/drawing/2014/main" id="{71FD3C7F-B1F3-FC48-D93A-C8B39D32C549}"/>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96" name="Freeform: Shape 11095">
                  <a:extLst>
                    <a:ext uri="{FF2B5EF4-FFF2-40B4-BE49-F238E27FC236}">
                      <a16:creationId xmlns:a16="http://schemas.microsoft.com/office/drawing/2014/main" id="{039A3819-F831-AE6C-4022-AB55B285D844}"/>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017" name="Graphic 455">
              <a:extLst>
                <a:ext uri="{FF2B5EF4-FFF2-40B4-BE49-F238E27FC236}">
                  <a16:creationId xmlns:a16="http://schemas.microsoft.com/office/drawing/2014/main" id="{95660267-32C6-9A6A-C33D-7C88D95A1DC2}"/>
                </a:ext>
              </a:extLst>
            </p:cNvPr>
            <p:cNvGrpSpPr/>
            <p:nvPr/>
          </p:nvGrpSpPr>
          <p:grpSpPr>
            <a:xfrm>
              <a:off x="15725123" y="2062136"/>
              <a:ext cx="220103" cy="151312"/>
              <a:chOff x="2714151" y="4630177"/>
              <a:chExt cx="152940" cy="99449"/>
            </a:xfrm>
            <a:gradFill flip="none" rotWithShape="1">
              <a:gsLst>
                <a:gs pos="100000">
                  <a:srgbClr val="008896"/>
                </a:gs>
                <a:gs pos="0">
                  <a:srgbClr val="005A64"/>
                </a:gs>
              </a:gsLst>
              <a:lin ang="0" scaled="1"/>
              <a:tileRect/>
            </a:gradFill>
          </p:grpSpPr>
          <p:sp>
            <p:nvSpPr>
              <p:cNvPr id="11089" name="Freeform: Shape 11088">
                <a:extLst>
                  <a:ext uri="{FF2B5EF4-FFF2-40B4-BE49-F238E27FC236}">
                    <a16:creationId xmlns:a16="http://schemas.microsoft.com/office/drawing/2014/main" id="{D44344B4-DFD6-354F-E3F9-573373F9CF4F}"/>
                  </a:ext>
                </a:extLst>
              </p:cNvPr>
              <p:cNvSpPr/>
              <p:nvPr/>
            </p:nvSpPr>
            <p:spPr>
              <a:xfrm>
                <a:off x="2714151" y="463017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90" name="Graphic 455">
                <a:extLst>
                  <a:ext uri="{FF2B5EF4-FFF2-40B4-BE49-F238E27FC236}">
                    <a16:creationId xmlns:a16="http://schemas.microsoft.com/office/drawing/2014/main" id="{66BB77D9-2048-7682-B745-A59D226896D7}"/>
                  </a:ext>
                </a:extLst>
              </p:cNvPr>
              <p:cNvGrpSpPr/>
              <p:nvPr/>
            </p:nvGrpSpPr>
            <p:grpSpPr>
              <a:xfrm>
                <a:off x="2714152" y="4630177"/>
                <a:ext cx="152940" cy="99449"/>
                <a:chOff x="2714152" y="4630177"/>
                <a:chExt cx="152940" cy="99449"/>
              </a:xfrm>
              <a:grpFill/>
            </p:grpSpPr>
            <p:sp>
              <p:nvSpPr>
                <p:cNvPr id="11091" name="Freeform: Shape 11090">
                  <a:extLst>
                    <a:ext uri="{FF2B5EF4-FFF2-40B4-BE49-F238E27FC236}">
                      <a16:creationId xmlns:a16="http://schemas.microsoft.com/office/drawing/2014/main" id="{C65438D6-3620-6D76-126E-166FA976CC3A}"/>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92" name="Freeform: Shape 11091">
                  <a:extLst>
                    <a:ext uri="{FF2B5EF4-FFF2-40B4-BE49-F238E27FC236}">
                      <a16:creationId xmlns:a16="http://schemas.microsoft.com/office/drawing/2014/main" id="{FA94FFC4-8024-D8F4-785F-294A9D8C9A41}"/>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018" name="Freeform: Shape 11017">
              <a:extLst>
                <a:ext uri="{FF2B5EF4-FFF2-40B4-BE49-F238E27FC236}">
                  <a16:creationId xmlns:a16="http://schemas.microsoft.com/office/drawing/2014/main" id="{0F44A41A-AD0C-905C-2FF7-DE51F0AE1432}"/>
                </a:ext>
              </a:extLst>
            </p:cNvPr>
            <p:cNvSpPr/>
            <p:nvPr/>
          </p:nvSpPr>
          <p:spPr>
            <a:xfrm>
              <a:off x="15554286" y="1920677"/>
              <a:ext cx="219727" cy="83356"/>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19" name="Freeform: Shape 11018">
              <a:extLst>
                <a:ext uri="{FF2B5EF4-FFF2-40B4-BE49-F238E27FC236}">
                  <a16:creationId xmlns:a16="http://schemas.microsoft.com/office/drawing/2014/main" id="{ED848013-B301-8424-D21E-905B3DE1CA1C}"/>
                </a:ext>
              </a:extLst>
            </p:cNvPr>
            <p:cNvSpPr/>
            <p:nvPr/>
          </p:nvSpPr>
          <p:spPr>
            <a:xfrm>
              <a:off x="15303489" y="1981893"/>
              <a:ext cx="219731" cy="83356"/>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20" name="Freeform: Shape 11019">
              <a:extLst>
                <a:ext uri="{FF2B5EF4-FFF2-40B4-BE49-F238E27FC236}">
                  <a16:creationId xmlns:a16="http://schemas.microsoft.com/office/drawing/2014/main" id="{518642A3-5E9C-B852-5EE8-B2815F731BF0}"/>
                </a:ext>
              </a:extLst>
            </p:cNvPr>
            <p:cNvSpPr/>
            <p:nvPr/>
          </p:nvSpPr>
          <p:spPr>
            <a:xfrm>
              <a:off x="15725433" y="2020816"/>
              <a:ext cx="219778" cy="83364"/>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21" name="Freeform: Shape 11020">
              <a:extLst>
                <a:ext uri="{FF2B5EF4-FFF2-40B4-BE49-F238E27FC236}">
                  <a16:creationId xmlns:a16="http://schemas.microsoft.com/office/drawing/2014/main" id="{E3CB0798-2CBB-FB10-C38D-314D27BFFF8A}"/>
                </a:ext>
              </a:extLst>
            </p:cNvPr>
            <p:cNvSpPr/>
            <p:nvPr/>
          </p:nvSpPr>
          <p:spPr>
            <a:xfrm>
              <a:off x="15474671" y="2082019"/>
              <a:ext cx="219749" cy="83367"/>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22" name="Graphic 455">
              <a:extLst>
                <a:ext uri="{FF2B5EF4-FFF2-40B4-BE49-F238E27FC236}">
                  <a16:creationId xmlns:a16="http://schemas.microsoft.com/office/drawing/2014/main" id="{3CCCAE48-B255-8728-D263-4042E4644D16}"/>
                </a:ext>
              </a:extLst>
            </p:cNvPr>
            <p:cNvGrpSpPr/>
            <p:nvPr/>
          </p:nvGrpSpPr>
          <p:grpSpPr>
            <a:xfrm>
              <a:off x="15028064" y="2090356"/>
              <a:ext cx="220103" cy="151301"/>
              <a:chOff x="2229795" y="4648724"/>
              <a:chExt cx="152940" cy="99442"/>
            </a:xfrm>
            <a:gradFill flip="none" rotWithShape="1">
              <a:gsLst>
                <a:gs pos="100000">
                  <a:srgbClr val="008896"/>
                </a:gs>
                <a:gs pos="0">
                  <a:srgbClr val="005A64"/>
                </a:gs>
              </a:gsLst>
              <a:lin ang="0" scaled="1"/>
              <a:tileRect/>
            </a:gradFill>
          </p:grpSpPr>
          <p:sp>
            <p:nvSpPr>
              <p:cNvPr id="11085" name="Freeform: Shape 11084">
                <a:extLst>
                  <a:ext uri="{FF2B5EF4-FFF2-40B4-BE49-F238E27FC236}">
                    <a16:creationId xmlns:a16="http://schemas.microsoft.com/office/drawing/2014/main" id="{4BA12BE9-710F-7D88-7A82-3C0936580196}"/>
                  </a:ext>
                </a:extLst>
              </p:cNvPr>
              <p:cNvSpPr/>
              <p:nvPr/>
            </p:nvSpPr>
            <p:spPr>
              <a:xfrm>
                <a:off x="2229795" y="464872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86" name="Graphic 455">
                <a:extLst>
                  <a:ext uri="{FF2B5EF4-FFF2-40B4-BE49-F238E27FC236}">
                    <a16:creationId xmlns:a16="http://schemas.microsoft.com/office/drawing/2014/main" id="{ECFA2F09-BAF1-38F8-F76C-7C9073A93597}"/>
                  </a:ext>
                </a:extLst>
              </p:cNvPr>
              <p:cNvGrpSpPr/>
              <p:nvPr/>
            </p:nvGrpSpPr>
            <p:grpSpPr>
              <a:xfrm>
                <a:off x="2229795" y="4648724"/>
                <a:ext cx="152940" cy="99438"/>
                <a:chOff x="2229795" y="4648724"/>
                <a:chExt cx="152940" cy="99438"/>
              </a:xfrm>
              <a:grpFill/>
            </p:grpSpPr>
            <p:sp>
              <p:nvSpPr>
                <p:cNvPr id="11087" name="Freeform: Shape 11086">
                  <a:extLst>
                    <a:ext uri="{FF2B5EF4-FFF2-40B4-BE49-F238E27FC236}">
                      <a16:creationId xmlns:a16="http://schemas.microsoft.com/office/drawing/2014/main" id="{8EF170DC-D38D-C07C-2BB3-A11D90EE1CA8}"/>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88" name="Freeform: Shape 11087">
                  <a:extLst>
                    <a:ext uri="{FF2B5EF4-FFF2-40B4-BE49-F238E27FC236}">
                      <a16:creationId xmlns:a16="http://schemas.microsoft.com/office/drawing/2014/main" id="{93F8E046-8945-35A4-EA35-AA55235CA7EF}"/>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023" name="Graphic 455">
              <a:extLst>
                <a:ext uri="{FF2B5EF4-FFF2-40B4-BE49-F238E27FC236}">
                  <a16:creationId xmlns:a16="http://schemas.microsoft.com/office/drawing/2014/main" id="{6234502C-526F-1EF9-A004-7E19672B4383}"/>
                </a:ext>
              </a:extLst>
            </p:cNvPr>
            <p:cNvGrpSpPr/>
            <p:nvPr/>
          </p:nvGrpSpPr>
          <p:grpSpPr>
            <a:xfrm>
              <a:off x="15199260" y="2190497"/>
              <a:ext cx="220103" cy="151295"/>
              <a:chOff x="2348752" y="4714541"/>
              <a:chExt cx="152940" cy="99438"/>
            </a:xfrm>
            <a:gradFill flip="none" rotWithShape="1">
              <a:gsLst>
                <a:gs pos="100000">
                  <a:srgbClr val="008896"/>
                </a:gs>
                <a:gs pos="0">
                  <a:srgbClr val="005A64"/>
                </a:gs>
              </a:gsLst>
              <a:lin ang="0" scaled="1"/>
              <a:tileRect/>
            </a:gradFill>
          </p:grpSpPr>
          <p:sp>
            <p:nvSpPr>
              <p:cNvPr id="11081" name="Freeform: Shape 11080">
                <a:extLst>
                  <a:ext uri="{FF2B5EF4-FFF2-40B4-BE49-F238E27FC236}">
                    <a16:creationId xmlns:a16="http://schemas.microsoft.com/office/drawing/2014/main" id="{64B6FCB9-306A-A202-D27E-783D2623ABBB}"/>
                  </a:ext>
                </a:extLst>
              </p:cNvPr>
              <p:cNvSpPr/>
              <p:nvPr/>
            </p:nvSpPr>
            <p:spPr>
              <a:xfrm>
                <a:off x="2348752" y="471454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82" name="Graphic 455">
                <a:extLst>
                  <a:ext uri="{FF2B5EF4-FFF2-40B4-BE49-F238E27FC236}">
                    <a16:creationId xmlns:a16="http://schemas.microsoft.com/office/drawing/2014/main" id="{BCF540D7-168E-8F67-66E2-2AC06AAD5D72}"/>
                  </a:ext>
                </a:extLst>
              </p:cNvPr>
              <p:cNvGrpSpPr/>
              <p:nvPr/>
            </p:nvGrpSpPr>
            <p:grpSpPr>
              <a:xfrm>
                <a:off x="2348752" y="4714541"/>
                <a:ext cx="152940" cy="99438"/>
                <a:chOff x="2348752" y="4714541"/>
                <a:chExt cx="152940" cy="99438"/>
              </a:xfrm>
              <a:grpFill/>
            </p:grpSpPr>
            <p:sp>
              <p:nvSpPr>
                <p:cNvPr id="11083" name="Freeform: Shape 11082">
                  <a:extLst>
                    <a:ext uri="{FF2B5EF4-FFF2-40B4-BE49-F238E27FC236}">
                      <a16:creationId xmlns:a16="http://schemas.microsoft.com/office/drawing/2014/main" id="{F68D2EBB-5F81-EB08-A47A-706A12B09DE0}"/>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84" name="Freeform: Shape 11083">
                  <a:extLst>
                    <a:ext uri="{FF2B5EF4-FFF2-40B4-BE49-F238E27FC236}">
                      <a16:creationId xmlns:a16="http://schemas.microsoft.com/office/drawing/2014/main" id="{248E1A55-EB06-42FE-A382-351F6B1D0C68}"/>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024" name="Freeform: Shape 11023">
              <a:extLst>
                <a:ext uri="{FF2B5EF4-FFF2-40B4-BE49-F238E27FC236}">
                  <a16:creationId xmlns:a16="http://schemas.microsoft.com/office/drawing/2014/main" id="{1A0934AA-841B-2BF9-5641-6841B8D6CAC7}"/>
                </a:ext>
              </a:extLst>
            </p:cNvPr>
            <p:cNvSpPr/>
            <p:nvPr/>
          </p:nvSpPr>
          <p:spPr>
            <a:xfrm>
              <a:off x="15028437" y="2049028"/>
              <a:ext cx="219725" cy="83351"/>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25" name="Freeform: Shape 11024">
              <a:extLst>
                <a:ext uri="{FF2B5EF4-FFF2-40B4-BE49-F238E27FC236}">
                  <a16:creationId xmlns:a16="http://schemas.microsoft.com/office/drawing/2014/main" id="{0207B131-2B15-7B69-10E4-779424A94CFF}"/>
                </a:ext>
              </a:extLst>
            </p:cNvPr>
            <p:cNvSpPr/>
            <p:nvPr/>
          </p:nvSpPr>
          <p:spPr>
            <a:xfrm>
              <a:off x="15199607" y="2149168"/>
              <a:ext cx="219748" cy="83359"/>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26" name="Freeform: Shape 11025">
              <a:extLst>
                <a:ext uri="{FF2B5EF4-FFF2-40B4-BE49-F238E27FC236}">
                  <a16:creationId xmlns:a16="http://schemas.microsoft.com/office/drawing/2014/main" id="{81D6E15E-B1DC-0E60-2D9F-BE134B60DCD7}"/>
                </a:ext>
              </a:extLst>
            </p:cNvPr>
            <p:cNvSpPr/>
            <p:nvPr/>
          </p:nvSpPr>
          <p:spPr>
            <a:xfrm>
              <a:off x="14902153" y="1859487"/>
              <a:ext cx="342849" cy="528392"/>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002D32"/>
            </a:solidFill>
            <a:ln w="11275"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27" name="Freeform: Shape 11026">
              <a:extLst>
                <a:ext uri="{FF2B5EF4-FFF2-40B4-BE49-F238E27FC236}">
                  <a16:creationId xmlns:a16="http://schemas.microsoft.com/office/drawing/2014/main" id="{9A4D0A81-BCA7-6E4A-99B3-B76946C62116}"/>
                </a:ext>
              </a:extLst>
            </p:cNvPr>
            <p:cNvSpPr/>
            <p:nvPr/>
          </p:nvSpPr>
          <p:spPr>
            <a:xfrm>
              <a:off x="14899386" y="1856552"/>
              <a:ext cx="348349" cy="534251"/>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002D32"/>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28" name="Freeform: Shape 11027">
              <a:extLst>
                <a:ext uri="{FF2B5EF4-FFF2-40B4-BE49-F238E27FC236}">
                  <a16:creationId xmlns:a16="http://schemas.microsoft.com/office/drawing/2014/main" id="{0CC72B6A-0042-6615-85E9-0D866E304EE4}"/>
                </a:ext>
              </a:extLst>
            </p:cNvPr>
            <p:cNvSpPr/>
            <p:nvPr/>
          </p:nvSpPr>
          <p:spPr>
            <a:xfrm>
              <a:off x="15243928" y="1803377"/>
              <a:ext cx="1052766" cy="584502"/>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005A6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29" name="Freeform: Shape 11028">
              <a:extLst>
                <a:ext uri="{FF2B5EF4-FFF2-40B4-BE49-F238E27FC236}">
                  <a16:creationId xmlns:a16="http://schemas.microsoft.com/office/drawing/2014/main" id="{3B3E2283-70B1-4E41-13B4-A7A7B06C4383}"/>
                </a:ext>
              </a:extLst>
            </p:cNvPr>
            <p:cNvSpPr/>
            <p:nvPr/>
          </p:nvSpPr>
          <p:spPr>
            <a:xfrm>
              <a:off x="15241161" y="1800433"/>
              <a:ext cx="1058266" cy="590372"/>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30" name="Freeform: Shape 11029">
              <a:extLst>
                <a:ext uri="{FF2B5EF4-FFF2-40B4-BE49-F238E27FC236}">
                  <a16:creationId xmlns:a16="http://schemas.microsoft.com/office/drawing/2014/main" id="{498C354A-25B1-4FA9-0EAE-6AA9996AFAF0}"/>
                </a:ext>
              </a:extLst>
            </p:cNvPr>
            <p:cNvSpPr/>
            <p:nvPr/>
          </p:nvSpPr>
          <p:spPr>
            <a:xfrm>
              <a:off x="14902153" y="1602785"/>
              <a:ext cx="1394541" cy="457295"/>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31" name="Graphic 641">
              <a:extLst>
                <a:ext uri="{FF2B5EF4-FFF2-40B4-BE49-F238E27FC236}">
                  <a16:creationId xmlns:a16="http://schemas.microsoft.com/office/drawing/2014/main" id="{174429BE-0562-50C1-572E-5F2480A21643}"/>
                </a:ext>
              </a:extLst>
            </p:cNvPr>
            <p:cNvGrpSpPr/>
            <p:nvPr/>
          </p:nvGrpSpPr>
          <p:grpSpPr>
            <a:xfrm>
              <a:off x="15791306" y="1572208"/>
              <a:ext cx="220103" cy="151299"/>
              <a:chOff x="3257856" y="3944383"/>
              <a:chExt cx="152940" cy="99440"/>
            </a:xfrm>
            <a:gradFill flip="none" rotWithShape="1">
              <a:gsLst>
                <a:gs pos="100000">
                  <a:srgbClr val="008896"/>
                </a:gs>
                <a:gs pos="0">
                  <a:srgbClr val="005A64"/>
                </a:gs>
              </a:gsLst>
              <a:lin ang="0" scaled="1"/>
              <a:tileRect/>
            </a:gradFill>
          </p:grpSpPr>
          <p:sp>
            <p:nvSpPr>
              <p:cNvPr id="11077" name="Freeform: Shape 11076">
                <a:extLst>
                  <a:ext uri="{FF2B5EF4-FFF2-40B4-BE49-F238E27FC236}">
                    <a16:creationId xmlns:a16="http://schemas.microsoft.com/office/drawing/2014/main" id="{5BBA3BF7-E5A5-99C7-AAF3-65710B7A094E}"/>
                  </a:ext>
                </a:extLst>
              </p:cNvPr>
              <p:cNvSpPr/>
              <p:nvPr/>
            </p:nvSpPr>
            <p:spPr>
              <a:xfrm>
                <a:off x="3257856" y="3944383"/>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78" name="Graphic 641">
                <a:extLst>
                  <a:ext uri="{FF2B5EF4-FFF2-40B4-BE49-F238E27FC236}">
                    <a16:creationId xmlns:a16="http://schemas.microsoft.com/office/drawing/2014/main" id="{F0B68891-145B-5ACB-B94E-9C8A71C52CEF}"/>
                  </a:ext>
                </a:extLst>
              </p:cNvPr>
              <p:cNvGrpSpPr/>
              <p:nvPr/>
            </p:nvGrpSpPr>
            <p:grpSpPr>
              <a:xfrm>
                <a:off x="3257856" y="3944383"/>
                <a:ext cx="152940" cy="99438"/>
                <a:chOff x="3257856" y="3944383"/>
                <a:chExt cx="152940" cy="99438"/>
              </a:xfrm>
              <a:grpFill/>
            </p:grpSpPr>
            <p:sp>
              <p:nvSpPr>
                <p:cNvPr id="11079" name="Freeform: Shape 11078">
                  <a:extLst>
                    <a:ext uri="{FF2B5EF4-FFF2-40B4-BE49-F238E27FC236}">
                      <a16:creationId xmlns:a16="http://schemas.microsoft.com/office/drawing/2014/main" id="{3E48BC8E-0F96-3716-4A6E-915BD29E075C}"/>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80" name="Freeform: Shape 11079">
                  <a:extLst>
                    <a:ext uri="{FF2B5EF4-FFF2-40B4-BE49-F238E27FC236}">
                      <a16:creationId xmlns:a16="http://schemas.microsoft.com/office/drawing/2014/main" id="{BA000078-5D81-ED85-F05A-A8BC1037A244}"/>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032" name="Graphic 641">
              <a:extLst>
                <a:ext uri="{FF2B5EF4-FFF2-40B4-BE49-F238E27FC236}">
                  <a16:creationId xmlns:a16="http://schemas.microsoft.com/office/drawing/2014/main" id="{3044371A-1677-AE01-4F53-ABD8F54A03FB}"/>
                </a:ext>
              </a:extLst>
            </p:cNvPr>
            <p:cNvGrpSpPr/>
            <p:nvPr/>
          </p:nvGrpSpPr>
          <p:grpSpPr>
            <a:xfrm>
              <a:off x="15540556" y="1633429"/>
              <a:ext cx="220087" cy="151286"/>
              <a:chOff x="3083621" y="3984620"/>
              <a:chExt cx="152929" cy="99432"/>
            </a:xfrm>
            <a:gradFill flip="none" rotWithShape="1">
              <a:gsLst>
                <a:gs pos="100000">
                  <a:srgbClr val="008896"/>
                </a:gs>
                <a:gs pos="0">
                  <a:srgbClr val="005A64"/>
                </a:gs>
              </a:gsLst>
              <a:lin ang="0" scaled="1"/>
              <a:tileRect/>
            </a:gradFill>
          </p:grpSpPr>
          <p:sp>
            <p:nvSpPr>
              <p:cNvPr id="11073" name="Freeform: Shape 11072">
                <a:extLst>
                  <a:ext uri="{FF2B5EF4-FFF2-40B4-BE49-F238E27FC236}">
                    <a16:creationId xmlns:a16="http://schemas.microsoft.com/office/drawing/2014/main" id="{B6DDA013-F25C-C080-B878-23EAD5DC2E60}"/>
                  </a:ext>
                </a:extLst>
              </p:cNvPr>
              <p:cNvSpPr/>
              <p:nvPr/>
            </p:nvSpPr>
            <p:spPr>
              <a:xfrm>
                <a:off x="3083621" y="3984620"/>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74" name="Graphic 641">
                <a:extLst>
                  <a:ext uri="{FF2B5EF4-FFF2-40B4-BE49-F238E27FC236}">
                    <a16:creationId xmlns:a16="http://schemas.microsoft.com/office/drawing/2014/main" id="{105EDA67-F061-919A-924A-066D601DD4DE}"/>
                  </a:ext>
                </a:extLst>
              </p:cNvPr>
              <p:cNvGrpSpPr/>
              <p:nvPr/>
            </p:nvGrpSpPr>
            <p:grpSpPr>
              <a:xfrm>
                <a:off x="3083622" y="3984620"/>
                <a:ext cx="152929" cy="99427"/>
                <a:chOff x="3083622" y="3984620"/>
                <a:chExt cx="152929" cy="99427"/>
              </a:xfrm>
              <a:grpFill/>
            </p:grpSpPr>
            <p:sp>
              <p:nvSpPr>
                <p:cNvPr id="11075" name="Freeform: Shape 11074">
                  <a:extLst>
                    <a:ext uri="{FF2B5EF4-FFF2-40B4-BE49-F238E27FC236}">
                      <a16:creationId xmlns:a16="http://schemas.microsoft.com/office/drawing/2014/main" id="{D25BE660-C8F3-FDF2-63B5-491DFF849893}"/>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76" name="Freeform: Shape 11075">
                  <a:extLst>
                    <a:ext uri="{FF2B5EF4-FFF2-40B4-BE49-F238E27FC236}">
                      <a16:creationId xmlns:a16="http://schemas.microsoft.com/office/drawing/2014/main" id="{E865647C-FEAA-655B-EB11-1563BBC00EA6}"/>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033" name="Graphic 641">
              <a:extLst>
                <a:ext uri="{FF2B5EF4-FFF2-40B4-BE49-F238E27FC236}">
                  <a16:creationId xmlns:a16="http://schemas.microsoft.com/office/drawing/2014/main" id="{B95338A0-BD93-911C-CA10-EE28D77A092B}"/>
                </a:ext>
              </a:extLst>
            </p:cNvPr>
            <p:cNvGrpSpPr/>
            <p:nvPr/>
          </p:nvGrpSpPr>
          <p:grpSpPr>
            <a:xfrm>
              <a:off x="15711737" y="1733553"/>
              <a:ext cx="220087" cy="151312"/>
              <a:chOff x="3202567" y="4050426"/>
              <a:chExt cx="152929" cy="99449"/>
            </a:xfrm>
            <a:gradFill flip="none" rotWithShape="1">
              <a:gsLst>
                <a:gs pos="100000">
                  <a:srgbClr val="008896"/>
                </a:gs>
                <a:gs pos="0">
                  <a:srgbClr val="005A64"/>
                </a:gs>
              </a:gsLst>
              <a:lin ang="0" scaled="1"/>
              <a:tileRect/>
            </a:gradFill>
          </p:grpSpPr>
          <p:sp>
            <p:nvSpPr>
              <p:cNvPr id="11069" name="Freeform: Shape 11068">
                <a:extLst>
                  <a:ext uri="{FF2B5EF4-FFF2-40B4-BE49-F238E27FC236}">
                    <a16:creationId xmlns:a16="http://schemas.microsoft.com/office/drawing/2014/main" id="{32E76326-B62A-91F7-844E-4C3BF90FCF3D}"/>
                  </a:ext>
                </a:extLst>
              </p:cNvPr>
              <p:cNvSpPr/>
              <p:nvPr/>
            </p:nvSpPr>
            <p:spPr>
              <a:xfrm>
                <a:off x="3202567" y="4050426"/>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70" name="Graphic 641">
                <a:extLst>
                  <a:ext uri="{FF2B5EF4-FFF2-40B4-BE49-F238E27FC236}">
                    <a16:creationId xmlns:a16="http://schemas.microsoft.com/office/drawing/2014/main" id="{C0EC171E-0754-CBC3-AC25-0050A1A95765}"/>
                  </a:ext>
                </a:extLst>
              </p:cNvPr>
              <p:cNvGrpSpPr/>
              <p:nvPr/>
            </p:nvGrpSpPr>
            <p:grpSpPr>
              <a:xfrm>
                <a:off x="3202568" y="4050426"/>
                <a:ext cx="152929" cy="99449"/>
                <a:chOff x="3202568" y="4050426"/>
                <a:chExt cx="152929" cy="99449"/>
              </a:xfrm>
              <a:grpFill/>
            </p:grpSpPr>
            <p:sp>
              <p:nvSpPr>
                <p:cNvPr id="11071" name="Freeform: Shape 11070">
                  <a:extLst>
                    <a:ext uri="{FF2B5EF4-FFF2-40B4-BE49-F238E27FC236}">
                      <a16:creationId xmlns:a16="http://schemas.microsoft.com/office/drawing/2014/main" id="{51EA9C43-8ADE-59B8-6454-8A7B3B461183}"/>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72" name="Freeform: Shape 11071">
                  <a:extLst>
                    <a:ext uri="{FF2B5EF4-FFF2-40B4-BE49-F238E27FC236}">
                      <a16:creationId xmlns:a16="http://schemas.microsoft.com/office/drawing/2014/main" id="{79DAA76D-8E95-42D4-67A2-6D09F2723B86}"/>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034" name="Graphic 641">
              <a:extLst>
                <a:ext uri="{FF2B5EF4-FFF2-40B4-BE49-F238E27FC236}">
                  <a16:creationId xmlns:a16="http://schemas.microsoft.com/office/drawing/2014/main" id="{6E776CCF-96A1-B9E4-15F9-BCE4B29285D6}"/>
                </a:ext>
              </a:extLst>
            </p:cNvPr>
            <p:cNvGrpSpPr/>
            <p:nvPr/>
          </p:nvGrpSpPr>
          <p:grpSpPr>
            <a:xfrm>
              <a:off x="15962535" y="1672350"/>
              <a:ext cx="220103" cy="151312"/>
              <a:chOff x="3376836" y="4010200"/>
              <a:chExt cx="152940" cy="99449"/>
            </a:xfrm>
            <a:gradFill flip="none" rotWithShape="1">
              <a:gsLst>
                <a:gs pos="100000">
                  <a:srgbClr val="008896"/>
                </a:gs>
                <a:gs pos="0">
                  <a:srgbClr val="005A64"/>
                </a:gs>
              </a:gsLst>
              <a:lin ang="0" scaled="1"/>
              <a:tileRect/>
            </a:gradFill>
          </p:grpSpPr>
          <p:sp>
            <p:nvSpPr>
              <p:cNvPr id="11065" name="Freeform: Shape 11064">
                <a:extLst>
                  <a:ext uri="{FF2B5EF4-FFF2-40B4-BE49-F238E27FC236}">
                    <a16:creationId xmlns:a16="http://schemas.microsoft.com/office/drawing/2014/main" id="{C8C85D71-D28F-C9A4-75D5-96BB34126147}"/>
                  </a:ext>
                </a:extLst>
              </p:cNvPr>
              <p:cNvSpPr/>
              <p:nvPr/>
            </p:nvSpPr>
            <p:spPr>
              <a:xfrm>
                <a:off x="3376836" y="4010200"/>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66" name="Graphic 641">
                <a:extLst>
                  <a:ext uri="{FF2B5EF4-FFF2-40B4-BE49-F238E27FC236}">
                    <a16:creationId xmlns:a16="http://schemas.microsoft.com/office/drawing/2014/main" id="{0CC01863-8455-1600-4A6A-E8FA30BB90FE}"/>
                  </a:ext>
                </a:extLst>
              </p:cNvPr>
              <p:cNvGrpSpPr/>
              <p:nvPr/>
            </p:nvGrpSpPr>
            <p:grpSpPr>
              <a:xfrm>
                <a:off x="3376837" y="4010200"/>
                <a:ext cx="152940" cy="99449"/>
                <a:chOff x="3376837" y="4010200"/>
                <a:chExt cx="152940" cy="99449"/>
              </a:xfrm>
              <a:grpFill/>
            </p:grpSpPr>
            <p:sp>
              <p:nvSpPr>
                <p:cNvPr id="11067" name="Freeform: Shape 11066">
                  <a:extLst>
                    <a:ext uri="{FF2B5EF4-FFF2-40B4-BE49-F238E27FC236}">
                      <a16:creationId xmlns:a16="http://schemas.microsoft.com/office/drawing/2014/main" id="{158B3B41-7AFD-AD1E-6B9E-F0A6BB6388BF}"/>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68" name="Freeform: Shape 11067">
                  <a:extLst>
                    <a:ext uri="{FF2B5EF4-FFF2-40B4-BE49-F238E27FC236}">
                      <a16:creationId xmlns:a16="http://schemas.microsoft.com/office/drawing/2014/main" id="{C998331C-C5C5-4C46-449B-A2F29D750561}"/>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035" name="Freeform: Shape 11034">
              <a:extLst>
                <a:ext uri="{FF2B5EF4-FFF2-40B4-BE49-F238E27FC236}">
                  <a16:creationId xmlns:a16="http://schemas.microsoft.com/office/drawing/2014/main" id="{DAA42CE4-9549-413D-22AC-9B790C21980F}"/>
                </a:ext>
              </a:extLst>
            </p:cNvPr>
            <p:cNvSpPr/>
            <p:nvPr/>
          </p:nvSpPr>
          <p:spPr>
            <a:xfrm>
              <a:off x="15791699" y="1530890"/>
              <a:ext cx="219727" cy="83356"/>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36" name="Freeform: Shape 11035">
              <a:extLst>
                <a:ext uri="{FF2B5EF4-FFF2-40B4-BE49-F238E27FC236}">
                  <a16:creationId xmlns:a16="http://schemas.microsoft.com/office/drawing/2014/main" id="{36867154-E13F-1678-7430-3C7858D61F2B}"/>
                </a:ext>
              </a:extLst>
            </p:cNvPr>
            <p:cNvSpPr/>
            <p:nvPr/>
          </p:nvSpPr>
          <p:spPr>
            <a:xfrm>
              <a:off x="15540902" y="1592107"/>
              <a:ext cx="219731" cy="83356"/>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37" name="Freeform: Shape 11036">
              <a:extLst>
                <a:ext uri="{FF2B5EF4-FFF2-40B4-BE49-F238E27FC236}">
                  <a16:creationId xmlns:a16="http://schemas.microsoft.com/office/drawing/2014/main" id="{3F477B43-7D6E-A0FC-E0D8-85813B47028B}"/>
                </a:ext>
              </a:extLst>
            </p:cNvPr>
            <p:cNvSpPr/>
            <p:nvPr/>
          </p:nvSpPr>
          <p:spPr>
            <a:xfrm>
              <a:off x="15962846" y="1631028"/>
              <a:ext cx="219778" cy="83364"/>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38" name="Freeform: Shape 11037">
              <a:extLst>
                <a:ext uri="{FF2B5EF4-FFF2-40B4-BE49-F238E27FC236}">
                  <a16:creationId xmlns:a16="http://schemas.microsoft.com/office/drawing/2014/main" id="{99C5E15E-12B3-89AC-BC70-AEF0310E0B1F}"/>
                </a:ext>
              </a:extLst>
            </p:cNvPr>
            <p:cNvSpPr/>
            <p:nvPr/>
          </p:nvSpPr>
          <p:spPr>
            <a:xfrm>
              <a:off x="15712084" y="1692233"/>
              <a:ext cx="219749" cy="83367"/>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39" name="Graphic 641">
              <a:extLst>
                <a:ext uri="{FF2B5EF4-FFF2-40B4-BE49-F238E27FC236}">
                  <a16:creationId xmlns:a16="http://schemas.microsoft.com/office/drawing/2014/main" id="{A960B55C-E0A7-854B-9B20-FFC83768A0E5}"/>
                </a:ext>
              </a:extLst>
            </p:cNvPr>
            <p:cNvGrpSpPr/>
            <p:nvPr/>
          </p:nvGrpSpPr>
          <p:grpSpPr>
            <a:xfrm>
              <a:off x="15014694" y="1761771"/>
              <a:ext cx="220087" cy="151299"/>
              <a:chOff x="2718222" y="4068972"/>
              <a:chExt cx="152929" cy="99440"/>
            </a:xfrm>
            <a:gradFill flip="none" rotWithShape="1">
              <a:gsLst>
                <a:gs pos="100000">
                  <a:srgbClr val="008896"/>
                </a:gs>
                <a:gs pos="0">
                  <a:srgbClr val="005A64"/>
                </a:gs>
              </a:gsLst>
              <a:lin ang="0" scaled="1"/>
              <a:tileRect/>
            </a:gradFill>
          </p:grpSpPr>
          <p:sp>
            <p:nvSpPr>
              <p:cNvPr id="11061" name="Freeform: Shape 11060">
                <a:extLst>
                  <a:ext uri="{FF2B5EF4-FFF2-40B4-BE49-F238E27FC236}">
                    <a16:creationId xmlns:a16="http://schemas.microsoft.com/office/drawing/2014/main" id="{B39767D7-228B-AC3B-E35C-7241AAC87A87}"/>
                  </a:ext>
                </a:extLst>
              </p:cNvPr>
              <p:cNvSpPr/>
              <p:nvPr/>
            </p:nvSpPr>
            <p:spPr>
              <a:xfrm>
                <a:off x="2718222" y="4068972"/>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62" name="Graphic 641">
                <a:extLst>
                  <a:ext uri="{FF2B5EF4-FFF2-40B4-BE49-F238E27FC236}">
                    <a16:creationId xmlns:a16="http://schemas.microsoft.com/office/drawing/2014/main" id="{6825E75C-9882-9089-864B-12DAAB62CC4B}"/>
                  </a:ext>
                </a:extLst>
              </p:cNvPr>
              <p:cNvGrpSpPr/>
              <p:nvPr/>
            </p:nvGrpSpPr>
            <p:grpSpPr>
              <a:xfrm>
                <a:off x="2718222" y="4068972"/>
                <a:ext cx="152929" cy="99438"/>
                <a:chOff x="2718222" y="4068972"/>
                <a:chExt cx="152929" cy="99438"/>
              </a:xfrm>
              <a:grpFill/>
            </p:grpSpPr>
            <p:sp>
              <p:nvSpPr>
                <p:cNvPr id="11063" name="Freeform: Shape 11062">
                  <a:extLst>
                    <a:ext uri="{FF2B5EF4-FFF2-40B4-BE49-F238E27FC236}">
                      <a16:creationId xmlns:a16="http://schemas.microsoft.com/office/drawing/2014/main" id="{A0914F2A-03F3-B105-FCB9-F3819A32FF58}"/>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64" name="Freeform: Shape 11063">
                  <a:extLst>
                    <a:ext uri="{FF2B5EF4-FFF2-40B4-BE49-F238E27FC236}">
                      <a16:creationId xmlns:a16="http://schemas.microsoft.com/office/drawing/2014/main" id="{03946496-C31D-7CD4-0D38-D3662A8E7F23}"/>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040" name="Graphic 641">
              <a:extLst>
                <a:ext uri="{FF2B5EF4-FFF2-40B4-BE49-F238E27FC236}">
                  <a16:creationId xmlns:a16="http://schemas.microsoft.com/office/drawing/2014/main" id="{4B0B3DB9-46C6-6DD5-5E9A-C43733731B52}"/>
                </a:ext>
              </a:extLst>
            </p:cNvPr>
            <p:cNvGrpSpPr/>
            <p:nvPr/>
          </p:nvGrpSpPr>
          <p:grpSpPr>
            <a:xfrm>
              <a:off x="15185875" y="1861895"/>
              <a:ext cx="220118" cy="151331"/>
              <a:chOff x="2837168" y="4134778"/>
              <a:chExt cx="152951" cy="99461"/>
            </a:xfrm>
            <a:gradFill flip="none" rotWithShape="1">
              <a:gsLst>
                <a:gs pos="100000">
                  <a:srgbClr val="008896"/>
                </a:gs>
                <a:gs pos="0">
                  <a:srgbClr val="005A64"/>
                </a:gs>
              </a:gsLst>
              <a:lin ang="0" scaled="1"/>
              <a:tileRect/>
            </a:gradFill>
          </p:grpSpPr>
          <p:sp>
            <p:nvSpPr>
              <p:cNvPr id="11057" name="Freeform: Shape 11056">
                <a:extLst>
                  <a:ext uri="{FF2B5EF4-FFF2-40B4-BE49-F238E27FC236}">
                    <a16:creationId xmlns:a16="http://schemas.microsoft.com/office/drawing/2014/main" id="{4435E8F5-875E-65A1-2018-930C64A32D12}"/>
                  </a:ext>
                </a:extLst>
              </p:cNvPr>
              <p:cNvSpPr/>
              <p:nvPr/>
            </p:nvSpPr>
            <p:spPr>
              <a:xfrm>
                <a:off x="2837168" y="4134778"/>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58" name="Graphic 641">
                <a:extLst>
                  <a:ext uri="{FF2B5EF4-FFF2-40B4-BE49-F238E27FC236}">
                    <a16:creationId xmlns:a16="http://schemas.microsoft.com/office/drawing/2014/main" id="{ECCAB038-4D3B-71FC-6DAC-9F5A501B6B71}"/>
                  </a:ext>
                </a:extLst>
              </p:cNvPr>
              <p:cNvGrpSpPr/>
              <p:nvPr/>
            </p:nvGrpSpPr>
            <p:grpSpPr>
              <a:xfrm>
                <a:off x="2837168" y="4134778"/>
                <a:ext cx="152951" cy="99461"/>
                <a:chOff x="2837168" y="4134778"/>
                <a:chExt cx="152951" cy="99461"/>
              </a:xfrm>
              <a:grpFill/>
            </p:grpSpPr>
            <p:sp>
              <p:nvSpPr>
                <p:cNvPr id="11059" name="Freeform: Shape 11058">
                  <a:extLst>
                    <a:ext uri="{FF2B5EF4-FFF2-40B4-BE49-F238E27FC236}">
                      <a16:creationId xmlns:a16="http://schemas.microsoft.com/office/drawing/2014/main" id="{823EB648-FC44-114D-68FF-1FB274E1F461}"/>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60" name="Freeform: Shape 11059">
                  <a:extLst>
                    <a:ext uri="{FF2B5EF4-FFF2-40B4-BE49-F238E27FC236}">
                      <a16:creationId xmlns:a16="http://schemas.microsoft.com/office/drawing/2014/main" id="{AB0A269F-A8C4-33E2-DC93-C57E9BC3C4F6}"/>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041" name="Freeform: Shape 11040">
              <a:extLst>
                <a:ext uri="{FF2B5EF4-FFF2-40B4-BE49-F238E27FC236}">
                  <a16:creationId xmlns:a16="http://schemas.microsoft.com/office/drawing/2014/main" id="{92F2E02E-93AF-CAEA-C372-639241C423B1}"/>
                </a:ext>
              </a:extLst>
            </p:cNvPr>
            <p:cNvSpPr/>
            <p:nvPr/>
          </p:nvSpPr>
          <p:spPr>
            <a:xfrm>
              <a:off x="15015061" y="1720449"/>
              <a:ext cx="219731" cy="83351"/>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42" name="RectangleLegend2">
              <a:extLst>
                <a:ext uri="{FF2B5EF4-FFF2-40B4-BE49-F238E27FC236}">
                  <a16:creationId xmlns:a16="http://schemas.microsoft.com/office/drawing/2014/main" id="{2D8858BF-ED57-0B52-33AE-4C6AB25CCC82}"/>
                </a:ext>
              </a:extLst>
            </p:cNvPr>
            <p:cNvSpPr>
              <a:spLocks/>
            </p:cNvSpPr>
            <p:nvPr/>
          </p:nvSpPr>
          <p:spPr>
            <a:xfrm>
              <a:off x="14943126" y="1961113"/>
              <a:ext cx="1640706" cy="264103"/>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Commercial mRNA </a:t>
              </a:r>
              <a:b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manuf. process</a:t>
              </a:r>
            </a:p>
          </p:txBody>
        </p:sp>
        <p:grpSp>
          <p:nvGrpSpPr>
            <p:cNvPr id="11043" name="Group 11042">
              <a:extLst>
                <a:ext uri="{FF2B5EF4-FFF2-40B4-BE49-F238E27FC236}">
                  <a16:creationId xmlns:a16="http://schemas.microsoft.com/office/drawing/2014/main" id="{E7157306-7089-3A0E-3C7F-8D5A3F389B13}"/>
                </a:ext>
              </a:extLst>
            </p:cNvPr>
            <p:cNvGrpSpPr/>
            <p:nvPr/>
          </p:nvGrpSpPr>
          <p:grpSpPr>
            <a:xfrm>
              <a:off x="15265477" y="1659242"/>
              <a:ext cx="391299" cy="292763"/>
              <a:chOff x="7204514" y="5278735"/>
              <a:chExt cx="334523" cy="250284"/>
            </a:xfrm>
          </p:grpSpPr>
          <p:grpSp>
            <p:nvGrpSpPr>
              <p:cNvPr id="11045" name="Graphic 641">
                <a:extLst>
                  <a:ext uri="{FF2B5EF4-FFF2-40B4-BE49-F238E27FC236}">
                    <a16:creationId xmlns:a16="http://schemas.microsoft.com/office/drawing/2014/main" id="{B988DD1F-5236-EFB4-29FD-6DB30C8583FB}"/>
                  </a:ext>
                </a:extLst>
              </p:cNvPr>
              <p:cNvGrpSpPr/>
              <p:nvPr/>
            </p:nvGrpSpPr>
            <p:grpSpPr>
              <a:xfrm>
                <a:off x="7204514" y="5314066"/>
                <a:ext cx="188167" cy="129348"/>
                <a:chOff x="2892480" y="4028747"/>
                <a:chExt cx="152940" cy="99442"/>
              </a:xfrm>
              <a:gradFill flip="none" rotWithShape="1">
                <a:gsLst>
                  <a:gs pos="100000">
                    <a:srgbClr val="008896"/>
                  </a:gs>
                  <a:gs pos="0">
                    <a:srgbClr val="005A64"/>
                  </a:gs>
                </a:gsLst>
                <a:lin ang="0" scaled="1"/>
                <a:tileRect/>
              </a:gradFill>
            </p:grpSpPr>
            <p:sp>
              <p:nvSpPr>
                <p:cNvPr id="11053" name="Freeform: Shape 11052">
                  <a:extLst>
                    <a:ext uri="{FF2B5EF4-FFF2-40B4-BE49-F238E27FC236}">
                      <a16:creationId xmlns:a16="http://schemas.microsoft.com/office/drawing/2014/main" id="{0D356EA0-9E8F-AB6D-6C36-BEAB6300C03E}"/>
                    </a:ext>
                  </a:extLst>
                </p:cNvPr>
                <p:cNvSpPr/>
                <p:nvPr/>
              </p:nvSpPr>
              <p:spPr>
                <a:xfrm>
                  <a:off x="2892480" y="4028747"/>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54" name="Graphic 641">
                  <a:extLst>
                    <a:ext uri="{FF2B5EF4-FFF2-40B4-BE49-F238E27FC236}">
                      <a16:creationId xmlns:a16="http://schemas.microsoft.com/office/drawing/2014/main" id="{1971B8A3-ACF0-E646-9961-F0FD442D18EC}"/>
                    </a:ext>
                  </a:extLst>
                </p:cNvPr>
                <p:cNvGrpSpPr/>
                <p:nvPr/>
              </p:nvGrpSpPr>
              <p:grpSpPr>
                <a:xfrm>
                  <a:off x="2892480" y="4028747"/>
                  <a:ext cx="152940" cy="99438"/>
                  <a:chOff x="2892480" y="4028747"/>
                  <a:chExt cx="152940" cy="99438"/>
                </a:xfrm>
                <a:grpFill/>
              </p:grpSpPr>
              <p:sp>
                <p:nvSpPr>
                  <p:cNvPr id="11055" name="Freeform: Shape 11054">
                    <a:extLst>
                      <a:ext uri="{FF2B5EF4-FFF2-40B4-BE49-F238E27FC236}">
                        <a16:creationId xmlns:a16="http://schemas.microsoft.com/office/drawing/2014/main" id="{3CEF6245-CE8C-E5AA-E200-33729884000E}"/>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56" name="Freeform: Shape 11055">
                    <a:extLst>
                      <a:ext uri="{FF2B5EF4-FFF2-40B4-BE49-F238E27FC236}">
                        <a16:creationId xmlns:a16="http://schemas.microsoft.com/office/drawing/2014/main" id="{0E0BC43F-2DCD-99F4-D502-C2CF70C79E70}"/>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046" name="Graphic 641">
                <a:extLst>
                  <a:ext uri="{FF2B5EF4-FFF2-40B4-BE49-F238E27FC236}">
                    <a16:creationId xmlns:a16="http://schemas.microsoft.com/office/drawing/2014/main" id="{6AC49665-DB0F-4EAB-0DF4-04360729EFC2}"/>
                  </a:ext>
                </a:extLst>
              </p:cNvPr>
              <p:cNvGrpSpPr/>
              <p:nvPr/>
            </p:nvGrpSpPr>
            <p:grpSpPr>
              <a:xfrm>
                <a:off x="7350870" y="5399676"/>
                <a:ext cx="188167" cy="129343"/>
                <a:chOff x="3011437" y="4094564"/>
                <a:chExt cx="152940" cy="99438"/>
              </a:xfrm>
              <a:gradFill flip="none" rotWithShape="1">
                <a:gsLst>
                  <a:gs pos="100000">
                    <a:srgbClr val="008896"/>
                  </a:gs>
                  <a:gs pos="0">
                    <a:srgbClr val="005A64"/>
                  </a:gs>
                </a:gsLst>
                <a:lin ang="0" scaled="1"/>
                <a:tileRect/>
              </a:gradFill>
            </p:grpSpPr>
            <p:sp>
              <p:nvSpPr>
                <p:cNvPr id="11049" name="Freeform: Shape 11048">
                  <a:extLst>
                    <a:ext uri="{FF2B5EF4-FFF2-40B4-BE49-F238E27FC236}">
                      <a16:creationId xmlns:a16="http://schemas.microsoft.com/office/drawing/2014/main" id="{9DB51034-B8E7-037A-B6A7-C071BA7988AF}"/>
                    </a:ext>
                  </a:extLst>
                </p:cNvPr>
                <p:cNvSpPr/>
                <p:nvPr/>
              </p:nvSpPr>
              <p:spPr>
                <a:xfrm>
                  <a:off x="3011437" y="4094564"/>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050" name="Graphic 641">
                  <a:extLst>
                    <a:ext uri="{FF2B5EF4-FFF2-40B4-BE49-F238E27FC236}">
                      <a16:creationId xmlns:a16="http://schemas.microsoft.com/office/drawing/2014/main" id="{5F59B08A-4A6B-3F34-D0FA-9BB3AF23310E}"/>
                    </a:ext>
                  </a:extLst>
                </p:cNvPr>
                <p:cNvGrpSpPr/>
                <p:nvPr/>
              </p:nvGrpSpPr>
              <p:grpSpPr>
                <a:xfrm>
                  <a:off x="3011437" y="4094564"/>
                  <a:ext cx="152940" cy="99438"/>
                  <a:chOff x="3011437" y="4094564"/>
                  <a:chExt cx="152940" cy="99438"/>
                </a:xfrm>
                <a:grpFill/>
              </p:grpSpPr>
              <p:sp>
                <p:nvSpPr>
                  <p:cNvPr id="11051" name="Freeform: Shape 11050">
                    <a:extLst>
                      <a:ext uri="{FF2B5EF4-FFF2-40B4-BE49-F238E27FC236}">
                        <a16:creationId xmlns:a16="http://schemas.microsoft.com/office/drawing/2014/main" id="{998E3B98-5714-003D-CD4C-A60788D4C9AD}"/>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52" name="Freeform: Shape 11051">
                    <a:extLst>
                      <a:ext uri="{FF2B5EF4-FFF2-40B4-BE49-F238E27FC236}">
                        <a16:creationId xmlns:a16="http://schemas.microsoft.com/office/drawing/2014/main" id="{176B4F5B-8743-C8A6-C844-B7BF60127D9F}"/>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047" name="Freeform: Shape 11046">
                <a:extLst>
                  <a:ext uri="{FF2B5EF4-FFF2-40B4-BE49-F238E27FC236}">
                    <a16:creationId xmlns:a16="http://schemas.microsoft.com/office/drawing/2014/main" id="{7D791A6F-269D-FCF7-F828-7E4633BAF1D6}"/>
                  </a:ext>
                </a:extLst>
              </p:cNvPr>
              <p:cNvSpPr/>
              <p:nvPr/>
            </p:nvSpPr>
            <p:spPr>
              <a:xfrm>
                <a:off x="7204833" y="5278735"/>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048" name="Freeform: Shape 11047">
                <a:extLst>
                  <a:ext uri="{FF2B5EF4-FFF2-40B4-BE49-F238E27FC236}">
                    <a16:creationId xmlns:a16="http://schemas.microsoft.com/office/drawing/2014/main" id="{38E2993C-7401-F212-E221-431A1A7EEDEC}"/>
                  </a:ext>
                </a:extLst>
              </p:cNvPr>
              <p:cNvSpPr/>
              <p:nvPr/>
            </p:nvSpPr>
            <p:spPr>
              <a:xfrm>
                <a:off x="7351167" y="5364344"/>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044" name="Freeform: Shape 11043">
              <a:extLst>
                <a:ext uri="{FF2B5EF4-FFF2-40B4-BE49-F238E27FC236}">
                  <a16:creationId xmlns:a16="http://schemas.microsoft.com/office/drawing/2014/main" id="{F24B6B57-2A74-1D18-4B28-114E3AC1D9E3}"/>
                </a:ext>
              </a:extLst>
            </p:cNvPr>
            <p:cNvSpPr/>
            <p:nvPr/>
          </p:nvSpPr>
          <p:spPr>
            <a:xfrm>
              <a:off x="15186232" y="1820585"/>
              <a:ext cx="219766" cy="83364"/>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1105" name="Group 11104">
            <a:extLst>
              <a:ext uri="{FF2B5EF4-FFF2-40B4-BE49-F238E27FC236}">
                <a16:creationId xmlns:a16="http://schemas.microsoft.com/office/drawing/2014/main" id="{81C9F168-509E-5B23-FABC-3F794B5A1959}"/>
              </a:ext>
            </a:extLst>
          </p:cNvPr>
          <p:cNvGrpSpPr/>
          <p:nvPr/>
        </p:nvGrpSpPr>
        <p:grpSpPr>
          <a:xfrm>
            <a:off x="3411073" y="3937269"/>
            <a:ext cx="1569728" cy="801691"/>
            <a:chOff x="4681122" y="3763872"/>
            <a:chExt cx="1439429" cy="735144"/>
          </a:xfrm>
        </p:grpSpPr>
        <p:sp>
          <p:nvSpPr>
            <p:cNvPr id="11106" name="Freeform: Shape 11105">
              <a:extLst>
                <a:ext uri="{FF2B5EF4-FFF2-40B4-BE49-F238E27FC236}">
                  <a16:creationId xmlns:a16="http://schemas.microsoft.com/office/drawing/2014/main" id="{D61B93C7-D4B8-DC1C-5EDD-CFE3B1C16D65}"/>
                </a:ext>
              </a:extLst>
            </p:cNvPr>
            <p:cNvSpPr/>
            <p:nvPr/>
          </p:nvSpPr>
          <p:spPr>
            <a:xfrm>
              <a:off x="4683488" y="4044790"/>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255D48"/>
            </a:solidFill>
            <a:ln w="11275"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07" name="Freeform: Shape 11106">
              <a:extLst>
                <a:ext uri="{FF2B5EF4-FFF2-40B4-BE49-F238E27FC236}">
                  <a16:creationId xmlns:a16="http://schemas.microsoft.com/office/drawing/2014/main" id="{4DAC6DD6-F836-7A5A-4CE4-2F8D1C664A7D}"/>
                </a:ext>
              </a:extLst>
            </p:cNvPr>
            <p:cNvSpPr/>
            <p:nvPr/>
          </p:nvSpPr>
          <p:spPr>
            <a:xfrm>
              <a:off x="4681122" y="4042281"/>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255D4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08" name="Freeform: Shape 11107">
              <a:extLst>
                <a:ext uri="{FF2B5EF4-FFF2-40B4-BE49-F238E27FC236}">
                  <a16:creationId xmlns:a16="http://schemas.microsoft.com/office/drawing/2014/main" id="{8386CA7C-276D-2567-3B4F-90F6986F2F6F}"/>
                </a:ext>
              </a:extLst>
            </p:cNvPr>
            <p:cNvSpPr/>
            <p:nvPr/>
          </p:nvSpPr>
          <p:spPr>
            <a:xfrm>
              <a:off x="4975673" y="3996822"/>
              <a:ext cx="900013" cy="499692"/>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3C9673"/>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09" name="Freeform: Shape 11108">
              <a:extLst>
                <a:ext uri="{FF2B5EF4-FFF2-40B4-BE49-F238E27FC236}">
                  <a16:creationId xmlns:a16="http://schemas.microsoft.com/office/drawing/2014/main" id="{9AE4059B-8724-E3DD-31F1-FB5F4224EB96}"/>
                </a:ext>
              </a:extLst>
            </p:cNvPr>
            <p:cNvSpPr/>
            <p:nvPr/>
          </p:nvSpPr>
          <p:spPr>
            <a:xfrm>
              <a:off x="4973307" y="3994305"/>
              <a:ext cx="904715" cy="504711"/>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10" name="Freeform: Shape 11109">
              <a:extLst>
                <a:ext uri="{FF2B5EF4-FFF2-40B4-BE49-F238E27FC236}">
                  <a16:creationId xmlns:a16="http://schemas.microsoft.com/office/drawing/2014/main" id="{103DCB7A-BA37-0BBB-A457-C5D4FD6FBD02}"/>
                </a:ext>
              </a:extLst>
            </p:cNvPr>
            <p:cNvSpPr/>
            <p:nvPr/>
          </p:nvSpPr>
          <p:spPr>
            <a:xfrm>
              <a:off x="4683488" y="3825335"/>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11" name="Graphic 642">
              <a:extLst>
                <a:ext uri="{FF2B5EF4-FFF2-40B4-BE49-F238E27FC236}">
                  <a16:creationId xmlns:a16="http://schemas.microsoft.com/office/drawing/2014/main" id="{F6B101DD-EB50-3D4B-CE8A-771BDD374264}"/>
                </a:ext>
              </a:extLst>
            </p:cNvPr>
            <p:cNvGrpSpPr/>
            <p:nvPr/>
          </p:nvGrpSpPr>
          <p:grpSpPr>
            <a:xfrm>
              <a:off x="5443627" y="3799195"/>
              <a:ext cx="188167" cy="129346"/>
              <a:chOff x="3805243" y="4316394"/>
              <a:chExt cx="152940" cy="99440"/>
            </a:xfrm>
            <a:gradFill flip="none" rotWithShape="1">
              <a:gsLst>
                <a:gs pos="100000">
                  <a:srgbClr val="66C29F"/>
                </a:gs>
                <a:gs pos="0">
                  <a:srgbClr val="3C9673"/>
                </a:gs>
              </a:gsLst>
              <a:lin ang="0" scaled="1"/>
              <a:tileRect/>
            </a:gradFill>
          </p:grpSpPr>
          <p:sp>
            <p:nvSpPr>
              <p:cNvPr id="11156" name="Freeform: Shape 11155">
                <a:extLst>
                  <a:ext uri="{FF2B5EF4-FFF2-40B4-BE49-F238E27FC236}">
                    <a16:creationId xmlns:a16="http://schemas.microsoft.com/office/drawing/2014/main" id="{AD025B2E-D67A-472A-2D71-DC2B6072EC4D}"/>
                  </a:ext>
                </a:extLst>
              </p:cNvPr>
              <p:cNvSpPr/>
              <p:nvPr/>
            </p:nvSpPr>
            <p:spPr>
              <a:xfrm>
                <a:off x="3805243" y="4316394"/>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57" name="Graphic 642">
                <a:extLst>
                  <a:ext uri="{FF2B5EF4-FFF2-40B4-BE49-F238E27FC236}">
                    <a16:creationId xmlns:a16="http://schemas.microsoft.com/office/drawing/2014/main" id="{4E81E505-2743-61CF-0BC0-6AFF01BA1EC9}"/>
                  </a:ext>
                </a:extLst>
              </p:cNvPr>
              <p:cNvGrpSpPr/>
              <p:nvPr/>
            </p:nvGrpSpPr>
            <p:grpSpPr>
              <a:xfrm>
                <a:off x="3805243" y="4316394"/>
                <a:ext cx="152940" cy="99438"/>
                <a:chOff x="3805243" y="4316394"/>
                <a:chExt cx="152940" cy="99438"/>
              </a:xfrm>
              <a:grpFill/>
            </p:grpSpPr>
            <p:sp>
              <p:nvSpPr>
                <p:cNvPr id="11158" name="Freeform: Shape 11157">
                  <a:extLst>
                    <a:ext uri="{FF2B5EF4-FFF2-40B4-BE49-F238E27FC236}">
                      <a16:creationId xmlns:a16="http://schemas.microsoft.com/office/drawing/2014/main" id="{F7775C9B-2097-EF76-C2E9-964727C42E22}"/>
                    </a:ext>
                  </a:extLst>
                </p:cNvPr>
                <p:cNvSpPr/>
                <p:nvPr/>
              </p:nvSpPr>
              <p:spPr>
                <a:xfrm>
                  <a:off x="3805243" y="4316394"/>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59" name="Freeform: Shape 11158">
                  <a:extLst>
                    <a:ext uri="{FF2B5EF4-FFF2-40B4-BE49-F238E27FC236}">
                      <a16:creationId xmlns:a16="http://schemas.microsoft.com/office/drawing/2014/main" id="{718CDB02-212F-D5B6-F7F0-0304655BAF4A}"/>
                    </a:ext>
                  </a:extLst>
                </p:cNvPr>
                <p:cNvSpPr/>
                <p:nvPr/>
              </p:nvSpPr>
              <p:spPr>
                <a:xfrm>
                  <a:off x="3805243" y="4316394"/>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12" name="Graphic 642">
              <a:extLst>
                <a:ext uri="{FF2B5EF4-FFF2-40B4-BE49-F238E27FC236}">
                  <a16:creationId xmlns:a16="http://schemas.microsoft.com/office/drawing/2014/main" id="{C6DD5B5F-EFBF-C87C-61B1-965111D0CE61}"/>
                </a:ext>
              </a:extLst>
            </p:cNvPr>
            <p:cNvGrpSpPr/>
            <p:nvPr/>
          </p:nvGrpSpPr>
          <p:grpSpPr>
            <a:xfrm>
              <a:off x="5229261" y="3851533"/>
              <a:ext cx="188153" cy="129335"/>
              <a:chOff x="3631008" y="4356631"/>
              <a:chExt cx="152929" cy="99432"/>
            </a:xfrm>
            <a:gradFill flip="none" rotWithShape="1">
              <a:gsLst>
                <a:gs pos="100000">
                  <a:srgbClr val="66C29F"/>
                </a:gs>
                <a:gs pos="0">
                  <a:srgbClr val="3C9673"/>
                </a:gs>
              </a:gsLst>
              <a:lin ang="0" scaled="1"/>
              <a:tileRect/>
            </a:gradFill>
          </p:grpSpPr>
          <p:sp>
            <p:nvSpPr>
              <p:cNvPr id="11152" name="Freeform: Shape 11151">
                <a:extLst>
                  <a:ext uri="{FF2B5EF4-FFF2-40B4-BE49-F238E27FC236}">
                    <a16:creationId xmlns:a16="http://schemas.microsoft.com/office/drawing/2014/main" id="{E3E5EA82-61F6-55E4-7C02-E090B8C2E8AC}"/>
                  </a:ext>
                </a:extLst>
              </p:cNvPr>
              <p:cNvSpPr/>
              <p:nvPr/>
            </p:nvSpPr>
            <p:spPr>
              <a:xfrm>
                <a:off x="3631008" y="4356631"/>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53" name="Graphic 642">
                <a:extLst>
                  <a:ext uri="{FF2B5EF4-FFF2-40B4-BE49-F238E27FC236}">
                    <a16:creationId xmlns:a16="http://schemas.microsoft.com/office/drawing/2014/main" id="{D88CC6E7-4586-4F57-3E21-3B90F87E8FDF}"/>
                  </a:ext>
                </a:extLst>
              </p:cNvPr>
              <p:cNvGrpSpPr/>
              <p:nvPr/>
            </p:nvGrpSpPr>
            <p:grpSpPr>
              <a:xfrm>
                <a:off x="3631009" y="4356631"/>
                <a:ext cx="152929" cy="99427"/>
                <a:chOff x="3631009" y="4356631"/>
                <a:chExt cx="152929" cy="99427"/>
              </a:xfrm>
              <a:grpFill/>
            </p:grpSpPr>
            <p:sp>
              <p:nvSpPr>
                <p:cNvPr id="11154" name="Freeform: Shape 11153">
                  <a:extLst>
                    <a:ext uri="{FF2B5EF4-FFF2-40B4-BE49-F238E27FC236}">
                      <a16:creationId xmlns:a16="http://schemas.microsoft.com/office/drawing/2014/main" id="{7D60C1ED-D53B-8D5E-4861-9413E4BF2072}"/>
                    </a:ext>
                  </a:extLst>
                </p:cNvPr>
                <p:cNvSpPr/>
                <p:nvPr/>
              </p:nvSpPr>
              <p:spPr>
                <a:xfrm>
                  <a:off x="3631009" y="4356631"/>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55" name="Freeform: Shape 11154">
                  <a:extLst>
                    <a:ext uri="{FF2B5EF4-FFF2-40B4-BE49-F238E27FC236}">
                      <a16:creationId xmlns:a16="http://schemas.microsoft.com/office/drawing/2014/main" id="{8DE5CD5C-6726-04C5-AB00-ED50E32EB46A}"/>
                    </a:ext>
                  </a:extLst>
                </p:cNvPr>
                <p:cNvSpPr/>
                <p:nvPr/>
              </p:nvSpPr>
              <p:spPr>
                <a:xfrm>
                  <a:off x="3631009" y="4356631"/>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13" name="Graphic 642">
              <a:extLst>
                <a:ext uri="{FF2B5EF4-FFF2-40B4-BE49-F238E27FC236}">
                  <a16:creationId xmlns:a16="http://schemas.microsoft.com/office/drawing/2014/main" id="{DDDAC87A-5BAA-1418-7F04-639A60B8CB58}"/>
                </a:ext>
              </a:extLst>
            </p:cNvPr>
            <p:cNvGrpSpPr/>
            <p:nvPr/>
          </p:nvGrpSpPr>
          <p:grpSpPr>
            <a:xfrm>
              <a:off x="5375603" y="3937129"/>
              <a:ext cx="188153" cy="129357"/>
              <a:chOff x="3749954" y="4422437"/>
              <a:chExt cx="152929" cy="99449"/>
            </a:xfrm>
            <a:gradFill flip="none" rotWithShape="1">
              <a:gsLst>
                <a:gs pos="100000">
                  <a:srgbClr val="66C29F"/>
                </a:gs>
                <a:gs pos="0">
                  <a:srgbClr val="3C9673"/>
                </a:gs>
              </a:gsLst>
              <a:lin ang="0" scaled="1"/>
              <a:tileRect/>
            </a:gradFill>
          </p:grpSpPr>
          <p:sp>
            <p:nvSpPr>
              <p:cNvPr id="11148" name="Freeform: Shape 11147">
                <a:extLst>
                  <a:ext uri="{FF2B5EF4-FFF2-40B4-BE49-F238E27FC236}">
                    <a16:creationId xmlns:a16="http://schemas.microsoft.com/office/drawing/2014/main" id="{CDD43823-5D51-C449-F45C-616EDE13BBC7}"/>
                  </a:ext>
                </a:extLst>
              </p:cNvPr>
              <p:cNvSpPr/>
              <p:nvPr/>
            </p:nvSpPr>
            <p:spPr>
              <a:xfrm>
                <a:off x="3749954" y="4422437"/>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49" name="Graphic 642">
                <a:extLst>
                  <a:ext uri="{FF2B5EF4-FFF2-40B4-BE49-F238E27FC236}">
                    <a16:creationId xmlns:a16="http://schemas.microsoft.com/office/drawing/2014/main" id="{8D9B650C-6D20-AA48-D6AF-0ABC3DC64871}"/>
                  </a:ext>
                </a:extLst>
              </p:cNvPr>
              <p:cNvGrpSpPr/>
              <p:nvPr/>
            </p:nvGrpSpPr>
            <p:grpSpPr>
              <a:xfrm>
                <a:off x="3749955" y="4422437"/>
                <a:ext cx="152929" cy="99449"/>
                <a:chOff x="3749955" y="4422437"/>
                <a:chExt cx="152929" cy="99449"/>
              </a:xfrm>
              <a:grpFill/>
            </p:grpSpPr>
            <p:sp>
              <p:nvSpPr>
                <p:cNvPr id="11150" name="Freeform: Shape 11149">
                  <a:extLst>
                    <a:ext uri="{FF2B5EF4-FFF2-40B4-BE49-F238E27FC236}">
                      <a16:creationId xmlns:a16="http://schemas.microsoft.com/office/drawing/2014/main" id="{88FC60A1-8A8A-54BA-0DD0-6CABFC84FE72}"/>
                    </a:ext>
                  </a:extLst>
                </p:cNvPr>
                <p:cNvSpPr/>
                <p:nvPr/>
              </p:nvSpPr>
              <p:spPr>
                <a:xfrm>
                  <a:off x="3749955" y="4422437"/>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51" name="Freeform: Shape 11150">
                  <a:extLst>
                    <a:ext uri="{FF2B5EF4-FFF2-40B4-BE49-F238E27FC236}">
                      <a16:creationId xmlns:a16="http://schemas.microsoft.com/office/drawing/2014/main" id="{C9D3FE06-9B25-3753-7CDB-CD6B05216F88}"/>
                    </a:ext>
                  </a:extLst>
                </p:cNvPr>
                <p:cNvSpPr/>
                <p:nvPr/>
              </p:nvSpPr>
              <p:spPr>
                <a:xfrm>
                  <a:off x="3749955" y="4422437"/>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14" name="Graphic 642">
              <a:extLst>
                <a:ext uri="{FF2B5EF4-FFF2-40B4-BE49-F238E27FC236}">
                  <a16:creationId xmlns:a16="http://schemas.microsoft.com/office/drawing/2014/main" id="{B19C6C1B-A1C5-F200-2DA6-7511E7389E4A}"/>
                </a:ext>
              </a:extLst>
            </p:cNvPr>
            <p:cNvGrpSpPr/>
            <p:nvPr/>
          </p:nvGrpSpPr>
          <p:grpSpPr>
            <a:xfrm>
              <a:off x="5590012" y="3884806"/>
              <a:ext cx="188167" cy="129357"/>
              <a:chOff x="3924223" y="4382211"/>
              <a:chExt cx="152940" cy="99449"/>
            </a:xfrm>
            <a:gradFill flip="none" rotWithShape="1">
              <a:gsLst>
                <a:gs pos="100000">
                  <a:srgbClr val="66C29F"/>
                </a:gs>
                <a:gs pos="0">
                  <a:srgbClr val="3C9673"/>
                </a:gs>
              </a:gsLst>
              <a:lin ang="0" scaled="1"/>
              <a:tileRect/>
            </a:gradFill>
          </p:grpSpPr>
          <p:sp>
            <p:nvSpPr>
              <p:cNvPr id="11144" name="Freeform: Shape 11143">
                <a:extLst>
                  <a:ext uri="{FF2B5EF4-FFF2-40B4-BE49-F238E27FC236}">
                    <a16:creationId xmlns:a16="http://schemas.microsoft.com/office/drawing/2014/main" id="{5EF3A191-4859-1B69-5741-C5CF374C2AC4}"/>
                  </a:ext>
                </a:extLst>
              </p:cNvPr>
              <p:cNvSpPr/>
              <p:nvPr/>
            </p:nvSpPr>
            <p:spPr>
              <a:xfrm>
                <a:off x="3924223" y="4382211"/>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45" name="Graphic 642">
                <a:extLst>
                  <a:ext uri="{FF2B5EF4-FFF2-40B4-BE49-F238E27FC236}">
                    <a16:creationId xmlns:a16="http://schemas.microsoft.com/office/drawing/2014/main" id="{7859F93E-22A1-1BD4-FEC7-6347CB2D7CCD}"/>
                  </a:ext>
                </a:extLst>
              </p:cNvPr>
              <p:cNvGrpSpPr/>
              <p:nvPr/>
            </p:nvGrpSpPr>
            <p:grpSpPr>
              <a:xfrm>
                <a:off x="3924224" y="4382211"/>
                <a:ext cx="152940" cy="99449"/>
                <a:chOff x="3924224" y="4382211"/>
                <a:chExt cx="152940" cy="99449"/>
              </a:xfrm>
              <a:grpFill/>
            </p:grpSpPr>
            <p:sp>
              <p:nvSpPr>
                <p:cNvPr id="11146" name="Freeform: Shape 11145">
                  <a:extLst>
                    <a:ext uri="{FF2B5EF4-FFF2-40B4-BE49-F238E27FC236}">
                      <a16:creationId xmlns:a16="http://schemas.microsoft.com/office/drawing/2014/main" id="{C93FB5F9-92A8-D873-5D1C-5E621A921684}"/>
                    </a:ext>
                  </a:extLst>
                </p:cNvPr>
                <p:cNvSpPr/>
                <p:nvPr/>
              </p:nvSpPr>
              <p:spPr>
                <a:xfrm>
                  <a:off x="3924224" y="4382211"/>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47" name="Freeform: Shape 11146">
                  <a:extLst>
                    <a:ext uri="{FF2B5EF4-FFF2-40B4-BE49-F238E27FC236}">
                      <a16:creationId xmlns:a16="http://schemas.microsoft.com/office/drawing/2014/main" id="{135236D0-B5E4-4FC0-F532-4E36EA6654B2}"/>
                    </a:ext>
                  </a:extLst>
                </p:cNvPr>
                <p:cNvSpPr/>
                <p:nvPr/>
              </p:nvSpPr>
              <p:spPr>
                <a:xfrm>
                  <a:off x="3924224" y="4382211"/>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115" name="Freeform: Shape 11114">
              <a:extLst>
                <a:ext uri="{FF2B5EF4-FFF2-40B4-BE49-F238E27FC236}">
                  <a16:creationId xmlns:a16="http://schemas.microsoft.com/office/drawing/2014/main" id="{10D719B3-C092-D372-CED4-02CC57C1DA31}"/>
                </a:ext>
              </a:extLst>
            </p:cNvPr>
            <p:cNvSpPr/>
            <p:nvPr/>
          </p:nvSpPr>
          <p:spPr>
            <a:xfrm>
              <a:off x="5443963" y="3763872"/>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16" name="Freeform: Shape 11115">
              <a:extLst>
                <a:ext uri="{FF2B5EF4-FFF2-40B4-BE49-F238E27FC236}">
                  <a16:creationId xmlns:a16="http://schemas.microsoft.com/office/drawing/2014/main" id="{EB9CABEB-1043-E35F-5B67-5CB04EBFA841}"/>
                </a:ext>
              </a:extLst>
            </p:cNvPr>
            <p:cNvSpPr/>
            <p:nvPr/>
          </p:nvSpPr>
          <p:spPr>
            <a:xfrm>
              <a:off x="5229556" y="3816206"/>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17" name="Freeform: Shape 11116">
              <a:extLst>
                <a:ext uri="{FF2B5EF4-FFF2-40B4-BE49-F238E27FC236}">
                  <a16:creationId xmlns:a16="http://schemas.microsoft.com/office/drawing/2014/main" id="{AE36B184-87B2-15FB-BA65-28521CEB0921}"/>
                </a:ext>
              </a:extLst>
            </p:cNvPr>
            <p:cNvSpPr/>
            <p:nvPr/>
          </p:nvSpPr>
          <p:spPr>
            <a:xfrm>
              <a:off x="5590277" y="3849480"/>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18" name="Freeform: Shape 11117">
              <a:extLst>
                <a:ext uri="{FF2B5EF4-FFF2-40B4-BE49-F238E27FC236}">
                  <a16:creationId xmlns:a16="http://schemas.microsoft.com/office/drawing/2014/main" id="{1E95619B-03CF-9EAC-0C9F-02A0A1C23CBB}"/>
                </a:ext>
              </a:extLst>
            </p:cNvPr>
            <p:cNvSpPr/>
            <p:nvPr/>
          </p:nvSpPr>
          <p:spPr>
            <a:xfrm>
              <a:off x="5375900" y="3901804"/>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19" name="Graphic 642">
              <a:extLst>
                <a:ext uri="{FF2B5EF4-FFF2-40B4-BE49-F238E27FC236}">
                  <a16:creationId xmlns:a16="http://schemas.microsoft.com/office/drawing/2014/main" id="{D8F77BE3-4F21-1758-31A7-140310FABDE7}"/>
                </a:ext>
              </a:extLst>
            </p:cNvPr>
            <p:cNvGrpSpPr/>
            <p:nvPr/>
          </p:nvGrpSpPr>
          <p:grpSpPr>
            <a:xfrm>
              <a:off x="4994094" y="3908931"/>
              <a:ext cx="188167" cy="129348"/>
              <a:chOff x="3439867" y="4400758"/>
              <a:chExt cx="152940" cy="99442"/>
            </a:xfrm>
            <a:gradFill flip="none" rotWithShape="1">
              <a:gsLst>
                <a:gs pos="100000">
                  <a:srgbClr val="66C29F"/>
                </a:gs>
                <a:gs pos="0">
                  <a:srgbClr val="3C9673"/>
                </a:gs>
              </a:gsLst>
              <a:lin ang="0" scaled="1"/>
              <a:tileRect/>
            </a:gradFill>
          </p:grpSpPr>
          <p:sp>
            <p:nvSpPr>
              <p:cNvPr id="11140" name="Freeform: Shape 11139">
                <a:extLst>
                  <a:ext uri="{FF2B5EF4-FFF2-40B4-BE49-F238E27FC236}">
                    <a16:creationId xmlns:a16="http://schemas.microsoft.com/office/drawing/2014/main" id="{27FE62EB-F2A2-80B4-C0E2-FBFF92D28546}"/>
                  </a:ext>
                </a:extLst>
              </p:cNvPr>
              <p:cNvSpPr/>
              <p:nvPr/>
            </p:nvSpPr>
            <p:spPr>
              <a:xfrm>
                <a:off x="3439867" y="4400758"/>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41" name="Graphic 642">
                <a:extLst>
                  <a:ext uri="{FF2B5EF4-FFF2-40B4-BE49-F238E27FC236}">
                    <a16:creationId xmlns:a16="http://schemas.microsoft.com/office/drawing/2014/main" id="{5F938EA4-F3EB-BD26-A962-B4526BFDD518}"/>
                  </a:ext>
                </a:extLst>
              </p:cNvPr>
              <p:cNvGrpSpPr/>
              <p:nvPr/>
            </p:nvGrpSpPr>
            <p:grpSpPr>
              <a:xfrm>
                <a:off x="3439867" y="4400758"/>
                <a:ext cx="152940" cy="99438"/>
                <a:chOff x="3439867" y="4400758"/>
                <a:chExt cx="152940" cy="99438"/>
              </a:xfrm>
              <a:grpFill/>
            </p:grpSpPr>
            <p:sp>
              <p:nvSpPr>
                <p:cNvPr id="11142" name="Freeform: Shape 11141">
                  <a:extLst>
                    <a:ext uri="{FF2B5EF4-FFF2-40B4-BE49-F238E27FC236}">
                      <a16:creationId xmlns:a16="http://schemas.microsoft.com/office/drawing/2014/main" id="{63CB5652-41F6-76B4-0C62-08478E327853}"/>
                    </a:ext>
                  </a:extLst>
                </p:cNvPr>
                <p:cNvSpPr/>
                <p:nvPr/>
              </p:nvSpPr>
              <p:spPr>
                <a:xfrm>
                  <a:off x="3439867" y="4400758"/>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43" name="Freeform: Shape 11142">
                  <a:extLst>
                    <a:ext uri="{FF2B5EF4-FFF2-40B4-BE49-F238E27FC236}">
                      <a16:creationId xmlns:a16="http://schemas.microsoft.com/office/drawing/2014/main" id="{216A8978-8F5C-FDD6-82E7-B862406AC095}"/>
                    </a:ext>
                  </a:extLst>
                </p:cNvPr>
                <p:cNvSpPr/>
                <p:nvPr/>
              </p:nvSpPr>
              <p:spPr>
                <a:xfrm>
                  <a:off x="3439867" y="4400758"/>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20" name="Graphic 642">
              <a:extLst>
                <a:ext uri="{FF2B5EF4-FFF2-40B4-BE49-F238E27FC236}">
                  <a16:creationId xmlns:a16="http://schemas.microsoft.com/office/drawing/2014/main" id="{4DC4044B-D05C-44F3-6176-2F6B55488DE0}"/>
                </a:ext>
              </a:extLst>
            </p:cNvPr>
            <p:cNvGrpSpPr/>
            <p:nvPr/>
          </p:nvGrpSpPr>
          <p:grpSpPr>
            <a:xfrm>
              <a:off x="4779700" y="3961253"/>
              <a:ext cx="188153" cy="129346"/>
              <a:chOff x="3265609" y="4440983"/>
              <a:chExt cx="152929" cy="99440"/>
            </a:xfrm>
            <a:gradFill flip="none" rotWithShape="1">
              <a:gsLst>
                <a:gs pos="100000">
                  <a:srgbClr val="66C29F"/>
                </a:gs>
                <a:gs pos="0">
                  <a:srgbClr val="3C9673"/>
                </a:gs>
              </a:gsLst>
              <a:lin ang="0" scaled="1"/>
              <a:tileRect/>
            </a:gradFill>
          </p:grpSpPr>
          <p:sp>
            <p:nvSpPr>
              <p:cNvPr id="11136" name="Freeform: Shape 11135">
                <a:extLst>
                  <a:ext uri="{FF2B5EF4-FFF2-40B4-BE49-F238E27FC236}">
                    <a16:creationId xmlns:a16="http://schemas.microsoft.com/office/drawing/2014/main" id="{84FED51B-767A-1284-064F-F5AF484373A4}"/>
                  </a:ext>
                </a:extLst>
              </p:cNvPr>
              <p:cNvSpPr/>
              <p:nvPr/>
            </p:nvSpPr>
            <p:spPr>
              <a:xfrm>
                <a:off x="3265609" y="4440983"/>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37" name="Graphic 642">
                <a:extLst>
                  <a:ext uri="{FF2B5EF4-FFF2-40B4-BE49-F238E27FC236}">
                    <a16:creationId xmlns:a16="http://schemas.microsoft.com/office/drawing/2014/main" id="{4C22C09F-117D-E743-E92E-FC014F58614F}"/>
                  </a:ext>
                </a:extLst>
              </p:cNvPr>
              <p:cNvGrpSpPr/>
              <p:nvPr/>
            </p:nvGrpSpPr>
            <p:grpSpPr>
              <a:xfrm>
                <a:off x="3265609" y="4440983"/>
                <a:ext cx="152929" cy="99438"/>
                <a:chOff x="3265609" y="4440983"/>
                <a:chExt cx="152929" cy="99438"/>
              </a:xfrm>
              <a:grpFill/>
            </p:grpSpPr>
            <p:sp>
              <p:nvSpPr>
                <p:cNvPr id="11138" name="Freeform: Shape 11137">
                  <a:extLst>
                    <a:ext uri="{FF2B5EF4-FFF2-40B4-BE49-F238E27FC236}">
                      <a16:creationId xmlns:a16="http://schemas.microsoft.com/office/drawing/2014/main" id="{839F614E-39C2-0091-A98E-295E2EC6232D}"/>
                    </a:ext>
                  </a:extLst>
                </p:cNvPr>
                <p:cNvSpPr/>
                <p:nvPr/>
              </p:nvSpPr>
              <p:spPr>
                <a:xfrm>
                  <a:off x="3265609" y="4440983"/>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39" name="Freeform: Shape 11138">
                  <a:extLst>
                    <a:ext uri="{FF2B5EF4-FFF2-40B4-BE49-F238E27FC236}">
                      <a16:creationId xmlns:a16="http://schemas.microsoft.com/office/drawing/2014/main" id="{2EFBA24A-22E3-55E3-3684-9106F1695968}"/>
                    </a:ext>
                  </a:extLst>
                </p:cNvPr>
                <p:cNvSpPr/>
                <p:nvPr/>
              </p:nvSpPr>
              <p:spPr>
                <a:xfrm>
                  <a:off x="3265609" y="4440983"/>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21" name="Graphic 642">
              <a:extLst>
                <a:ext uri="{FF2B5EF4-FFF2-40B4-BE49-F238E27FC236}">
                  <a16:creationId xmlns:a16="http://schemas.microsoft.com/office/drawing/2014/main" id="{99415A19-E6D7-E1A7-002B-F66FCCAB4188}"/>
                </a:ext>
              </a:extLst>
            </p:cNvPr>
            <p:cNvGrpSpPr/>
            <p:nvPr/>
          </p:nvGrpSpPr>
          <p:grpSpPr>
            <a:xfrm>
              <a:off x="4926042" y="4046849"/>
              <a:ext cx="188180" cy="129373"/>
              <a:chOff x="3384555" y="4506789"/>
              <a:chExt cx="152951" cy="99461"/>
            </a:xfrm>
            <a:gradFill flip="none" rotWithShape="1">
              <a:gsLst>
                <a:gs pos="100000">
                  <a:srgbClr val="66C29F"/>
                </a:gs>
                <a:gs pos="0">
                  <a:srgbClr val="3C9673"/>
                </a:gs>
              </a:gsLst>
              <a:lin ang="0" scaled="1"/>
              <a:tileRect/>
            </a:gradFill>
          </p:grpSpPr>
          <p:sp>
            <p:nvSpPr>
              <p:cNvPr id="11132" name="Freeform: Shape 11131">
                <a:extLst>
                  <a:ext uri="{FF2B5EF4-FFF2-40B4-BE49-F238E27FC236}">
                    <a16:creationId xmlns:a16="http://schemas.microsoft.com/office/drawing/2014/main" id="{B7BDD733-395E-E897-5169-706A057AF294}"/>
                  </a:ext>
                </a:extLst>
              </p:cNvPr>
              <p:cNvSpPr/>
              <p:nvPr/>
            </p:nvSpPr>
            <p:spPr>
              <a:xfrm>
                <a:off x="3384555" y="4506789"/>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33" name="Graphic 642">
                <a:extLst>
                  <a:ext uri="{FF2B5EF4-FFF2-40B4-BE49-F238E27FC236}">
                    <a16:creationId xmlns:a16="http://schemas.microsoft.com/office/drawing/2014/main" id="{2B04B971-9D10-313E-190C-B1F2CC37783C}"/>
                  </a:ext>
                </a:extLst>
              </p:cNvPr>
              <p:cNvGrpSpPr/>
              <p:nvPr/>
            </p:nvGrpSpPr>
            <p:grpSpPr>
              <a:xfrm>
                <a:off x="3384555" y="4506789"/>
                <a:ext cx="152951" cy="99461"/>
                <a:chOff x="3384555" y="4506789"/>
                <a:chExt cx="152951" cy="99461"/>
              </a:xfrm>
              <a:grpFill/>
            </p:grpSpPr>
            <p:sp>
              <p:nvSpPr>
                <p:cNvPr id="11134" name="Freeform: Shape 11133">
                  <a:extLst>
                    <a:ext uri="{FF2B5EF4-FFF2-40B4-BE49-F238E27FC236}">
                      <a16:creationId xmlns:a16="http://schemas.microsoft.com/office/drawing/2014/main" id="{43496728-C1B7-3F24-1E55-F241CA99D971}"/>
                    </a:ext>
                  </a:extLst>
                </p:cNvPr>
                <p:cNvSpPr/>
                <p:nvPr/>
              </p:nvSpPr>
              <p:spPr>
                <a:xfrm>
                  <a:off x="3384555" y="4506789"/>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35" name="Freeform: Shape 11134">
                  <a:extLst>
                    <a:ext uri="{FF2B5EF4-FFF2-40B4-BE49-F238E27FC236}">
                      <a16:creationId xmlns:a16="http://schemas.microsoft.com/office/drawing/2014/main" id="{C3173200-EBB3-92B3-5A23-F11397954AAE}"/>
                    </a:ext>
                  </a:extLst>
                </p:cNvPr>
                <p:cNvSpPr/>
                <p:nvPr/>
              </p:nvSpPr>
              <p:spPr>
                <a:xfrm>
                  <a:off x="3384555" y="4506789"/>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22" name="Graphic 642">
              <a:extLst>
                <a:ext uri="{FF2B5EF4-FFF2-40B4-BE49-F238E27FC236}">
                  <a16:creationId xmlns:a16="http://schemas.microsoft.com/office/drawing/2014/main" id="{38C21049-9784-7C77-E6C2-D0AE9B07DB5F}"/>
                </a:ext>
              </a:extLst>
            </p:cNvPr>
            <p:cNvGrpSpPr/>
            <p:nvPr/>
          </p:nvGrpSpPr>
          <p:grpSpPr>
            <a:xfrm>
              <a:off x="5140451" y="3994541"/>
              <a:ext cx="188167" cy="129343"/>
              <a:chOff x="3558824" y="4466575"/>
              <a:chExt cx="152940" cy="99438"/>
            </a:xfrm>
            <a:gradFill flip="none" rotWithShape="1">
              <a:gsLst>
                <a:gs pos="100000">
                  <a:srgbClr val="66C29F"/>
                </a:gs>
                <a:gs pos="0">
                  <a:srgbClr val="3C9673"/>
                </a:gs>
              </a:gsLst>
              <a:lin ang="0" scaled="1"/>
              <a:tileRect/>
            </a:gradFill>
          </p:grpSpPr>
          <p:sp>
            <p:nvSpPr>
              <p:cNvPr id="11128" name="Freeform: Shape 11127">
                <a:extLst>
                  <a:ext uri="{FF2B5EF4-FFF2-40B4-BE49-F238E27FC236}">
                    <a16:creationId xmlns:a16="http://schemas.microsoft.com/office/drawing/2014/main" id="{EE5F6682-0F7C-2899-8E91-47406EE52642}"/>
                  </a:ext>
                </a:extLst>
              </p:cNvPr>
              <p:cNvSpPr/>
              <p:nvPr/>
            </p:nvSpPr>
            <p:spPr>
              <a:xfrm>
                <a:off x="3558824" y="4466575"/>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29" name="Graphic 642">
                <a:extLst>
                  <a:ext uri="{FF2B5EF4-FFF2-40B4-BE49-F238E27FC236}">
                    <a16:creationId xmlns:a16="http://schemas.microsoft.com/office/drawing/2014/main" id="{0C610926-C296-E99A-7CCA-3AF31AC71C77}"/>
                  </a:ext>
                </a:extLst>
              </p:cNvPr>
              <p:cNvGrpSpPr/>
              <p:nvPr/>
            </p:nvGrpSpPr>
            <p:grpSpPr>
              <a:xfrm>
                <a:off x="3558824" y="4466575"/>
                <a:ext cx="152940" cy="99438"/>
                <a:chOff x="3558824" y="4466575"/>
                <a:chExt cx="152940" cy="99438"/>
              </a:xfrm>
              <a:grpFill/>
            </p:grpSpPr>
            <p:sp>
              <p:nvSpPr>
                <p:cNvPr id="11130" name="Freeform: Shape 11129">
                  <a:extLst>
                    <a:ext uri="{FF2B5EF4-FFF2-40B4-BE49-F238E27FC236}">
                      <a16:creationId xmlns:a16="http://schemas.microsoft.com/office/drawing/2014/main" id="{C97AA8A0-4EBB-5A47-91D5-5B4B1D3BBED0}"/>
                    </a:ext>
                  </a:extLst>
                </p:cNvPr>
                <p:cNvSpPr/>
                <p:nvPr/>
              </p:nvSpPr>
              <p:spPr>
                <a:xfrm>
                  <a:off x="3558824" y="4466575"/>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31" name="Freeform: Shape 11130">
                  <a:extLst>
                    <a:ext uri="{FF2B5EF4-FFF2-40B4-BE49-F238E27FC236}">
                      <a16:creationId xmlns:a16="http://schemas.microsoft.com/office/drawing/2014/main" id="{1472BCF8-BADE-FE1A-15C4-631C2C088AB8}"/>
                    </a:ext>
                  </a:extLst>
                </p:cNvPr>
                <p:cNvSpPr/>
                <p:nvPr/>
              </p:nvSpPr>
              <p:spPr>
                <a:xfrm>
                  <a:off x="3558824" y="4466575"/>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123" name="Freeform: Shape 11122">
              <a:extLst>
                <a:ext uri="{FF2B5EF4-FFF2-40B4-BE49-F238E27FC236}">
                  <a16:creationId xmlns:a16="http://schemas.microsoft.com/office/drawing/2014/main" id="{61D6439F-BE1E-BC14-0DAA-3DB52EBB7A0C}"/>
                </a:ext>
              </a:extLst>
            </p:cNvPr>
            <p:cNvSpPr/>
            <p:nvPr/>
          </p:nvSpPr>
          <p:spPr>
            <a:xfrm>
              <a:off x="4994413" y="3873600"/>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24" name="Freeform: Shape 11123">
              <a:extLst>
                <a:ext uri="{FF2B5EF4-FFF2-40B4-BE49-F238E27FC236}">
                  <a16:creationId xmlns:a16="http://schemas.microsoft.com/office/drawing/2014/main" id="{98E9F739-4EA3-405B-BD23-E5B732917532}"/>
                </a:ext>
              </a:extLst>
            </p:cNvPr>
            <p:cNvSpPr/>
            <p:nvPr/>
          </p:nvSpPr>
          <p:spPr>
            <a:xfrm>
              <a:off x="4780013" y="3925926"/>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25" name="Freeform: Shape 11124">
              <a:extLst>
                <a:ext uri="{FF2B5EF4-FFF2-40B4-BE49-F238E27FC236}">
                  <a16:creationId xmlns:a16="http://schemas.microsoft.com/office/drawing/2014/main" id="{B295E9D9-A43D-65B3-1343-C84442102F1C}"/>
                </a:ext>
              </a:extLst>
            </p:cNvPr>
            <p:cNvSpPr/>
            <p:nvPr/>
          </p:nvSpPr>
          <p:spPr>
            <a:xfrm>
              <a:off x="5140747" y="3959209"/>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26" name="Freeform: Shape 11125">
              <a:extLst>
                <a:ext uri="{FF2B5EF4-FFF2-40B4-BE49-F238E27FC236}">
                  <a16:creationId xmlns:a16="http://schemas.microsoft.com/office/drawing/2014/main" id="{129A9547-A7F7-A233-BEF4-24132FC55847}"/>
                </a:ext>
              </a:extLst>
            </p:cNvPr>
            <p:cNvSpPr/>
            <p:nvPr/>
          </p:nvSpPr>
          <p:spPr>
            <a:xfrm>
              <a:off x="4926348" y="4011533"/>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66C29F"/>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27" name="RectangleLegend2">
              <a:extLst>
                <a:ext uri="{FF2B5EF4-FFF2-40B4-BE49-F238E27FC236}">
                  <a16:creationId xmlns:a16="http://schemas.microsoft.com/office/drawing/2014/main" id="{F552DDFC-E300-86D4-0456-8AFDE0729BC0}"/>
                </a:ext>
              </a:extLst>
            </p:cNvPr>
            <p:cNvSpPr>
              <a:spLocks/>
            </p:cNvSpPr>
            <p:nvPr/>
          </p:nvSpPr>
          <p:spPr>
            <a:xfrm>
              <a:off x="4717906" y="4195440"/>
              <a:ext cx="1402645" cy="112892"/>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40g production scale</a:t>
              </a:r>
            </a:p>
          </p:txBody>
        </p:sp>
      </p:grpSp>
      <p:grpSp>
        <p:nvGrpSpPr>
          <p:cNvPr id="11161" name="Graphic 455">
            <a:extLst>
              <a:ext uri="{FF2B5EF4-FFF2-40B4-BE49-F238E27FC236}">
                <a16:creationId xmlns:a16="http://schemas.microsoft.com/office/drawing/2014/main" id="{920CC80D-E937-215E-9410-7EB359A7C76F}"/>
              </a:ext>
            </a:extLst>
          </p:cNvPr>
          <p:cNvGrpSpPr/>
          <p:nvPr/>
        </p:nvGrpSpPr>
        <p:grpSpPr>
          <a:xfrm>
            <a:off x="3028322" y="4584171"/>
            <a:ext cx="205200" cy="141055"/>
            <a:chOff x="2595171" y="4564360"/>
            <a:chExt cx="152940" cy="99440"/>
          </a:xfrm>
          <a:gradFill flip="none" rotWithShape="1">
            <a:gsLst>
              <a:gs pos="100000">
                <a:srgbClr val="008896"/>
              </a:gs>
              <a:gs pos="0">
                <a:srgbClr val="005A64"/>
              </a:gs>
            </a:gsLst>
            <a:lin ang="0" scaled="1"/>
            <a:tileRect/>
          </a:gradFill>
        </p:grpSpPr>
        <p:sp>
          <p:nvSpPr>
            <p:cNvPr id="11248" name="Freeform: Shape 11247">
              <a:extLst>
                <a:ext uri="{FF2B5EF4-FFF2-40B4-BE49-F238E27FC236}">
                  <a16:creationId xmlns:a16="http://schemas.microsoft.com/office/drawing/2014/main" id="{A196D456-266F-672F-578E-47C6BE1E1BE9}"/>
                </a:ext>
              </a:extLst>
            </p:cNvPr>
            <p:cNvSpPr/>
            <p:nvPr/>
          </p:nvSpPr>
          <p:spPr>
            <a:xfrm>
              <a:off x="2595171" y="4564360"/>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49" name="Graphic 455">
              <a:extLst>
                <a:ext uri="{FF2B5EF4-FFF2-40B4-BE49-F238E27FC236}">
                  <a16:creationId xmlns:a16="http://schemas.microsoft.com/office/drawing/2014/main" id="{B4E5E385-D4AA-CF25-4068-BE2CF830D621}"/>
                </a:ext>
              </a:extLst>
            </p:cNvPr>
            <p:cNvGrpSpPr/>
            <p:nvPr/>
          </p:nvGrpSpPr>
          <p:grpSpPr>
            <a:xfrm>
              <a:off x="2595171" y="4564360"/>
              <a:ext cx="152940" cy="99438"/>
              <a:chOff x="2595171" y="4564360"/>
              <a:chExt cx="152940" cy="99438"/>
            </a:xfrm>
            <a:grpFill/>
          </p:grpSpPr>
          <p:sp>
            <p:nvSpPr>
              <p:cNvPr id="11250" name="Freeform: Shape 11249">
                <a:extLst>
                  <a:ext uri="{FF2B5EF4-FFF2-40B4-BE49-F238E27FC236}">
                    <a16:creationId xmlns:a16="http://schemas.microsoft.com/office/drawing/2014/main" id="{ABF234F9-D8BA-7C26-7DED-71A6EEA4E049}"/>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51" name="Freeform: Shape 11250">
                <a:extLst>
                  <a:ext uri="{FF2B5EF4-FFF2-40B4-BE49-F238E27FC236}">
                    <a16:creationId xmlns:a16="http://schemas.microsoft.com/office/drawing/2014/main" id="{5C646DDC-B3D1-5AC1-6D30-B2C1AA978F83}"/>
                  </a:ext>
                </a:extLst>
              </p:cNvPr>
              <p:cNvSpPr/>
              <p:nvPr/>
            </p:nvSpPr>
            <p:spPr>
              <a:xfrm>
                <a:off x="2595171" y="4564360"/>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62" name="Graphic 455">
            <a:extLst>
              <a:ext uri="{FF2B5EF4-FFF2-40B4-BE49-F238E27FC236}">
                <a16:creationId xmlns:a16="http://schemas.microsoft.com/office/drawing/2014/main" id="{ECFF3C0D-C889-0904-5460-03FBB8E0DD10}"/>
              </a:ext>
            </a:extLst>
          </p:cNvPr>
          <p:cNvGrpSpPr/>
          <p:nvPr/>
        </p:nvGrpSpPr>
        <p:grpSpPr>
          <a:xfrm>
            <a:off x="2794550" y="4641247"/>
            <a:ext cx="205185" cy="141043"/>
            <a:chOff x="2420936" y="4604597"/>
            <a:chExt cx="152929" cy="99432"/>
          </a:xfrm>
          <a:gradFill flip="none" rotWithShape="1">
            <a:gsLst>
              <a:gs pos="100000">
                <a:srgbClr val="008896"/>
              </a:gs>
              <a:gs pos="0">
                <a:srgbClr val="005A64"/>
              </a:gs>
            </a:gsLst>
            <a:lin ang="0" scaled="1"/>
            <a:tileRect/>
          </a:gradFill>
        </p:grpSpPr>
        <p:sp>
          <p:nvSpPr>
            <p:cNvPr id="11244" name="Freeform: Shape 11243">
              <a:extLst>
                <a:ext uri="{FF2B5EF4-FFF2-40B4-BE49-F238E27FC236}">
                  <a16:creationId xmlns:a16="http://schemas.microsoft.com/office/drawing/2014/main" id="{AB8AC4D9-B136-DE89-A1D6-446092777E27}"/>
                </a:ext>
              </a:extLst>
            </p:cNvPr>
            <p:cNvSpPr/>
            <p:nvPr/>
          </p:nvSpPr>
          <p:spPr>
            <a:xfrm>
              <a:off x="2420936" y="4604597"/>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45" name="Graphic 455">
              <a:extLst>
                <a:ext uri="{FF2B5EF4-FFF2-40B4-BE49-F238E27FC236}">
                  <a16:creationId xmlns:a16="http://schemas.microsoft.com/office/drawing/2014/main" id="{86E7CF4C-C1E9-587E-92E0-576F290E0C1C}"/>
                </a:ext>
              </a:extLst>
            </p:cNvPr>
            <p:cNvGrpSpPr/>
            <p:nvPr/>
          </p:nvGrpSpPr>
          <p:grpSpPr>
            <a:xfrm>
              <a:off x="2420937" y="4604597"/>
              <a:ext cx="152929" cy="99427"/>
              <a:chOff x="2420937" y="4604597"/>
              <a:chExt cx="152929" cy="99427"/>
            </a:xfrm>
            <a:grpFill/>
          </p:grpSpPr>
          <p:sp>
            <p:nvSpPr>
              <p:cNvPr id="11246" name="Freeform: Shape 11245">
                <a:extLst>
                  <a:ext uri="{FF2B5EF4-FFF2-40B4-BE49-F238E27FC236}">
                    <a16:creationId xmlns:a16="http://schemas.microsoft.com/office/drawing/2014/main" id="{199143FC-A301-359F-B131-AB2F2B0436E4}"/>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47" name="Freeform: Shape 11246">
                <a:extLst>
                  <a:ext uri="{FF2B5EF4-FFF2-40B4-BE49-F238E27FC236}">
                    <a16:creationId xmlns:a16="http://schemas.microsoft.com/office/drawing/2014/main" id="{9D19D7CF-18A1-F144-BE0C-ED116E1B4358}"/>
                  </a:ext>
                </a:extLst>
              </p:cNvPr>
              <p:cNvSpPr/>
              <p:nvPr/>
            </p:nvSpPr>
            <p:spPr>
              <a:xfrm>
                <a:off x="2420937" y="4604597"/>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63" name="Graphic 455">
            <a:extLst>
              <a:ext uri="{FF2B5EF4-FFF2-40B4-BE49-F238E27FC236}">
                <a16:creationId xmlns:a16="http://schemas.microsoft.com/office/drawing/2014/main" id="{5A31BD98-B601-AD94-D7E0-CCBE2BC47592}"/>
              </a:ext>
            </a:extLst>
          </p:cNvPr>
          <p:cNvGrpSpPr/>
          <p:nvPr/>
        </p:nvGrpSpPr>
        <p:grpSpPr>
          <a:xfrm>
            <a:off x="2954140" y="4734593"/>
            <a:ext cx="205185" cy="141067"/>
            <a:chOff x="2539882" y="4670403"/>
            <a:chExt cx="152929" cy="99449"/>
          </a:xfrm>
          <a:gradFill flip="none" rotWithShape="1">
            <a:gsLst>
              <a:gs pos="100000">
                <a:srgbClr val="008896"/>
              </a:gs>
              <a:gs pos="0">
                <a:srgbClr val="005A64"/>
              </a:gs>
            </a:gsLst>
            <a:lin ang="0" scaled="1"/>
            <a:tileRect/>
          </a:gradFill>
        </p:grpSpPr>
        <p:sp>
          <p:nvSpPr>
            <p:cNvPr id="11240" name="Freeform: Shape 11239">
              <a:extLst>
                <a:ext uri="{FF2B5EF4-FFF2-40B4-BE49-F238E27FC236}">
                  <a16:creationId xmlns:a16="http://schemas.microsoft.com/office/drawing/2014/main" id="{09BF826B-7332-2DF5-C73C-DBA85C71D0B0}"/>
                </a:ext>
              </a:extLst>
            </p:cNvPr>
            <p:cNvSpPr/>
            <p:nvPr/>
          </p:nvSpPr>
          <p:spPr>
            <a:xfrm>
              <a:off x="2539882" y="4670403"/>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41" name="Graphic 455">
              <a:extLst>
                <a:ext uri="{FF2B5EF4-FFF2-40B4-BE49-F238E27FC236}">
                  <a16:creationId xmlns:a16="http://schemas.microsoft.com/office/drawing/2014/main" id="{1ADBB56A-3F53-CB11-352E-79C186F5AA4E}"/>
                </a:ext>
              </a:extLst>
            </p:cNvPr>
            <p:cNvGrpSpPr/>
            <p:nvPr/>
          </p:nvGrpSpPr>
          <p:grpSpPr>
            <a:xfrm>
              <a:off x="2539883" y="4670403"/>
              <a:ext cx="152929" cy="99449"/>
              <a:chOff x="2539883" y="4670403"/>
              <a:chExt cx="152929" cy="99449"/>
            </a:xfrm>
            <a:grpFill/>
          </p:grpSpPr>
          <p:sp>
            <p:nvSpPr>
              <p:cNvPr id="11242" name="Freeform: Shape 11241">
                <a:extLst>
                  <a:ext uri="{FF2B5EF4-FFF2-40B4-BE49-F238E27FC236}">
                    <a16:creationId xmlns:a16="http://schemas.microsoft.com/office/drawing/2014/main" id="{540FFEBC-A81C-A442-4C72-D20E14601C40}"/>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43" name="Freeform: Shape 11242">
                <a:extLst>
                  <a:ext uri="{FF2B5EF4-FFF2-40B4-BE49-F238E27FC236}">
                    <a16:creationId xmlns:a16="http://schemas.microsoft.com/office/drawing/2014/main" id="{B69E443D-BE4A-8B73-1D7C-9E9E185713C9}"/>
                  </a:ext>
                </a:extLst>
              </p:cNvPr>
              <p:cNvSpPr/>
              <p:nvPr/>
            </p:nvSpPr>
            <p:spPr>
              <a:xfrm>
                <a:off x="2539883" y="4670403"/>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64" name="Graphic 455">
            <a:extLst>
              <a:ext uri="{FF2B5EF4-FFF2-40B4-BE49-F238E27FC236}">
                <a16:creationId xmlns:a16="http://schemas.microsoft.com/office/drawing/2014/main" id="{A976CA55-FBFB-69BE-CE4E-7F79A612EA57}"/>
              </a:ext>
            </a:extLst>
          </p:cNvPr>
          <p:cNvGrpSpPr/>
          <p:nvPr/>
        </p:nvGrpSpPr>
        <p:grpSpPr>
          <a:xfrm>
            <a:off x="3187958" y="4677532"/>
            <a:ext cx="205200" cy="141067"/>
            <a:chOff x="2714151" y="4630177"/>
            <a:chExt cx="152940" cy="99449"/>
          </a:xfrm>
          <a:gradFill flip="none" rotWithShape="1">
            <a:gsLst>
              <a:gs pos="100000">
                <a:srgbClr val="008896"/>
              </a:gs>
              <a:gs pos="0">
                <a:srgbClr val="005A64"/>
              </a:gs>
            </a:gsLst>
            <a:lin ang="0" scaled="1"/>
            <a:tileRect/>
          </a:gradFill>
        </p:grpSpPr>
        <p:sp>
          <p:nvSpPr>
            <p:cNvPr id="11236" name="Freeform: Shape 11235">
              <a:extLst>
                <a:ext uri="{FF2B5EF4-FFF2-40B4-BE49-F238E27FC236}">
                  <a16:creationId xmlns:a16="http://schemas.microsoft.com/office/drawing/2014/main" id="{E1DEEF6B-3BB2-87A3-674B-D1A6136C083E}"/>
                </a:ext>
              </a:extLst>
            </p:cNvPr>
            <p:cNvSpPr/>
            <p:nvPr/>
          </p:nvSpPr>
          <p:spPr>
            <a:xfrm>
              <a:off x="2714151" y="4630177"/>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37" name="Graphic 455">
              <a:extLst>
                <a:ext uri="{FF2B5EF4-FFF2-40B4-BE49-F238E27FC236}">
                  <a16:creationId xmlns:a16="http://schemas.microsoft.com/office/drawing/2014/main" id="{66DCD332-4C65-C011-0591-B1C8E859A3FA}"/>
                </a:ext>
              </a:extLst>
            </p:cNvPr>
            <p:cNvGrpSpPr/>
            <p:nvPr/>
          </p:nvGrpSpPr>
          <p:grpSpPr>
            <a:xfrm>
              <a:off x="2714152" y="4630177"/>
              <a:ext cx="152940" cy="99449"/>
              <a:chOff x="2714152" y="4630177"/>
              <a:chExt cx="152940" cy="99449"/>
            </a:xfrm>
            <a:grpFill/>
          </p:grpSpPr>
          <p:sp>
            <p:nvSpPr>
              <p:cNvPr id="11238" name="Freeform: Shape 11237">
                <a:extLst>
                  <a:ext uri="{FF2B5EF4-FFF2-40B4-BE49-F238E27FC236}">
                    <a16:creationId xmlns:a16="http://schemas.microsoft.com/office/drawing/2014/main" id="{CE8E1DE2-B626-4F49-874D-46ABAA45ADC8}"/>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39" name="Freeform: Shape 11238">
                <a:extLst>
                  <a:ext uri="{FF2B5EF4-FFF2-40B4-BE49-F238E27FC236}">
                    <a16:creationId xmlns:a16="http://schemas.microsoft.com/office/drawing/2014/main" id="{81BEE9C3-755B-0025-2E82-96A7DCED0BC8}"/>
                  </a:ext>
                </a:extLst>
              </p:cNvPr>
              <p:cNvSpPr/>
              <p:nvPr/>
            </p:nvSpPr>
            <p:spPr>
              <a:xfrm>
                <a:off x="2714152" y="4630177"/>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165" name="Freeform: Shape 11164">
            <a:extLst>
              <a:ext uri="{FF2B5EF4-FFF2-40B4-BE49-F238E27FC236}">
                <a16:creationId xmlns:a16="http://schemas.microsoft.com/office/drawing/2014/main" id="{71F35F94-4144-A37A-DDB0-E1027D681422}"/>
              </a:ext>
            </a:extLst>
          </p:cNvPr>
          <p:cNvSpPr/>
          <p:nvPr/>
        </p:nvSpPr>
        <p:spPr>
          <a:xfrm>
            <a:off x="3028688" y="4545651"/>
            <a:ext cx="204849" cy="77712"/>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66" name="Freeform: Shape 11165">
            <a:extLst>
              <a:ext uri="{FF2B5EF4-FFF2-40B4-BE49-F238E27FC236}">
                <a16:creationId xmlns:a16="http://schemas.microsoft.com/office/drawing/2014/main" id="{F38C82C3-187B-E991-1C8D-A95EF18A9B52}"/>
              </a:ext>
            </a:extLst>
          </p:cNvPr>
          <p:cNvSpPr/>
          <p:nvPr/>
        </p:nvSpPr>
        <p:spPr>
          <a:xfrm>
            <a:off x="2794872" y="4602722"/>
            <a:ext cx="204853" cy="77712"/>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67" name="Freeform: Shape 11166">
            <a:extLst>
              <a:ext uri="{FF2B5EF4-FFF2-40B4-BE49-F238E27FC236}">
                <a16:creationId xmlns:a16="http://schemas.microsoft.com/office/drawing/2014/main" id="{07CD2FF2-8205-87AC-0343-4A34EEBC4D0C}"/>
              </a:ext>
            </a:extLst>
          </p:cNvPr>
          <p:cNvSpPr/>
          <p:nvPr/>
        </p:nvSpPr>
        <p:spPr>
          <a:xfrm>
            <a:off x="3188247" y="4639010"/>
            <a:ext cx="204897" cy="77720"/>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68" name="Freeform: Shape 11167">
            <a:extLst>
              <a:ext uri="{FF2B5EF4-FFF2-40B4-BE49-F238E27FC236}">
                <a16:creationId xmlns:a16="http://schemas.microsoft.com/office/drawing/2014/main" id="{DAE25257-1A8A-17E7-C306-4B766585DA75}"/>
              </a:ext>
            </a:extLst>
          </p:cNvPr>
          <p:cNvSpPr/>
          <p:nvPr/>
        </p:nvSpPr>
        <p:spPr>
          <a:xfrm>
            <a:off x="2954464" y="4696069"/>
            <a:ext cx="204870" cy="77722"/>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69" name="Graphic 455">
            <a:extLst>
              <a:ext uri="{FF2B5EF4-FFF2-40B4-BE49-F238E27FC236}">
                <a16:creationId xmlns:a16="http://schemas.microsoft.com/office/drawing/2014/main" id="{024D8896-0486-37ED-E09E-87C16806FAE4}"/>
              </a:ext>
            </a:extLst>
          </p:cNvPr>
          <p:cNvGrpSpPr/>
          <p:nvPr/>
        </p:nvGrpSpPr>
        <p:grpSpPr>
          <a:xfrm>
            <a:off x="2538096" y="4703841"/>
            <a:ext cx="205200" cy="141057"/>
            <a:chOff x="2229795" y="4648724"/>
            <a:chExt cx="152940" cy="99442"/>
          </a:xfrm>
          <a:gradFill flip="none" rotWithShape="1">
            <a:gsLst>
              <a:gs pos="100000">
                <a:srgbClr val="008896"/>
              </a:gs>
              <a:gs pos="0">
                <a:srgbClr val="005A64"/>
              </a:gs>
            </a:gsLst>
            <a:lin ang="0" scaled="1"/>
            <a:tileRect/>
          </a:gradFill>
        </p:grpSpPr>
        <p:sp>
          <p:nvSpPr>
            <p:cNvPr id="11232" name="Freeform: Shape 11231">
              <a:extLst>
                <a:ext uri="{FF2B5EF4-FFF2-40B4-BE49-F238E27FC236}">
                  <a16:creationId xmlns:a16="http://schemas.microsoft.com/office/drawing/2014/main" id="{CABC69E1-555D-AE17-B281-B1A405FF4CB4}"/>
                </a:ext>
              </a:extLst>
            </p:cNvPr>
            <p:cNvSpPr/>
            <p:nvPr/>
          </p:nvSpPr>
          <p:spPr>
            <a:xfrm>
              <a:off x="2229795" y="4648724"/>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33" name="Graphic 455">
              <a:extLst>
                <a:ext uri="{FF2B5EF4-FFF2-40B4-BE49-F238E27FC236}">
                  <a16:creationId xmlns:a16="http://schemas.microsoft.com/office/drawing/2014/main" id="{636B54E8-C0EA-5CEA-81E5-C01E7B1C4D80}"/>
                </a:ext>
              </a:extLst>
            </p:cNvPr>
            <p:cNvGrpSpPr/>
            <p:nvPr/>
          </p:nvGrpSpPr>
          <p:grpSpPr>
            <a:xfrm>
              <a:off x="2229795" y="4648724"/>
              <a:ext cx="152940" cy="99438"/>
              <a:chOff x="2229795" y="4648724"/>
              <a:chExt cx="152940" cy="99438"/>
            </a:xfrm>
            <a:grpFill/>
          </p:grpSpPr>
          <p:sp>
            <p:nvSpPr>
              <p:cNvPr id="11234" name="Freeform: Shape 11233">
                <a:extLst>
                  <a:ext uri="{FF2B5EF4-FFF2-40B4-BE49-F238E27FC236}">
                    <a16:creationId xmlns:a16="http://schemas.microsoft.com/office/drawing/2014/main" id="{9674B4E4-8C88-AAEE-5E5F-E9DA19C8506E}"/>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35" name="Freeform: Shape 11234">
                <a:extLst>
                  <a:ext uri="{FF2B5EF4-FFF2-40B4-BE49-F238E27FC236}">
                    <a16:creationId xmlns:a16="http://schemas.microsoft.com/office/drawing/2014/main" id="{5489FC64-2E49-D8F6-3378-473EC57A8E0D}"/>
                  </a:ext>
                </a:extLst>
              </p:cNvPr>
              <p:cNvSpPr/>
              <p:nvPr/>
            </p:nvSpPr>
            <p:spPr>
              <a:xfrm>
                <a:off x="2229795" y="4648724"/>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70" name="Graphic 455">
            <a:extLst>
              <a:ext uri="{FF2B5EF4-FFF2-40B4-BE49-F238E27FC236}">
                <a16:creationId xmlns:a16="http://schemas.microsoft.com/office/drawing/2014/main" id="{FA67ED08-1CB4-33A2-4D60-0416FE65ED4A}"/>
              </a:ext>
            </a:extLst>
          </p:cNvPr>
          <p:cNvGrpSpPr/>
          <p:nvPr/>
        </p:nvGrpSpPr>
        <p:grpSpPr>
          <a:xfrm>
            <a:off x="2697701" y="4797202"/>
            <a:ext cx="205200" cy="141051"/>
            <a:chOff x="2348752" y="4714541"/>
            <a:chExt cx="152940" cy="99438"/>
          </a:xfrm>
          <a:gradFill flip="none" rotWithShape="1">
            <a:gsLst>
              <a:gs pos="100000">
                <a:srgbClr val="008896"/>
              </a:gs>
              <a:gs pos="0">
                <a:srgbClr val="005A64"/>
              </a:gs>
            </a:gsLst>
            <a:lin ang="0" scaled="1"/>
            <a:tileRect/>
          </a:gradFill>
        </p:grpSpPr>
        <p:sp>
          <p:nvSpPr>
            <p:cNvPr id="11228" name="Freeform: Shape 11227">
              <a:extLst>
                <a:ext uri="{FF2B5EF4-FFF2-40B4-BE49-F238E27FC236}">
                  <a16:creationId xmlns:a16="http://schemas.microsoft.com/office/drawing/2014/main" id="{7FD320A7-432A-8A31-F200-7CD7E59B3149}"/>
                </a:ext>
              </a:extLst>
            </p:cNvPr>
            <p:cNvSpPr/>
            <p:nvPr/>
          </p:nvSpPr>
          <p:spPr>
            <a:xfrm>
              <a:off x="2348752" y="4714541"/>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29" name="Graphic 455">
              <a:extLst>
                <a:ext uri="{FF2B5EF4-FFF2-40B4-BE49-F238E27FC236}">
                  <a16:creationId xmlns:a16="http://schemas.microsoft.com/office/drawing/2014/main" id="{DBCF8860-6B12-E8A2-C0E5-8BAF3D4AD33C}"/>
                </a:ext>
              </a:extLst>
            </p:cNvPr>
            <p:cNvGrpSpPr/>
            <p:nvPr/>
          </p:nvGrpSpPr>
          <p:grpSpPr>
            <a:xfrm>
              <a:off x="2348752" y="4714541"/>
              <a:ext cx="152940" cy="99438"/>
              <a:chOff x="2348752" y="4714541"/>
              <a:chExt cx="152940" cy="99438"/>
            </a:xfrm>
            <a:grpFill/>
          </p:grpSpPr>
          <p:sp>
            <p:nvSpPr>
              <p:cNvPr id="11230" name="Freeform: Shape 11229">
                <a:extLst>
                  <a:ext uri="{FF2B5EF4-FFF2-40B4-BE49-F238E27FC236}">
                    <a16:creationId xmlns:a16="http://schemas.microsoft.com/office/drawing/2014/main" id="{7079E1EF-14BF-264C-6DBC-098D0B401468}"/>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31" name="Freeform: Shape 11230">
                <a:extLst>
                  <a:ext uri="{FF2B5EF4-FFF2-40B4-BE49-F238E27FC236}">
                    <a16:creationId xmlns:a16="http://schemas.microsoft.com/office/drawing/2014/main" id="{0C3D8722-E7FC-A29B-7F1F-96B7242FC555}"/>
                  </a:ext>
                </a:extLst>
              </p:cNvPr>
              <p:cNvSpPr/>
              <p:nvPr/>
            </p:nvSpPr>
            <p:spPr>
              <a:xfrm>
                <a:off x="2348752" y="4714541"/>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171" name="Freeform: Shape 11170">
            <a:extLst>
              <a:ext uri="{FF2B5EF4-FFF2-40B4-BE49-F238E27FC236}">
                <a16:creationId xmlns:a16="http://schemas.microsoft.com/office/drawing/2014/main" id="{F4AE3E03-C345-2960-F78D-35D8E4F3CAD7}"/>
              </a:ext>
            </a:extLst>
          </p:cNvPr>
          <p:cNvSpPr/>
          <p:nvPr/>
        </p:nvSpPr>
        <p:spPr>
          <a:xfrm>
            <a:off x="2538444" y="4665311"/>
            <a:ext cx="204848" cy="7770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72" name="Freeform: Shape 11171">
            <a:extLst>
              <a:ext uri="{FF2B5EF4-FFF2-40B4-BE49-F238E27FC236}">
                <a16:creationId xmlns:a16="http://schemas.microsoft.com/office/drawing/2014/main" id="{878E3769-543C-7074-F975-559BFD1CAF51}"/>
              </a:ext>
            </a:extLst>
          </p:cNvPr>
          <p:cNvSpPr/>
          <p:nvPr/>
        </p:nvSpPr>
        <p:spPr>
          <a:xfrm>
            <a:off x="2698024" y="4758671"/>
            <a:ext cx="204869" cy="77715"/>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73" name="Freeform: Shape 11172">
            <a:extLst>
              <a:ext uri="{FF2B5EF4-FFF2-40B4-BE49-F238E27FC236}">
                <a16:creationId xmlns:a16="http://schemas.microsoft.com/office/drawing/2014/main" id="{F1128C82-130E-23EF-6723-C0722CEE5BB7}"/>
              </a:ext>
            </a:extLst>
          </p:cNvPr>
          <p:cNvSpPr/>
          <p:nvPr/>
        </p:nvSpPr>
        <p:spPr>
          <a:xfrm>
            <a:off x="2420711" y="4488604"/>
            <a:ext cx="319635" cy="492615"/>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002D32"/>
          </a:solidFill>
          <a:ln w="11275" cap="flat">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74" name="Freeform: Shape 11173">
            <a:extLst>
              <a:ext uri="{FF2B5EF4-FFF2-40B4-BE49-F238E27FC236}">
                <a16:creationId xmlns:a16="http://schemas.microsoft.com/office/drawing/2014/main" id="{D2F55015-089C-9ABD-D734-6AD73412FDE6}"/>
              </a:ext>
            </a:extLst>
          </p:cNvPr>
          <p:cNvSpPr/>
          <p:nvPr/>
        </p:nvSpPr>
        <p:spPr>
          <a:xfrm>
            <a:off x="2418131" y="4485868"/>
            <a:ext cx="324762" cy="498077"/>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002D32"/>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75" name="Freeform: Shape 11174">
            <a:extLst>
              <a:ext uri="{FF2B5EF4-FFF2-40B4-BE49-F238E27FC236}">
                <a16:creationId xmlns:a16="http://schemas.microsoft.com/office/drawing/2014/main" id="{31FD1E84-EDDD-8E1F-87CE-126D9AE7B1CE}"/>
              </a:ext>
            </a:extLst>
          </p:cNvPr>
          <p:cNvSpPr/>
          <p:nvPr/>
        </p:nvSpPr>
        <p:spPr>
          <a:xfrm>
            <a:off x="2739344" y="4436293"/>
            <a:ext cx="981484" cy="544926"/>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005A64"/>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76" name="Freeform: Shape 11175">
            <a:extLst>
              <a:ext uri="{FF2B5EF4-FFF2-40B4-BE49-F238E27FC236}">
                <a16:creationId xmlns:a16="http://schemas.microsoft.com/office/drawing/2014/main" id="{DEFD72E9-660C-4EB8-0EDD-CC1D8FE3AF9B}"/>
              </a:ext>
            </a:extLst>
          </p:cNvPr>
          <p:cNvSpPr/>
          <p:nvPr/>
        </p:nvSpPr>
        <p:spPr>
          <a:xfrm>
            <a:off x="2736765" y="4433549"/>
            <a:ext cx="986611" cy="550398"/>
          </a:xfrm>
          <a:custGeom>
            <a:avLst/>
            <a:gdLst>
              <a:gd name="connsiteX0" fmla="*/ 880 w 735344"/>
              <a:gd name="connsiteY0" fmla="*/ 387701 h 388018"/>
              <a:gd name="connsiteX1" fmla="*/ 168 w 735344"/>
              <a:gd name="connsiteY1" fmla="*/ 386174 h 388018"/>
              <a:gd name="connsiteX2" fmla="*/ 914 w 735344"/>
              <a:gd name="connsiteY2" fmla="*/ 170753 h 388018"/>
              <a:gd name="connsiteX3" fmla="*/ 2385 w 735344"/>
              <a:gd name="connsiteY3" fmla="*/ 168864 h 388018"/>
              <a:gd name="connsiteX4" fmla="*/ 733149 w 735344"/>
              <a:gd name="connsiteY4" fmla="*/ 148 h 388018"/>
              <a:gd name="connsiteX5" fmla="*/ 734789 w 735344"/>
              <a:gd name="connsiteY5" fmla="*/ 521 h 388018"/>
              <a:gd name="connsiteX6" fmla="*/ 735513 w 735344"/>
              <a:gd name="connsiteY6" fmla="*/ 2025 h 388018"/>
              <a:gd name="connsiteX7" fmla="*/ 735513 w 735344"/>
              <a:gd name="connsiteY7" fmla="*/ 217481 h 388018"/>
              <a:gd name="connsiteX8" fmla="*/ 734020 w 735344"/>
              <a:gd name="connsiteY8" fmla="*/ 219369 h 388018"/>
              <a:gd name="connsiteX9" fmla="*/ 2509 w 735344"/>
              <a:gd name="connsiteY9" fmla="*/ 388063 h 388018"/>
              <a:gd name="connsiteX10" fmla="*/ 2057 w 735344"/>
              <a:gd name="connsiteY10" fmla="*/ 388120 h 388018"/>
              <a:gd name="connsiteX11" fmla="*/ 880 w 735344"/>
              <a:gd name="connsiteY11" fmla="*/ 387701 h 388018"/>
              <a:gd name="connsiteX12" fmla="*/ 4737 w 735344"/>
              <a:gd name="connsiteY12" fmla="*/ 172268 h 388018"/>
              <a:gd name="connsiteX13" fmla="*/ 3979 w 735344"/>
              <a:gd name="connsiteY13" fmla="*/ 383766 h 388018"/>
              <a:gd name="connsiteX14" fmla="*/ 731668 w 735344"/>
              <a:gd name="connsiteY14" fmla="*/ 215931 h 388018"/>
              <a:gd name="connsiteX15" fmla="*/ 731668 w 735344"/>
              <a:gd name="connsiteY15" fmla="*/ 4445 h 388018"/>
              <a:gd name="connsiteX16" fmla="*/ 4737 w 735344"/>
              <a:gd name="connsiteY16" fmla="*/ 172268 h 38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5344" h="388018">
                <a:moveTo>
                  <a:pt x="880" y="387701"/>
                </a:moveTo>
                <a:cubicBezTo>
                  <a:pt x="417" y="387328"/>
                  <a:pt x="157" y="386751"/>
                  <a:pt x="168" y="386174"/>
                </a:cubicBezTo>
                <a:lnTo>
                  <a:pt x="914" y="170753"/>
                </a:lnTo>
                <a:cubicBezTo>
                  <a:pt x="914" y="169837"/>
                  <a:pt x="1514" y="169079"/>
                  <a:pt x="2385" y="168864"/>
                </a:cubicBezTo>
                <a:lnTo>
                  <a:pt x="733149" y="148"/>
                </a:lnTo>
                <a:cubicBezTo>
                  <a:pt x="733715" y="23"/>
                  <a:pt x="734337" y="148"/>
                  <a:pt x="734789" y="521"/>
                </a:cubicBezTo>
                <a:cubicBezTo>
                  <a:pt x="735219" y="883"/>
                  <a:pt x="735513" y="1437"/>
                  <a:pt x="735513" y="2025"/>
                </a:cubicBezTo>
                <a:lnTo>
                  <a:pt x="735513" y="217481"/>
                </a:lnTo>
                <a:cubicBezTo>
                  <a:pt x="735513" y="218363"/>
                  <a:pt x="734879" y="219154"/>
                  <a:pt x="734020" y="219369"/>
                </a:cubicBezTo>
                <a:lnTo>
                  <a:pt x="2509" y="388063"/>
                </a:lnTo>
                <a:cubicBezTo>
                  <a:pt x="2362" y="388108"/>
                  <a:pt x="2204" y="388120"/>
                  <a:pt x="2057" y="388120"/>
                </a:cubicBezTo>
                <a:cubicBezTo>
                  <a:pt x="1627" y="388120"/>
                  <a:pt x="1231" y="387973"/>
                  <a:pt x="880" y="387701"/>
                </a:cubicBezTo>
                <a:close/>
                <a:moveTo>
                  <a:pt x="4737" y="172268"/>
                </a:moveTo>
                <a:lnTo>
                  <a:pt x="3979" y="383766"/>
                </a:lnTo>
                <a:lnTo>
                  <a:pt x="731668" y="215931"/>
                </a:lnTo>
                <a:lnTo>
                  <a:pt x="731668" y="4445"/>
                </a:lnTo>
                <a:lnTo>
                  <a:pt x="4737" y="172268"/>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77" name="Freeform: Shape 11176">
            <a:extLst>
              <a:ext uri="{FF2B5EF4-FFF2-40B4-BE49-F238E27FC236}">
                <a16:creationId xmlns:a16="http://schemas.microsoft.com/office/drawing/2014/main" id="{8521351B-E67F-FA95-8702-8031C984CBF6}"/>
              </a:ext>
            </a:extLst>
          </p:cNvPr>
          <p:cNvSpPr/>
          <p:nvPr/>
        </p:nvSpPr>
        <p:spPr>
          <a:xfrm>
            <a:off x="2420711" y="4249283"/>
            <a:ext cx="1300117" cy="426332"/>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78" name="Graphic 641">
            <a:extLst>
              <a:ext uri="{FF2B5EF4-FFF2-40B4-BE49-F238E27FC236}">
                <a16:creationId xmlns:a16="http://schemas.microsoft.com/office/drawing/2014/main" id="{34BDE532-BF66-F128-F768-31DC00C4D908}"/>
              </a:ext>
            </a:extLst>
          </p:cNvPr>
          <p:cNvGrpSpPr/>
          <p:nvPr/>
        </p:nvGrpSpPr>
        <p:grpSpPr>
          <a:xfrm>
            <a:off x="3249660" y="4220776"/>
            <a:ext cx="205200" cy="141055"/>
            <a:chOff x="3257856" y="3944383"/>
            <a:chExt cx="152940" cy="99440"/>
          </a:xfrm>
          <a:gradFill flip="none" rotWithShape="1">
            <a:gsLst>
              <a:gs pos="100000">
                <a:srgbClr val="008896"/>
              </a:gs>
              <a:gs pos="0">
                <a:srgbClr val="005A64"/>
              </a:gs>
            </a:gsLst>
            <a:lin ang="0" scaled="1"/>
            <a:tileRect/>
          </a:gradFill>
        </p:grpSpPr>
        <p:sp>
          <p:nvSpPr>
            <p:cNvPr id="11224" name="Freeform: Shape 11223">
              <a:extLst>
                <a:ext uri="{FF2B5EF4-FFF2-40B4-BE49-F238E27FC236}">
                  <a16:creationId xmlns:a16="http://schemas.microsoft.com/office/drawing/2014/main" id="{99AE175D-9232-A2DB-464D-1CF75A3C1FA6}"/>
                </a:ext>
              </a:extLst>
            </p:cNvPr>
            <p:cNvSpPr/>
            <p:nvPr/>
          </p:nvSpPr>
          <p:spPr>
            <a:xfrm>
              <a:off x="3257856" y="3944383"/>
              <a:ext cx="152940" cy="99440"/>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25" name="Graphic 641">
              <a:extLst>
                <a:ext uri="{FF2B5EF4-FFF2-40B4-BE49-F238E27FC236}">
                  <a16:creationId xmlns:a16="http://schemas.microsoft.com/office/drawing/2014/main" id="{A372B112-53F3-86A5-79F2-E86364A36AAA}"/>
                </a:ext>
              </a:extLst>
            </p:cNvPr>
            <p:cNvGrpSpPr/>
            <p:nvPr/>
          </p:nvGrpSpPr>
          <p:grpSpPr>
            <a:xfrm>
              <a:off x="3257856" y="3944383"/>
              <a:ext cx="152940" cy="99438"/>
              <a:chOff x="3257856" y="3944383"/>
              <a:chExt cx="152940" cy="99438"/>
            </a:xfrm>
            <a:grpFill/>
          </p:grpSpPr>
          <p:sp>
            <p:nvSpPr>
              <p:cNvPr id="11226" name="Freeform: Shape 11225">
                <a:extLst>
                  <a:ext uri="{FF2B5EF4-FFF2-40B4-BE49-F238E27FC236}">
                    <a16:creationId xmlns:a16="http://schemas.microsoft.com/office/drawing/2014/main" id="{11273E62-3805-DA73-B7C3-01F6443F00E4}"/>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27" name="Freeform: Shape 11226">
                <a:extLst>
                  <a:ext uri="{FF2B5EF4-FFF2-40B4-BE49-F238E27FC236}">
                    <a16:creationId xmlns:a16="http://schemas.microsoft.com/office/drawing/2014/main" id="{476BA73E-F767-F255-07A9-5E51B1DC8E85}"/>
                  </a:ext>
                </a:extLst>
              </p:cNvPr>
              <p:cNvSpPr/>
              <p:nvPr/>
            </p:nvSpPr>
            <p:spPr>
              <a:xfrm>
                <a:off x="3257856" y="3944383"/>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79" name="Graphic 641">
            <a:extLst>
              <a:ext uri="{FF2B5EF4-FFF2-40B4-BE49-F238E27FC236}">
                <a16:creationId xmlns:a16="http://schemas.microsoft.com/office/drawing/2014/main" id="{7BCA273C-50C9-F07F-35BF-E55100217972}"/>
              </a:ext>
            </a:extLst>
          </p:cNvPr>
          <p:cNvGrpSpPr/>
          <p:nvPr/>
        </p:nvGrpSpPr>
        <p:grpSpPr>
          <a:xfrm>
            <a:off x="3015888" y="4277852"/>
            <a:ext cx="205185" cy="141043"/>
            <a:chOff x="3083621" y="3984620"/>
            <a:chExt cx="152929" cy="99432"/>
          </a:xfrm>
          <a:gradFill flip="none" rotWithShape="1">
            <a:gsLst>
              <a:gs pos="100000">
                <a:srgbClr val="008896"/>
              </a:gs>
              <a:gs pos="0">
                <a:srgbClr val="005A64"/>
              </a:gs>
            </a:gsLst>
            <a:lin ang="0" scaled="1"/>
            <a:tileRect/>
          </a:gradFill>
        </p:grpSpPr>
        <p:sp>
          <p:nvSpPr>
            <p:cNvPr id="11220" name="Freeform: Shape 11219">
              <a:extLst>
                <a:ext uri="{FF2B5EF4-FFF2-40B4-BE49-F238E27FC236}">
                  <a16:creationId xmlns:a16="http://schemas.microsoft.com/office/drawing/2014/main" id="{80B91926-8EF5-3314-5EBE-0D2DB88D390A}"/>
                </a:ext>
              </a:extLst>
            </p:cNvPr>
            <p:cNvSpPr/>
            <p:nvPr/>
          </p:nvSpPr>
          <p:spPr>
            <a:xfrm>
              <a:off x="3083621" y="3984620"/>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21" name="Graphic 641">
              <a:extLst>
                <a:ext uri="{FF2B5EF4-FFF2-40B4-BE49-F238E27FC236}">
                  <a16:creationId xmlns:a16="http://schemas.microsoft.com/office/drawing/2014/main" id="{AE049876-EE44-3CBA-2935-56AAA629066D}"/>
                </a:ext>
              </a:extLst>
            </p:cNvPr>
            <p:cNvGrpSpPr/>
            <p:nvPr/>
          </p:nvGrpSpPr>
          <p:grpSpPr>
            <a:xfrm>
              <a:off x="3083622" y="3984620"/>
              <a:ext cx="152929" cy="99427"/>
              <a:chOff x="3083622" y="3984620"/>
              <a:chExt cx="152929" cy="99427"/>
            </a:xfrm>
            <a:grpFill/>
          </p:grpSpPr>
          <p:sp>
            <p:nvSpPr>
              <p:cNvPr id="11222" name="Freeform: Shape 11221">
                <a:extLst>
                  <a:ext uri="{FF2B5EF4-FFF2-40B4-BE49-F238E27FC236}">
                    <a16:creationId xmlns:a16="http://schemas.microsoft.com/office/drawing/2014/main" id="{93389C1F-83CF-8040-CBA6-0C57F21E5168}"/>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23" name="Freeform: Shape 11222">
                <a:extLst>
                  <a:ext uri="{FF2B5EF4-FFF2-40B4-BE49-F238E27FC236}">
                    <a16:creationId xmlns:a16="http://schemas.microsoft.com/office/drawing/2014/main" id="{EBA23681-B45B-02B9-D4B7-BD6DAFA941A7}"/>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80" name="Graphic 641">
            <a:extLst>
              <a:ext uri="{FF2B5EF4-FFF2-40B4-BE49-F238E27FC236}">
                <a16:creationId xmlns:a16="http://schemas.microsoft.com/office/drawing/2014/main" id="{4D0DA183-8A11-BD7A-35B5-A8F918491545}"/>
              </a:ext>
            </a:extLst>
          </p:cNvPr>
          <p:cNvGrpSpPr/>
          <p:nvPr/>
        </p:nvGrpSpPr>
        <p:grpSpPr>
          <a:xfrm>
            <a:off x="3175478" y="4371197"/>
            <a:ext cx="205185" cy="141067"/>
            <a:chOff x="3202567" y="4050426"/>
            <a:chExt cx="152929" cy="99449"/>
          </a:xfrm>
          <a:gradFill flip="none" rotWithShape="1">
            <a:gsLst>
              <a:gs pos="100000">
                <a:srgbClr val="008896"/>
              </a:gs>
              <a:gs pos="0">
                <a:srgbClr val="005A64"/>
              </a:gs>
            </a:gsLst>
            <a:lin ang="0" scaled="1"/>
            <a:tileRect/>
          </a:gradFill>
        </p:grpSpPr>
        <p:sp>
          <p:nvSpPr>
            <p:cNvPr id="11216" name="Freeform: Shape 11215">
              <a:extLst>
                <a:ext uri="{FF2B5EF4-FFF2-40B4-BE49-F238E27FC236}">
                  <a16:creationId xmlns:a16="http://schemas.microsoft.com/office/drawing/2014/main" id="{D8E026E9-7093-847D-1318-9105115EFECE}"/>
                </a:ext>
              </a:extLst>
            </p:cNvPr>
            <p:cNvSpPr/>
            <p:nvPr/>
          </p:nvSpPr>
          <p:spPr>
            <a:xfrm>
              <a:off x="3202567" y="4050426"/>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17" name="Graphic 641">
              <a:extLst>
                <a:ext uri="{FF2B5EF4-FFF2-40B4-BE49-F238E27FC236}">
                  <a16:creationId xmlns:a16="http://schemas.microsoft.com/office/drawing/2014/main" id="{F887040F-C337-5C34-26A8-7768D2E78782}"/>
                </a:ext>
              </a:extLst>
            </p:cNvPr>
            <p:cNvGrpSpPr/>
            <p:nvPr/>
          </p:nvGrpSpPr>
          <p:grpSpPr>
            <a:xfrm>
              <a:off x="3202568" y="4050426"/>
              <a:ext cx="152929" cy="99449"/>
              <a:chOff x="3202568" y="4050426"/>
              <a:chExt cx="152929" cy="99449"/>
            </a:xfrm>
            <a:grpFill/>
          </p:grpSpPr>
          <p:sp>
            <p:nvSpPr>
              <p:cNvPr id="11218" name="Freeform: Shape 11217">
                <a:extLst>
                  <a:ext uri="{FF2B5EF4-FFF2-40B4-BE49-F238E27FC236}">
                    <a16:creationId xmlns:a16="http://schemas.microsoft.com/office/drawing/2014/main" id="{500DA51B-543D-BC02-93DF-2A7E0702A543}"/>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19" name="Freeform: Shape 11218">
                <a:extLst>
                  <a:ext uri="{FF2B5EF4-FFF2-40B4-BE49-F238E27FC236}">
                    <a16:creationId xmlns:a16="http://schemas.microsoft.com/office/drawing/2014/main" id="{6E9C7E1F-B01E-D8BA-7222-31622AF45905}"/>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81" name="Graphic 641">
            <a:extLst>
              <a:ext uri="{FF2B5EF4-FFF2-40B4-BE49-F238E27FC236}">
                <a16:creationId xmlns:a16="http://schemas.microsoft.com/office/drawing/2014/main" id="{06018D0C-371F-F8FC-1322-564237A47210}"/>
              </a:ext>
            </a:extLst>
          </p:cNvPr>
          <p:cNvGrpSpPr/>
          <p:nvPr/>
        </p:nvGrpSpPr>
        <p:grpSpPr>
          <a:xfrm>
            <a:off x="3409295" y="4314138"/>
            <a:ext cx="205200" cy="141067"/>
            <a:chOff x="3376836" y="4010200"/>
            <a:chExt cx="152940" cy="99449"/>
          </a:xfrm>
          <a:gradFill flip="none" rotWithShape="1">
            <a:gsLst>
              <a:gs pos="100000">
                <a:srgbClr val="008896"/>
              </a:gs>
              <a:gs pos="0">
                <a:srgbClr val="005A64"/>
              </a:gs>
            </a:gsLst>
            <a:lin ang="0" scaled="1"/>
            <a:tileRect/>
          </a:gradFill>
        </p:grpSpPr>
        <p:sp>
          <p:nvSpPr>
            <p:cNvPr id="11212" name="Freeform: Shape 11211">
              <a:extLst>
                <a:ext uri="{FF2B5EF4-FFF2-40B4-BE49-F238E27FC236}">
                  <a16:creationId xmlns:a16="http://schemas.microsoft.com/office/drawing/2014/main" id="{9B17AD1B-6A2D-1C7C-B6A5-F98D4109F5F9}"/>
                </a:ext>
              </a:extLst>
            </p:cNvPr>
            <p:cNvSpPr/>
            <p:nvPr/>
          </p:nvSpPr>
          <p:spPr>
            <a:xfrm>
              <a:off x="3376836" y="4010200"/>
              <a:ext cx="152940" cy="99449"/>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13" name="Graphic 641">
              <a:extLst>
                <a:ext uri="{FF2B5EF4-FFF2-40B4-BE49-F238E27FC236}">
                  <a16:creationId xmlns:a16="http://schemas.microsoft.com/office/drawing/2014/main" id="{DD5A89FD-84E4-99F9-BD56-20E20D6098D0}"/>
                </a:ext>
              </a:extLst>
            </p:cNvPr>
            <p:cNvGrpSpPr/>
            <p:nvPr/>
          </p:nvGrpSpPr>
          <p:grpSpPr>
            <a:xfrm>
              <a:off x="3376837" y="4010200"/>
              <a:ext cx="152940" cy="99449"/>
              <a:chOff x="3376837" y="4010200"/>
              <a:chExt cx="152940" cy="99449"/>
            </a:xfrm>
            <a:grpFill/>
          </p:grpSpPr>
          <p:sp>
            <p:nvSpPr>
              <p:cNvPr id="11214" name="Freeform: Shape 11213">
                <a:extLst>
                  <a:ext uri="{FF2B5EF4-FFF2-40B4-BE49-F238E27FC236}">
                    <a16:creationId xmlns:a16="http://schemas.microsoft.com/office/drawing/2014/main" id="{4B3D933A-E5BD-359D-DC9A-634BF7819465}"/>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15" name="Freeform: Shape 11214">
                <a:extLst>
                  <a:ext uri="{FF2B5EF4-FFF2-40B4-BE49-F238E27FC236}">
                    <a16:creationId xmlns:a16="http://schemas.microsoft.com/office/drawing/2014/main" id="{7D5F86A3-CB5D-F7C0-562D-E70C0357BFE4}"/>
                  </a:ext>
                </a:extLst>
              </p:cNvPr>
              <p:cNvSpPr/>
              <p:nvPr/>
            </p:nvSpPr>
            <p:spPr>
              <a:xfrm>
                <a:off x="3376837" y="4010200"/>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182" name="Freeform: Shape 11181">
            <a:extLst>
              <a:ext uri="{FF2B5EF4-FFF2-40B4-BE49-F238E27FC236}">
                <a16:creationId xmlns:a16="http://schemas.microsoft.com/office/drawing/2014/main" id="{C4941E8D-16BD-F9EE-BEB0-393BEC6B97E6}"/>
              </a:ext>
            </a:extLst>
          </p:cNvPr>
          <p:cNvSpPr/>
          <p:nvPr/>
        </p:nvSpPr>
        <p:spPr>
          <a:xfrm>
            <a:off x="3250026" y="4182256"/>
            <a:ext cx="204849" cy="77712"/>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83" name="Freeform: Shape 11182">
            <a:extLst>
              <a:ext uri="{FF2B5EF4-FFF2-40B4-BE49-F238E27FC236}">
                <a16:creationId xmlns:a16="http://schemas.microsoft.com/office/drawing/2014/main" id="{54B23578-0105-252A-D9A1-D82772E3BB5E}"/>
              </a:ext>
            </a:extLst>
          </p:cNvPr>
          <p:cNvSpPr/>
          <p:nvPr/>
        </p:nvSpPr>
        <p:spPr>
          <a:xfrm>
            <a:off x="3016210" y="4239328"/>
            <a:ext cx="204853" cy="77712"/>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84" name="Freeform: Shape 11183">
            <a:extLst>
              <a:ext uri="{FF2B5EF4-FFF2-40B4-BE49-F238E27FC236}">
                <a16:creationId xmlns:a16="http://schemas.microsoft.com/office/drawing/2014/main" id="{F8AAA0FB-7D9A-7D82-7311-74C8C675A901}"/>
              </a:ext>
            </a:extLst>
          </p:cNvPr>
          <p:cNvSpPr/>
          <p:nvPr/>
        </p:nvSpPr>
        <p:spPr>
          <a:xfrm>
            <a:off x="3409585" y="4275614"/>
            <a:ext cx="204897" cy="77720"/>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85" name="Freeform: Shape 11184">
            <a:extLst>
              <a:ext uri="{FF2B5EF4-FFF2-40B4-BE49-F238E27FC236}">
                <a16:creationId xmlns:a16="http://schemas.microsoft.com/office/drawing/2014/main" id="{FF28C014-5992-BF9C-D6DA-2FA18589A1C2}"/>
              </a:ext>
            </a:extLst>
          </p:cNvPr>
          <p:cNvSpPr/>
          <p:nvPr/>
        </p:nvSpPr>
        <p:spPr>
          <a:xfrm>
            <a:off x="3175802" y="4332675"/>
            <a:ext cx="204870" cy="77722"/>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86" name="Graphic 641">
            <a:extLst>
              <a:ext uri="{FF2B5EF4-FFF2-40B4-BE49-F238E27FC236}">
                <a16:creationId xmlns:a16="http://schemas.microsoft.com/office/drawing/2014/main" id="{C3A38547-2A83-1FE8-5E20-99BB87737DAB}"/>
              </a:ext>
            </a:extLst>
          </p:cNvPr>
          <p:cNvGrpSpPr/>
          <p:nvPr/>
        </p:nvGrpSpPr>
        <p:grpSpPr>
          <a:xfrm>
            <a:off x="2525632" y="4397504"/>
            <a:ext cx="205185" cy="141055"/>
            <a:chOff x="2718222" y="4068972"/>
            <a:chExt cx="152929" cy="99440"/>
          </a:xfrm>
          <a:gradFill flip="none" rotWithShape="1">
            <a:gsLst>
              <a:gs pos="100000">
                <a:srgbClr val="008896"/>
              </a:gs>
              <a:gs pos="0">
                <a:srgbClr val="005A64"/>
              </a:gs>
            </a:gsLst>
            <a:lin ang="0" scaled="1"/>
            <a:tileRect/>
          </a:gradFill>
        </p:grpSpPr>
        <p:sp>
          <p:nvSpPr>
            <p:cNvPr id="11208" name="Freeform: Shape 11207">
              <a:extLst>
                <a:ext uri="{FF2B5EF4-FFF2-40B4-BE49-F238E27FC236}">
                  <a16:creationId xmlns:a16="http://schemas.microsoft.com/office/drawing/2014/main" id="{AE3EE0B7-B12E-8940-10B8-334EA95FCAC9}"/>
                </a:ext>
              </a:extLst>
            </p:cNvPr>
            <p:cNvSpPr/>
            <p:nvPr/>
          </p:nvSpPr>
          <p:spPr>
            <a:xfrm>
              <a:off x="2718222" y="4068972"/>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09" name="Graphic 641">
              <a:extLst>
                <a:ext uri="{FF2B5EF4-FFF2-40B4-BE49-F238E27FC236}">
                  <a16:creationId xmlns:a16="http://schemas.microsoft.com/office/drawing/2014/main" id="{A9FF15D8-5230-2C76-BD94-E0C7655D878D}"/>
                </a:ext>
              </a:extLst>
            </p:cNvPr>
            <p:cNvGrpSpPr/>
            <p:nvPr/>
          </p:nvGrpSpPr>
          <p:grpSpPr>
            <a:xfrm>
              <a:off x="2718222" y="4068972"/>
              <a:ext cx="152929" cy="99438"/>
              <a:chOff x="2718222" y="4068972"/>
              <a:chExt cx="152929" cy="99438"/>
            </a:xfrm>
            <a:grpFill/>
          </p:grpSpPr>
          <p:sp>
            <p:nvSpPr>
              <p:cNvPr id="11210" name="Freeform: Shape 11209">
                <a:extLst>
                  <a:ext uri="{FF2B5EF4-FFF2-40B4-BE49-F238E27FC236}">
                    <a16:creationId xmlns:a16="http://schemas.microsoft.com/office/drawing/2014/main" id="{AADBBA2E-F4FF-97EB-52E7-EB845C091D38}"/>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11" name="Freeform: Shape 11210">
                <a:extLst>
                  <a:ext uri="{FF2B5EF4-FFF2-40B4-BE49-F238E27FC236}">
                    <a16:creationId xmlns:a16="http://schemas.microsoft.com/office/drawing/2014/main" id="{A4BFC114-65A7-A9A8-1328-BE1706ADC023}"/>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87" name="Graphic 641">
            <a:extLst>
              <a:ext uri="{FF2B5EF4-FFF2-40B4-BE49-F238E27FC236}">
                <a16:creationId xmlns:a16="http://schemas.microsoft.com/office/drawing/2014/main" id="{26C4E569-C3E3-6ABC-E6ED-243CAFCA0602}"/>
              </a:ext>
            </a:extLst>
          </p:cNvPr>
          <p:cNvGrpSpPr/>
          <p:nvPr/>
        </p:nvGrpSpPr>
        <p:grpSpPr>
          <a:xfrm>
            <a:off x="2685222" y="4490849"/>
            <a:ext cx="205214" cy="141085"/>
            <a:chOff x="2837168" y="4134778"/>
            <a:chExt cx="152951" cy="99461"/>
          </a:xfrm>
          <a:gradFill flip="none" rotWithShape="1">
            <a:gsLst>
              <a:gs pos="100000">
                <a:srgbClr val="008896"/>
              </a:gs>
              <a:gs pos="0">
                <a:srgbClr val="005A64"/>
              </a:gs>
            </a:gsLst>
            <a:lin ang="0" scaled="1"/>
            <a:tileRect/>
          </a:gradFill>
        </p:grpSpPr>
        <p:sp>
          <p:nvSpPr>
            <p:cNvPr id="11204" name="Freeform: Shape 11203">
              <a:extLst>
                <a:ext uri="{FF2B5EF4-FFF2-40B4-BE49-F238E27FC236}">
                  <a16:creationId xmlns:a16="http://schemas.microsoft.com/office/drawing/2014/main" id="{C2DB8629-64E7-D1F6-771B-24572B6561E6}"/>
                </a:ext>
              </a:extLst>
            </p:cNvPr>
            <p:cNvSpPr/>
            <p:nvPr/>
          </p:nvSpPr>
          <p:spPr>
            <a:xfrm>
              <a:off x="2837168" y="4134778"/>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05" name="Graphic 641">
              <a:extLst>
                <a:ext uri="{FF2B5EF4-FFF2-40B4-BE49-F238E27FC236}">
                  <a16:creationId xmlns:a16="http://schemas.microsoft.com/office/drawing/2014/main" id="{889E43D1-7FFA-0278-A94A-FD8767622F33}"/>
                </a:ext>
              </a:extLst>
            </p:cNvPr>
            <p:cNvGrpSpPr/>
            <p:nvPr/>
          </p:nvGrpSpPr>
          <p:grpSpPr>
            <a:xfrm>
              <a:off x="2837168" y="4134778"/>
              <a:ext cx="152951" cy="99461"/>
              <a:chOff x="2837168" y="4134778"/>
              <a:chExt cx="152951" cy="99461"/>
            </a:xfrm>
            <a:grpFill/>
          </p:grpSpPr>
          <p:sp>
            <p:nvSpPr>
              <p:cNvPr id="11206" name="Freeform: Shape 11205">
                <a:extLst>
                  <a:ext uri="{FF2B5EF4-FFF2-40B4-BE49-F238E27FC236}">
                    <a16:creationId xmlns:a16="http://schemas.microsoft.com/office/drawing/2014/main" id="{03915845-4824-E725-81CA-CF5A89CE796E}"/>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07" name="Freeform: Shape 11206">
                <a:extLst>
                  <a:ext uri="{FF2B5EF4-FFF2-40B4-BE49-F238E27FC236}">
                    <a16:creationId xmlns:a16="http://schemas.microsoft.com/office/drawing/2014/main" id="{827FCFF9-B3D3-0F39-6E38-E1C43CD8455F}"/>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188" name="Freeform: Shape 11187">
            <a:extLst>
              <a:ext uri="{FF2B5EF4-FFF2-40B4-BE49-F238E27FC236}">
                <a16:creationId xmlns:a16="http://schemas.microsoft.com/office/drawing/2014/main" id="{8616EEE5-BD66-2DF7-6065-C55BF6E926FA}"/>
              </a:ext>
            </a:extLst>
          </p:cNvPr>
          <p:cNvSpPr/>
          <p:nvPr/>
        </p:nvSpPr>
        <p:spPr>
          <a:xfrm>
            <a:off x="2525974" y="4358980"/>
            <a:ext cx="204853" cy="7770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89" name="RectangleLegend2">
            <a:extLst>
              <a:ext uri="{FF2B5EF4-FFF2-40B4-BE49-F238E27FC236}">
                <a16:creationId xmlns:a16="http://schemas.microsoft.com/office/drawing/2014/main" id="{0C1C8361-A565-1A93-8E48-6A395963F46E}"/>
              </a:ext>
            </a:extLst>
          </p:cNvPr>
          <p:cNvSpPr>
            <a:spLocks/>
          </p:cNvSpPr>
          <p:nvPr/>
        </p:nvSpPr>
        <p:spPr>
          <a:xfrm>
            <a:off x="2458909" y="4583349"/>
            <a:ext cx="1529615" cy="246221"/>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F</a:t>
            </a:r>
            <a:r>
              <a:rPr kumimoji="0" lang="en-US" sz="800" b="0" i="0" u="none" strike="noStrike" kern="1200" cap="none" spc="0" normalizeH="0" baseline="0" noProof="0" dirty="0" err="1">
                <a:ln>
                  <a:noFill/>
                </a:ln>
                <a:solidFill>
                  <a:srgbClr val="FFFFFF"/>
                </a:solidFill>
                <a:effectLst/>
                <a:uLnTx/>
                <a:uFillTx/>
                <a:latin typeface="Arial" panose="020B0604020202020204"/>
                <a:ea typeface="+mn-ea"/>
                <a:cs typeface="+mn-cs"/>
              </a:rPr>
              <a:t>rmulation</a:t>
            </a: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rPr>
              <a:t>processes</a:t>
            </a:r>
          </a:p>
        </p:txBody>
      </p:sp>
      <p:sp>
        <p:nvSpPr>
          <p:cNvPr id="11191" name="Freeform: Shape 11190">
            <a:extLst>
              <a:ext uri="{FF2B5EF4-FFF2-40B4-BE49-F238E27FC236}">
                <a16:creationId xmlns:a16="http://schemas.microsoft.com/office/drawing/2014/main" id="{087B09DF-870F-2F9B-1554-9B27AC173AE0}"/>
              </a:ext>
            </a:extLst>
          </p:cNvPr>
          <p:cNvSpPr/>
          <p:nvPr/>
        </p:nvSpPr>
        <p:spPr>
          <a:xfrm>
            <a:off x="2685555" y="4452336"/>
            <a:ext cx="204886" cy="77720"/>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52" name="Group 11251">
            <a:extLst>
              <a:ext uri="{FF2B5EF4-FFF2-40B4-BE49-F238E27FC236}">
                <a16:creationId xmlns:a16="http://schemas.microsoft.com/office/drawing/2014/main" id="{5B8E7C8F-8F8A-E2C5-35CE-BE87946B0DE1}"/>
              </a:ext>
            </a:extLst>
          </p:cNvPr>
          <p:cNvGrpSpPr/>
          <p:nvPr/>
        </p:nvGrpSpPr>
        <p:grpSpPr>
          <a:xfrm>
            <a:off x="2939606" y="3740608"/>
            <a:ext cx="1572388" cy="801688"/>
            <a:chOff x="7050108" y="2630788"/>
            <a:chExt cx="1441868" cy="735142"/>
          </a:xfrm>
        </p:grpSpPr>
        <p:sp>
          <p:nvSpPr>
            <p:cNvPr id="11253" name="Freeform: Shape 11252">
              <a:extLst>
                <a:ext uri="{FF2B5EF4-FFF2-40B4-BE49-F238E27FC236}">
                  <a16:creationId xmlns:a16="http://schemas.microsoft.com/office/drawing/2014/main" id="{31B3D19E-10CC-8C23-3EA2-9B5A5BF1DF19}"/>
                </a:ext>
              </a:extLst>
            </p:cNvPr>
            <p:cNvSpPr/>
            <p:nvPr/>
          </p:nvSpPr>
          <p:spPr>
            <a:xfrm>
              <a:off x="7052488" y="2911706"/>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B8B8B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54" name="Freeform: Shape 11253">
              <a:extLst>
                <a:ext uri="{FF2B5EF4-FFF2-40B4-BE49-F238E27FC236}">
                  <a16:creationId xmlns:a16="http://schemas.microsoft.com/office/drawing/2014/main" id="{1675CCED-7B7D-8B63-9B21-BA49C7168040}"/>
                </a:ext>
              </a:extLst>
            </p:cNvPr>
            <p:cNvSpPr/>
            <p:nvPr/>
          </p:nvSpPr>
          <p:spPr>
            <a:xfrm>
              <a:off x="7050122" y="2909197"/>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8B8B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55" name="Freeform: Shape 11254">
              <a:extLst>
                <a:ext uri="{FF2B5EF4-FFF2-40B4-BE49-F238E27FC236}">
                  <a16:creationId xmlns:a16="http://schemas.microsoft.com/office/drawing/2014/main" id="{B8EC156F-438E-A22A-E855-FC3F0E94744A}"/>
                </a:ext>
              </a:extLst>
            </p:cNvPr>
            <p:cNvSpPr/>
            <p:nvPr/>
          </p:nvSpPr>
          <p:spPr>
            <a:xfrm>
              <a:off x="7344673" y="2863737"/>
              <a:ext cx="900013" cy="499693"/>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D0D0D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56" name="Freeform: Shape 11255">
              <a:extLst>
                <a:ext uri="{FF2B5EF4-FFF2-40B4-BE49-F238E27FC236}">
                  <a16:creationId xmlns:a16="http://schemas.microsoft.com/office/drawing/2014/main" id="{DC1FE822-4DCB-9A10-AE7B-AFFBF65D83BB}"/>
                </a:ext>
              </a:extLst>
            </p:cNvPr>
            <p:cNvSpPr/>
            <p:nvPr/>
          </p:nvSpPr>
          <p:spPr>
            <a:xfrm>
              <a:off x="7052488" y="2692250"/>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57" name="Freeform: Shape 11256">
              <a:extLst>
                <a:ext uri="{FF2B5EF4-FFF2-40B4-BE49-F238E27FC236}">
                  <a16:creationId xmlns:a16="http://schemas.microsoft.com/office/drawing/2014/main" id="{0C554D90-E83E-18D4-1F4C-4308599FCA05}"/>
                </a:ext>
              </a:extLst>
            </p:cNvPr>
            <p:cNvSpPr/>
            <p:nvPr/>
          </p:nvSpPr>
          <p:spPr>
            <a:xfrm>
              <a:off x="7050108" y="2689793"/>
              <a:ext cx="1196920" cy="395841"/>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D0D0D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58" name="Freeform: Shape 11257">
              <a:extLst>
                <a:ext uri="{FF2B5EF4-FFF2-40B4-BE49-F238E27FC236}">
                  <a16:creationId xmlns:a16="http://schemas.microsoft.com/office/drawing/2014/main" id="{B0EAEBB8-E474-4C5B-154E-4552DC78A0E9}"/>
                </a:ext>
              </a:extLst>
            </p:cNvPr>
            <p:cNvSpPr/>
            <p:nvPr/>
          </p:nvSpPr>
          <p:spPr>
            <a:xfrm>
              <a:off x="7812628" y="2666111"/>
              <a:ext cx="188167" cy="129346"/>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59" name="Graphic 653">
              <a:extLst>
                <a:ext uri="{FF2B5EF4-FFF2-40B4-BE49-F238E27FC236}">
                  <a16:creationId xmlns:a16="http://schemas.microsoft.com/office/drawing/2014/main" id="{FB0FCB84-4CDD-2AF4-62C2-D9CC4D9B545F}"/>
                </a:ext>
              </a:extLst>
            </p:cNvPr>
            <p:cNvGrpSpPr/>
            <p:nvPr/>
          </p:nvGrpSpPr>
          <p:grpSpPr>
            <a:xfrm>
              <a:off x="7812628" y="2666111"/>
              <a:ext cx="188167" cy="129343"/>
              <a:chOff x="5730744" y="3445287"/>
              <a:chExt cx="152940" cy="99438"/>
            </a:xfrm>
            <a:gradFill>
              <a:gsLst>
                <a:gs pos="100000">
                  <a:srgbClr val="F0F0F0"/>
                </a:gs>
                <a:gs pos="0">
                  <a:srgbClr val="D0D0D0"/>
                </a:gs>
              </a:gsLst>
              <a:lin ang="0" scaled="1"/>
            </a:gradFill>
          </p:grpSpPr>
          <p:sp>
            <p:nvSpPr>
              <p:cNvPr id="11297" name="Freeform: Shape 11296">
                <a:extLst>
                  <a:ext uri="{FF2B5EF4-FFF2-40B4-BE49-F238E27FC236}">
                    <a16:creationId xmlns:a16="http://schemas.microsoft.com/office/drawing/2014/main" id="{DBEDE35A-F87C-03D2-6BB8-DAC57C31E22B}"/>
                  </a:ext>
                </a:extLst>
              </p:cNvPr>
              <p:cNvSpPr/>
              <p:nvPr/>
            </p:nvSpPr>
            <p:spPr>
              <a:xfrm>
                <a:off x="5730744" y="3445287"/>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98" name="Freeform: Shape 11297">
                <a:extLst>
                  <a:ext uri="{FF2B5EF4-FFF2-40B4-BE49-F238E27FC236}">
                    <a16:creationId xmlns:a16="http://schemas.microsoft.com/office/drawing/2014/main" id="{33FD5CE4-9F26-2441-60B6-15683EE9732B}"/>
                  </a:ext>
                </a:extLst>
              </p:cNvPr>
              <p:cNvSpPr/>
              <p:nvPr/>
            </p:nvSpPr>
            <p:spPr>
              <a:xfrm>
                <a:off x="5730744" y="3445287"/>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260" name="Freeform: Shape 11259">
              <a:extLst>
                <a:ext uri="{FF2B5EF4-FFF2-40B4-BE49-F238E27FC236}">
                  <a16:creationId xmlns:a16="http://schemas.microsoft.com/office/drawing/2014/main" id="{27430E1A-971C-B89A-7A5E-89B0B05435D9}"/>
                </a:ext>
              </a:extLst>
            </p:cNvPr>
            <p:cNvSpPr/>
            <p:nvPr/>
          </p:nvSpPr>
          <p:spPr>
            <a:xfrm>
              <a:off x="7598261" y="2718449"/>
              <a:ext cx="188153" cy="129335"/>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61" name="Graphic 653">
              <a:extLst>
                <a:ext uri="{FF2B5EF4-FFF2-40B4-BE49-F238E27FC236}">
                  <a16:creationId xmlns:a16="http://schemas.microsoft.com/office/drawing/2014/main" id="{13850E79-9C48-3918-181D-0D65CDC0551E}"/>
                </a:ext>
              </a:extLst>
            </p:cNvPr>
            <p:cNvGrpSpPr/>
            <p:nvPr/>
          </p:nvGrpSpPr>
          <p:grpSpPr>
            <a:xfrm>
              <a:off x="7598262" y="2718449"/>
              <a:ext cx="188153" cy="129328"/>
              <a:chOff x="5556510" y="3485524"/>
              <a:chExt cx="152929" cy="99427"/>
            </a:xfrm>
            <a:gradFill>
              <a:gsLst>
                <a:gs pos="100000">
                  <a:srgbClr val="F0F0F0"/>
                </a:gs>
                <a:gs pos="0">
                  <a:srgbClr val="D0D0D0"/>
                </a:gs>
              </a:gsLst>
              <a:lin ang="0" scaled="1"/>
            </a:gradFill>
          </p:grpSpPr>
          <p:sp>
            <p:nvSpPr>
              <p:cNvPr id="11295" name="Freeform: Shape 11294">
                <a:extLst>
                  <a:ext uri="{FF2B5EF4-FFF2-40B4-BE49-F238E27FC236}">
                    <a16:creationId xmlns:a16="http://schemas.microsoft.com/office/drawing/2014/main" id="{D9708DB2-89D5-E24D-81DF-EDDC0455A940}"/>
                  </a:ext>
                </a:extLst>
              </p:cNvPr>
              <p:cNvSpPr/>
              <p:nvPr/>
            </p:nvSpPr>
            <p:spPr>
              <a:xfrm>
                <a:off x="5556510" y="3485524"/>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96" name="Freeform: Shape 11295">
                <a:extLst>
                  <a:ext uri="{FF2B5EF4-FFF2-40B4-BE49-F238E27FC236}">
                    <a16:creationId xmlns:a16="http://schemas.microsoft.com/office/drawing/2014/main" id="{E5374FFF-269C-2664-1DC4-C5EA52E773B7}"/>
                  </a:ext>
                </a:extLst>
              </p:cNvPr>
              <p:cNvSpPr/>
              <p:nvPr/>
            </p:nvSpPr>
            <p:spPr>
              <a:xfrm>
                <a:off x="5556510" y="3485524"/>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262" name="Freeform: Shape 11261">
              <a:extLst>
                <a:ext uri="{FF2B5EF4-FFF2-40B4-BE49-F238E27FC236}">
                  <a16:creationId xmlns:a16="http://schemas.microsoft.com/office/drawing/2014/main" id="{AE65C44F-0421-E1D7-8182-D861736B6A3F}"/>
                </a:ext>
              </a:extLst>
            </p:cNvPr>
            <p:cNvSpPr/>
            <p:nvPr/>
          </p:nvSpPr>
          <p:spPr>
            <a:xfrm>
              <a:off x="7744604" y="2804045"/>
              <a:ext cx="188153" cy="129357"/>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63" name="Graphic 653">
              <a:extLst>
                <a:ext uri="{FF2B5EF4-FFF2-40B4-BE49-F238E27FC236}">
                  <a16:creationId xmlns:a16="http://schemas.microsoft.com/office/drawing/2014/main" id="{9A33713F-5A51-4D17-2CF9-B7669C28DBED}"/>
                </a:ext>
              </a:extLst>
            </p:cNvPr>
            <p:cNvGrpSpPr/>
            <p:nvPr/>
          </p:nvGrpSpPr>
          <p:grpSpPr>
            <a:xfrm>
              <a:off x="7744605" y="2804045"/>
              <a:ext cx="188153" cy="129357"/>
              <a:chOff x="5675456" y="3551330"/>
              <a:chExt cx="152929" cy="99449"/>
            </a:xfrm>
            <a:gradFill>
              <a:gsLst>
                <a:gs pos="100000">
                  <a:srgbClr val="F0F0F0"/>
                </a:gs>
                <a:gs pos="0">
                  <a:srgbClr val="D0D0D0"/>
                </a:gs>
              </a:gsLst>
              <a:lin ang="0" scaled="1"/>
            </a:gradFill>
          </p:grpSpPr>
          <p:sp>
            <p:nvSpPr>
              <p:cNvPr id="11293" name="Freeform: Shape 11292">
                <a:extLst>
                  <a:ext uri="{FF2B5EF4-FFF2-40B4-BE49-F238E27FC236}">
                    <a16:creationId xmlns:a16="http://schemas.microsoft.com/office/drawing/2014/main" id="{0D9DE6FB-37F4-14AC-5441-3BF6C9F7E303}"/>
                  </a:ext>
                </a:extLst>
              </p:cNvPr>
              <p:cNvSpPr/>
              <p:nvPr/>
            </p:nvSpPr>
            <p:spPr>
              <a:xfrm>
                <a:off x="5675456" y="3551330"/>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94" name="Freeform: Shape 11293">
                <a:extLst>
                  <a:ext uri="{FF2B5EF4-FFF2-40B4-BE49-F238E27FC236}">
                    <a16:creationId xmlns:a16="http://schemas.microsoft.com/office/drawing/2014/main" id="{24BCBB81-3A64-6FB1-BAB2-3384725BED22}"/>
                  </a:ext>
                </a:extLst>
              </p:cNvPr>
              <p:cNvSpPr/>
              <p:nvPr/>
            </p:nvSpPr>
            <p:spPr>
              <a:xfrm>
                <a:off x="5675456" y="3551330"/>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264" name="Freeform: Shape 11263">
              <a:extLst>
                <a:ext uri="{FF2B5EF4-FFF2-40B4-BE49-F238E27FC236}">
                  <a16:creationId xmlns:a16="http://schemas.microsoft.com/office/drawing/2014/main" id="{8FB69C06-21C1-2668-9279-4863D8D0E70A}"/>
                </a:ext>
              </a:extLst>
            </p:cNvPr>
            <p:cNvSpPr/>
            <p:nvPr/>
          </p:nvSpPr>
          <p:spPr>
            <a:xfrm>
              <a:off x="7959012" y="2751722"/>
              <a:ext cx="188167" cy="129357"/>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65" name="Graphic 653">
              <a:extLst>
                <a:ext uri="{FF2B5EF4-FFF2-40B4-BE49-F238E27FC236}">
                  <a16:creationId xmlns:a16="http://schemas.microsoft.com/office/drawing/2014/main" id="{8F0D01D7-1D4B-2D5F-BF1E-C40BA4577342}"/>
                </a:ext>
              </a:extLst>
            </p:cNvPr>
            <p:cNvGrpSpPr/>
            <p:nvPr/>
          </p:nvGrpSpPr>
          <p:grpSpPr>
            <a:xfrm>
              <a:off x="7959013" y="2751722"/>
              <a:ext cx="188167" cy="129357"/>
              <a:chOff x="5849725" y="3511104"/>
              <a:chExt cx="152940" cy="99449"/>
            </a:xfrm>
            <a:gradFill>
              <a:gsLst>
                <a:gs pos="100000">
                  <a:srgbClr val="F0F0F0"/>
                </a:gs>
                <a:gs pos="0">
                  <a:srgbClr val="D0D0D0"/>
                </a:gs>
              </a:gsLst>
              <a:lin ang="0" scaled="1"/>
            </a:gradFill>
          </p:grpSpPr>
          <p:sp>
            <p:nvSpPr>
              <p:cNvPr id="11291" name="Freeform: Shape 11290">
                <a:extLst>
                  <a:ext uri="{FF2B5EF4-FFF2-40B4-BE49-F238E27FC236}">
                    <a16:creationId xmlns:a16="http://schemas.microsoft.com/office/drawing/2014/main" id="{FA8A9653-C69F-D948-D0E2-383163F75EA1}"/>
                  </a:ext>
                </a:extLst>
              </p:cNvPr>
              <p:cNvSpPr/>
              <p:nvPr/>
            </p:nvSpPr>
            <p:spPr>
              <a:xfrm>
                <a:off x="5849725" y="3511104"/>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92" name="Freeform: Shape 11291">
                <a:extLst>
                  <a:ext uri="{FF2B5EF4-FFF2-40B4-BE49-F238E27FC236}">
                    <a16:creationId xmlns:a16="http://schemas.microsoft.com/office/drawing/2014/main" id="{D6E00534-9652-BE15-3045-EFD2E344D4F2}"/>
                  </a:ext>
                </a:extLst>
              </p:cNvPr>
              <p:cNvSpPr/>
              <p:nvPr/>
            </p:nvSpPr>
            <p:spPr>
              <a:xfrm>
                <a:off x="5849725" y="3511104"/>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266" name="Freeform: Shape 11265">
              <a:extLst>
                <a:ext uri="{FF2B5EF4-FFF2-40B4-BE49-F238E27FC236}">
                  <a16:creationId xmlns:a16="http://schemas.microsoft.com/office/drawing/2014/main" id="{93386AE6-B3D5-8151-A76A-8E39FEEAB67D}"/>
                </a:ext>
              </a:extLst>
            </p:cNvPr>
            <p:cNvSpPr/>
            <p:nvPr/>
          </p:nvSpPr>
          <p:spPr>
            <a:xfrm>
              <a:off x="7812964" y="2630788"/>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67" name="Freeform: Shape 11266">
              <a:extLst>
                <a:ext uri="{FF2B5EF4-FFF2-40B4-BE49-F238E27FC236}">
                  <a16:creationId xmlns:a16="http://schemas.microsoft.com/office/drawing/2014/main" id="{9E91914A-45F8-C479-EBA3-BA16539C95E7}"/>
                </a:ext>
              </a:extLst>
            </p:cNvPr>
            <p:cNvSpPr/>
            <p:nvPr/>
          </p:nvSpPr>
          <p:spPr>
            <a:xfrm>
              <a:off x="7598557" y="2683122"/>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68" name="Freeform: Shape 11267">
              <a:extLst>
                <a:ext uri="{FF2B5EF4-FFF2-40B4-BE49-F238E27FC236}">
                  <a16:creationId xmlns:a16="http://schemas.microsoft.com/office/drawing/2014/main" id="{4171B78D-B808-B0D3-6631-0D462A27C5F7}"/>
                </a:ext>
              </a:extLst>
            </p:cNvPr>
            <p:cNvSpPr/>
            <p:nvPr/>
          </p:nvSpPr>
          <p:spPr>
            <a:xfrm>
              <a:off x="7959278" y="2716396"/>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69" name="Freeform: Shape 11268">
              <a:extLst>
                <a:ext uri="{FF2B5EF4-FFF2-40B4-BE49-F238E27FC236}">
                  <a16:creationId xmlns:a16="http://schemas.microsoft.com/office/drawing/2014/main" id="{479DBB4B-FB48-9377-8F67-83E8917FE0B6}"/>
                </a:ext>
              </a:extLst>
            </p:cNvPr>
            <p:cNvSpPr/>
            <p:nvPr/>
          </p:nvSpPr>
          <p:spPr>
            <a:xfrm>
              <a:off x="7744901" y="2768720"/>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70" name="Freeform: Shape 11269">
              <a:extLst>
                <a:ext uri="{FF2B5EF4-FFF2-40B4-BE49-F238E27FC236}">
                  <a16:creationId xmlns:a16="http://schemas.microsoft.com/office/drawing/2014/main" id="{FA3440B4-B963-C2E8-C404-302146A3BDEE}"/>
                </a:ext>
              </a:extLst>
            </p:cNvPr>
            <p:cNvSpPr/>
            <p:nvPr/>
          </p:nvSpPr>
          <p:spPr>
            <a:xfrm>
              <a:off x="7363095" y="2775846"/>
              <a:ext cx="188167" cy="129348"/>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71" name="Graphic 653">
              <a:extLst>
                <a:ext uri="{FF2B5EF4-FFF2-40B4-BE49-F238E27FC236}">
                  <a16:creationId xmlns:a16="http://schemas.microsoft.com/office/drawing/2014/main" id="{64467080-9D38-D064-81C8-3E93AFC8610D}"/>
                </a:ext>
              </a:extLst>
            </p:cNvPr>
            <p:cNvGrpSpPr/>
            <p:nvPr/>
          </p:nvGrpSpPr>
          <p:grpSpPr>
            <a:xfrm>
              <a:off x="7363095" y="2775846"/>
              <a:ext cx="188167" cy="129343"/>
              <a:chOff x="5365368" y="3529651"/>
              <a:chExt cx="152940" cy="99438"/>
            </a:xfrm>
            <a:gradFill>
              <a:gsLst>
                <a:gs pos="100000">
                  <a:srgbClr val="F0F0F0"/>
                </a:gs>
                <a:gs pos="0">
                  <a:srgbClr val="D0D0D0"/>
                </a:gs>
              </a:gsLst>
              <a:lin ang="0" scaled="1"/>
            </a:gradFill>
          </p:grpSpPr>
          <p:sp>
            <p:nvSpPr>
              <p:cNvPr id="11289" name="Freeform: Shape 11288">
                <a:extLst>
                  <a:ext uri="{FF2B5EF4-FFF2-40B4-BE49-F238E27FC236}">
                    <a16:creationId xmlns:a16="http://schemas.microsoft.com/office/drawing/2014/main" id="{D5FB0495-B53C-5722-44D8-E60C6E4392C9}"/>
                  </a:ext>
                </a:extLst>
              </p:cNvPr>
              <p:cNvSpPr/>
              <p:nvPr/>
            </p:nvSpPr>
            <p:spPr>
              <a:xfrm>
                <a:off x="5365368" y="3529651"/>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90" name="Freeform: Shape 11289">
                <a:extLst>
                  <a:ext uri="{FF2B5EF4-FFF2-40B4-BE49-F238E27FC236}">
                    <a16:creationId xmlns:a16="http://schemas.microsoft.com/office/drawing/2014/main" id="{BCEC4EFC-EC1E-D403-D01B-16E7242109D1}"/>
                  </a:ext>
                </a:extLst>
              </p:cNvPr>
              <p:cNvSpPr/>
              <p:nvPr/>
            </p:nvSpPr>
            <p:spPr>
              <a:xfrm>
                <a:off x="5365368" y="3529651"/>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272" name="Freeform: Shape 11271">
              <a:extLst>
                <a:ext uri="{FF2B5EF4-FFF2-40B4-BE49-F238E27FC236}">
                  <a16:creationId xmlns:a16="http://schemas.microsoft.com/office/drawing/2014/main" id="{4373032A-FE79-5469-F4BF-0BCA117ABD47}"/>
                </a:ext>
              </a:extLst>
            </p:cNvPr>
            <p:cNvSpPr/>
            <p:nvPr/>
          </p:nvSpPr>
          <p:spPr>
            <a:xfrm>
              <a:off x="7148700" y="2828169"/>
              <a:ext cx="188153" cy="129346"/>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73" name="Graphic 653">
              <a:extLst>
                <a:ext uri="{FF2B5EF4-FFF2-40B4-BE49-F238E27FC236}">
                  <a16:creationId xmlns:a16="http://schemas.microsoft.com/office/drawing/2014/main" id="{BECC44A3-CAED-9F70-0620-A6FEDA3FE42A}"/>
                </a:ext>
              </a:extLst>
            </p:cNvPr>
            <p:cNvGrpSpPr/>
            <p:nvPr/>
          </p:nvGrpSpPr>
          <p:grpSpPr>
            <a:xfrm>
              <a:off x="7148700" y="2828169"/>
              <a:ext cx="188153" cy="129343"/>
              <a:chOff x="5191110" y="3569876"/>
              <a:chExt cx="152929" cy="99438"/>
            </a:xfrm>
            <a:gradFill>
              <a:gsLst>
                <a:gs pos="100000">
                  <a:srgbClr val="F0F0F0"/>
                </a:gs>
                <a:gs pos="0">
                  <a:srgbClr val="D0D0D0"/>
                </a:gs>
              </a:gsLst>
              <a:lin ang="0" scaled="1"/>
            </a:gradFill>
          </p:grpSpPr>
          <p:sp>
            <p:nvSpPr>
              <p:cNvPr id="11287" name="Freeform: Shape 11286">
                <a:extLst>
                  <a:ext uri="{FF2B5EF4-FFF2-40B4-BE49-F238E27FC236}">
                    <a16:creationId xmlns:a16="http://schemas.microsoft.com/office/drawing/2014/main" id="{04A7FC09-2D69-2618-623C-22FCA932EB7C}"/>
                  </a:ext>
                </a:extLst>
              </p:cNvPr>
              <p:cNvSpPr/>
              <p:nvPr/>
            </p:nvSpPr>
            <p:spPr>
              <a:xfrm>
                <a:off x="5191110" y="3569876"/>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88" name="Freeform: Shape 11287">
                <a:extLst>
                  <a:ext uri="{FF2B5EF4-FFF2-40B4-BE49-F238E27FC236}">
                    <a16:creationId xmlns:a16="http://schemas.microsoft.com/office/drawing/2014/main" id="{CDCDC552-62F6-6B49-F93A-10152F1162FB}"/>
                  </a:ext>
                </a:extLst>
              </p:cNvPr>
              <p:cNvSpPr/>
              <p:nvPr/>
            </p:nvSpPr>
            <p:spPr>
              <a:xfrm>
                <a:off x="5191110" y="3569876"/>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274" name="Freeform: Shape 11273">
              <a:extLst>
                <a:ext uri="{FF2B5EF4-FFF2-40B4-BE49-F238E27FC236}">
                  <a16:creationId xmlns:a16="http://schemas.microsoft.com/office/drawing/2014/main" id="{2334576C-5170-CA74-9762-427F31E3C569}"/>
                </a:ext>
              </a:extLst>
            </p:cNvPr>
            <p:cNvSpPr/>
            <p:nvPr/>
          </p:nvSpPr>
          <p:spPr>
            <a:xfrm>
              <a:off x="7295043" y="2913765"/>
              <a:ext cx="188180" cy="129369"/>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75" name="Graphic 653">
              <a:extLst>
                <a:ext uri="{FF2B5EF4-FFF2-40B4-BE49-F238E27FC236}">
                  <a16:creationId xmlns:a16="http://schemas.microsoft.com/office/drawing/2014/main" id="{F05729D6-01A0-680F-4B3E-D6C368EF2B7B}"/>
                </a:ext>
              </a:extLst>
            </p:cNvPr>
            <p:cNvGrpSpPr/>
            <p:nvPr/>
          </p:nvGrpSpPr>
          <p:grpSpPr>
            <a:xfrm>
              <a:off x="7295043" y="2913765"/>
              <a:ext cx="188180" cy="129373"/>
              <a:chOff x="5310056" y="3635682"/>
              <a:chExt cx="152951" cy="99461"/>
            </a:xfrm>
            <a:gradFill>
              <a:gsLst>
                <a:gs pos="100000">
                  <a:srgbClr val="F0F0F0"/>
                </a:gs>
                <a:gs pos="0">
                  <a:srgbClr val="D0D0D0"/>
                </a:gs>
              </a:gsLst>
              <a:lin ang="0" scaled="1"/>
            </a:gradFill>
          </p:grpSpPr>
          <p:sp>
            <p:nvSpPr>
              <p:cNvPr id="11285" name="Freeform: Shape 11284">
                <a:extLst>
                  <a:ext uri="{FF2B5EF4-FFF2-40B4-BE49-F238E27FC236}">
                    <a16:creationId xmlns:a16="http://schemas.microsoft.com/office/drawing/2014/main" id="{DF7EB869-4E87-AC33-6932-8E85934C1F4F}"/>
                  </a:ext>
                </a:extLst>
              </p:cNvPr>
              <p:cNvSpPr/>
              <p:nvPr/>
            </p:nvSpPr>
            <p:spPr>
              <a:xfrm>
                <a:off x="5310056" y="3635682"/>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86" name="Freeform: Shape 11285">
                <a:extLst>
                  <a:ext uri="{FF2B5EF4-FFF2-40B4-BE49-F238E27FC236}">
                    <a16:creationId xmlns:a16="http://schemas.microsoft.com/office/drawing/2014/main" id="{CB30651C-486B-437E-F940-B5962787C642}"/>
                  </a:ext>
                </a:extLst>
              </p:cNvPr>
              <p:cNvSpPr/>
              <p:nvPr/>
            </p:nvSpPr>
            <p:spPr>
              <a:xfrm>
                <a:off x="5310056" y="3635682"/>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276" name="Freeform: Shape 11275">
              <a:extLst>
                <a:ext uri="{FF2B5EF4-FFF2-40B4-BE49-F238E27FC236}">
                  <a16:creationId xmlns:a16="http://schemas.microsoft.com/office/drawing/2014/main" id="{91D153BE-0501-EEE2-BF8F-DB5A1552BBAB}"/>
                </a:ext>
              </a:extLst>
            </p:cNvPr>
            <p:cNvSpPr/>
            <p:nvPr/>
          </p:nvSpPr>
          <p:spPr>
            <a:xfrm>
              <a:off x="7509451" y="2861457"/>
              <a:ext cx="188167" cy="129343"/>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77" name="Graphic 653">
              <a:extLst>
                <a:ext uri="{FF2B5EF4-FFF2-40B4-BE49-F238E27FC236}">
                  <a16:creationId xmlns:a16="http://schemas.microsoft.com/office/drawing/2014/main" id="{72DBC5EB-1C10-20A4-B0E0-F024AA35B96A}"/>
                </a:ext>
              </a:extLst>
            </p:cNvPr>
            <p:cNvGrpSpPr/>
            <p:nvPr/>
          </p:nvGrpSpPr>
          <p:grpSpPr>
            <a:xfrm>
              <a:off x="7509451" y="2861457"/>
              <a:ext cx="188167" cy="129343"/>
              <a:chOff x="5484325" y="3595468"/>
              <a:chExt cx="152940" cy="99438"/>
            </a:xfrm>
            <a:gradFill>
              <a:gsLst>
                <a:gs pos="100000">
                  <a:srgbClr val="F0F0F0"/>
                </a:gs>
                <a:gs pos="0">
                  <a:srgbClr val="D0D0D0"/>
                </a:gs>
              </a:gsLst>
              <a:lin ang="0" scaled="1"/>
            </a:gradFill>
          </p:grpSpPr>
          <p:sp>
            <p:nvSpPr>
              <p:cNvPr id="11283" name="Freeform: Shape 11282">
                <a:extLst>
                  <a:ext uri="{FF2B5EF4-FFF2-40B4-BE49-F238E27FC236}">
                    <a16:creationId xmlns:a16="http://schemas.microsoft.com/office/drawing/2014/main" id="{139C0D00-2D75-EEB8-2BB2-6175A4A7B44A}"/>
                  </a:ext>
                </a:extLst>
              </p:cNvPr>
              <p:cNvSpPr/>
              <p:nvPr/>
            </p:nvSpPr>
            <p:spPr>
              <a:xfrm>
                <a:off x="5484325" y="3595468"/>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84" name="Freeform: Shape 11283">
                <a:extLst>
                  <a:ext uri="{FF2B5EF4-FFF2-40B4-BE49-F238E27FC236}">
                    <a16:creationId xmlns:a16="http://schemas.microsoft.com/office/drawing/2014/main" id="{4247B458-2548-7EDB-AF90-C8A3A6E9195F}"/>
                  </a:ext>
                </a:extLst>
              </p:cNvPr>
              <p:cNvSpPr/>
              <p:nvPr/>
            </p:nvSpPr>
            <p:spPr>
              <a:xfrm>
                <a:off x="5484325" y="3595468"/>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278" name="Freeform: Shape 11277">
              <a:extLst>
                <a:ext uri="{FF2B5EF4-FFF2-40B4-BE49-F238E27FC236}">
                  <a16:creationId xmlns:a16="http://schemas.microsoft.com/office/drawing/2014/main" id="{E37402AB-B265-1572-D015-33B2909C34A9}"/>
                </a:ext>
              </a:extLst>
            </p:cNvPr>
            <p:cNvSpPr/>
            <p:nvPr/>
          </p:nvSpPr>
          <p:spPr>
            <a:xfrm>
              <a:off x="7363414" y="2740516"/>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79" name="Freeform: Shape 11278">
              <a:extLst>
                <a:ext uri="{FF2B5EF4-FFF2-40B4-BE49-F238E27FC236}">
                  <a16:creationId xmlns:a16="http://schemas.microsoft.com/office/drawing/2014/main" id="{890683A6-A5B7-66A5-3D0C-236878E3C73D}"/>
                </a:ext>
              </a:extLst>
            </p:cNvPr>
            <p:cNvSpPr/>
            <p:nvPr/>
          </p:nvSpPr>
          <p:spPr>
            <a:xfrm>
              <a:off x="7149014" y="2792842"/>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80" name="Freeform: Shape 11279">
              <a:extLst>
                <a:ext uri="{FF2B5EF4-FFF2-40B4-BE49-F238E27FC236}">
                  <a16:creationId xmlns:a16="http://schemas.microsoft.com/office/drawing/2014/main" id="{6CD983F3-284E-14C3-9A12-16E0A7E4202E}"/>
                </a:ext>
              </a:extLst>
            </p:cNvPr>
            <p:cNvSpPr/>
            <p:nvPr/>
          </p:nvSpPr>
          <p:spPr>
            <a:xfrm>
              <a:off x="7509748" y="2826125"/>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81" name="Freeform: Shape 11280">
              <a:extLst>
                <a:ext uri="{FF2B5EF4-FFF2-40B4-BE49-F238E27FC236}">
                  <a16:creationId xmlns:a16="http://schemas.microsoft.com/office/drawing/2014/main" id="{A2CAC954-2418-9035-7305-2B53FD9360A8}"/>
                </a:ext>
              </a:extLst>
            </p:cNvPr>
            <p:cNvSpPr/>
            <p:nvPr/>
          </p:nvSpPr>
          <p:spPr>
            <a:xfrm>
              <a:off x="7295348" y="2878449"/>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82" name="RectangleLegend2">
              <a:extLst>
                <a:ext uri="{FF2B5EF4-FFF2-40B4-BE49-F238E27FC236}">
                  <a16:creationId xmlns:a16="http://schemas.microsoft.com/office/drawing/2014/main" id="{A0FE592F-9444-B9D3-18BF-CC091DEC3BF7}"/>
                </a:ext>
              </a:extLst>
            </p:cNvPr>
            <p:cNvSpPr>
              <a:spLocks/>
            </p:cNvSpPr>
            <p:nvPr/>
          </p:nvSpPr>
          <p:spPr>
            <a:xfrm>
              <a:off x="7089331" y="3053000"/>
              <a:ext cx="1402645" cy="112892"/>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Digitalization Blueprint</a:t>
              </a:r>
            </a:p>
          </p:txBody>
        </p:sp>
      </p:grpSp>
      <p:grpSp>
        <p:nvGrpSpPr>
          <p:cNvPr id="11299" name="Group 11298">
            <a:extLst>
              <a:ext uri="{FF2B5EF4-FFF2-40B4-BE49-F238E27FC236}">
                <a16:creationId xmlns:a16="http://schemas.microsoft.com/office/drawing/2014/main" id="{ABF1479C-A23E-753A-A2FB-37C21A9485B7}"/>
              </a:ext>
            </a:extLst>
          </p:cNvPr>
          <p:cNvGrpSpPr/>
          <p:nvPr/>
        </p:nvGrpSpPr>
        <p:grpSpPr>
          <a:xfrm>
            <a:off x="2731841" y="3475065"/>
            <a:ext cx="1572388" cy="801688"/>
            <a:chOff x="7050108" y="2630788"/>
            <a:chExt cx="1441868" cy="735142"/>
          </a:xfrm>
        </p:grpSpPr>
        <p:sp>
          <p:nvSpPr>
            <p:cNvPr id="11300" name="Freeform: Shape 11299">
              <a:extLst>
                <a:ext uri="{FF2B5EF4-FFF2-40B4-BE49-F238E27FC236}">
                  <a16:creationId xmlns:a16="http://schemas.microsoft.com/office/drawing/2014/main" id="{25F514DC-6E20-3436-ACD0-ABCC2B0E9499}"/>
                </a:ext>
              </a:extLst>
            </p:cNvPr>
            <p:cNvSpPr/>
            <p:nvPr/>
          </p:nvSpPr>
          <p:spPr>
            <a:xfrm>
              <a:off x="7052488" y="2911706"/>
              <a:ext cx="293103" cy="451724"/>
            </a:xfrm>
            <a:custGeom>
              <a:avLst/>
              <a:gdLst>
                <a:gd name="connsiteX0" fmla="*/ 238264 w 238231"/>
                <a:gd name="connsiteY0" fmla="*/ 131945 h 347282"/>
                <a:gd name="connsiteX1" fmla="*/ 237517 w 238231"/>
                <a:gd name="connsiteY1" fmla="*/ 347389 h 347282"/>
                <a:gd name="connsiteX2" fmla="*/ 32 w 238231"/>
                <a:gd name="connsiteY2" fmla="*/ 215573 h 347282"/>
                <a:gd name="connsiteX3" fmla="*/ 32 w 238231"/>
                <a:gd name="connsiteY3" fmla="*/ 106 h 347282"/>
                <a:gd name="connsiteX4" fmla="*/ 238264 w 238231"/>
                <a:gd name="connsiteY4" fmla="*/ 131945 h 34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231" h="347282">
                  <a:moveTo>
                    <a:pt x="238264" y="131945"/>
                  </a:moveTo>
                  <a:lnTo>
                    <a:pt x="237517" y="347389"/>
                  </a:lnTo>
                  <a:lnTo>
                    <a:pt x="32" y="215573"/>
                  </a:lnTo>
                  <a:lnTo>
                    <a:pt x="32" y="106"/>
                  </a:lnTo>
                  <a:lnTo>
                    <a:pt x="238264" y="131945"/>
                  </a:lnTo>
                  <a:close/>
                </a:path>
              </a:pathLst>
            </a:custGeom>
            <a:solidFill>
              <a:srgbClr val="B8B8B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01" name="Freeform: Shape 11300">
              <a:extLst>
                <a:ext uri="{FF2B5EF4-FFF2-40B4-BE49-F238E27FC236}">
                  <a16:creationId xmlns:a16="http://schemas.microsoft.com/office/drawing/2014/main" id="{46421638-5976-E609-A57F-CA2C180A4F2B}"/>
                </a:ext>
              </a:extLst>
            </p:cNvPr>
            <p:cNvSpPr/>
            <p:nvPr/>
          </p:nvSpPr>
          <p:spPr>
            <a:xfrm>
              <a:off x="7050122" y="2909197"/>
              <a:ext cx="297805" cy="456733"/>
            </a:xfrm>
            <a:custGeom>
              <a:avLst/>
              <a:gdLst>
                <a:gd name="connsiteX0" fmla="*/ 238490 w 242053"/>
                <a:gd name="connsiteY0" fmla="*/ 350991 h 351133"/>
                <a:gd name="connsiteX1" fmla="*/ 1016 w 242053"/>
                <a:gd name="connsiteY1" fmla="*/ 219153 h 351133"/>
                <a:gd name="connsiteX2" fmla="*/ 32 w 242053"/>
                <a:gd name="connsiteY2" fmla="*/ 217502 h 351133"/>
                <a:gd name="connsiteX3" fmla="*/ 32 w 242053"/>
                <a:gd name="connsiteY3" fmla="*/ 2035 h 351133"/>
                <a:gd name="connsiteX4" fmla="*/ 982 w 242053"/>
                <a:gd name="connsiteY4" fmla="*/ 384 h 351133"/>
                <a:gd name="connsiteX5" fmla="*/ 2882 w 242053"/>
                <a:gd name="connsiteY5" fmla="*/ 339 h 351133"/>
                <a:gd name="connsiteX6" fmla="*/ 241125 w 242053"/>
                <a:gd name="connsiteY6" fmla="*/ 132177 h 351133"/>
                <a:gd name="connsiteX7" fmla="*/ 240186 w 242053"/>
                <a:gd name="connsiteY7" fmla="*/ 133873 h 351133"/>
                <a:gd name="connsiteX8" fmla="*/ 241125 w 242053"/>
                <a:gd name="connsiteY8" fmla="*/ 132177 h 351133"/>
                <a:gd name="connsiteX9" fmla="*/ 242086 w 242053"/>
                <a:gd name="connsiteY9" fmla="*/ 133873 h 351133"/>
                <a:gd name="connsiteX10" fmla="*/ 241328 w 242053"/>
                <a:gd name="connsiteY10" fmla="*/ 349329 h 351133"/>
                <a:gd name="connsiteX11" fmla="*/ 240390 w 242053"/>
                <a:gd name="connsiteY11" fmla="*/ 350957 h 351133"/>
                <a:gd name="connsiteX12" fmla="*/ 239406 w 242053"/>
                <a:gd name="connsiteY12" fmla="*/ 351240 h 351133"/>
                <a:gd name="connsiteX13" fmla="*/ 238490 w 242053"/>
                <a:gd name="connsiteY13" fmla="*/ 350991 h 351133"/>
                <a:gd name="connsiteX14" fmla="*/ 3866 w 242053"/>
                <a:gd name="connsiteY14" fmla="*/ 216337 h 351133"/>
                <a:gd name="connsiteX15" fmla="*/ 237517 w 242053"/>
                <a:gd name="connsiteY15" fmla="*/ 346049 h 351133"/>
                <a:gd name="connsiteX16" fmla="*/ 238241 w 242053"/>
                <a:gd name="connsiteY16" fmla="*/ 134993 h 351133"/>
                <a:gd name="connsiteX17" fmla="*/ 3866 w 242053"/>
                <a:gd name="connsiteY17" fmla="*/ 5292 h 351133"/>
                <a:gd name="connsiteX18" fmla="*/ 3866 w 242053"/>
                <a:gd name="connsiteY18" fmla="*/ 216337 h 3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2053" h="351133">
                  <a:moveTo>
                    <a:pt x="238490" y="350991"/>
                  </a:moveTo>
                  <a:lnTo>
                    <a:pt x="1016" y="219153"/>
                  </a:lnTo>
                  <a:cubicBezTo>
                    <a:pt x="405" y="218825"/>
                    <a:pt x="32" y="218181"/>
                    <a:pt x="32" y="217502"/>
                  </a:cubicBezTo>
                  <a:lnTo>
                    <a:pt x="32" y="2035"/>
                  </a:lnTo>
                  <a:cubicBezTo>
                    <a:pt x="32" y="1357"/>
                    <a:pt x="383" y="723"/>
                    <a:pt x="982" y="384"/>
                  </a:cubicBezTo>
                  <a:cubicBezTo>
                    <a:pt x="1581" y="33"/>
                    <a:pt x="2283" y="11"/>
                    <a:pt x="2882" y="339"/>
                  </a:cubicBezTo>
                  <a:lnTo>
                    <a:pt x="241125" y="132177"/>
                  </a:lnTo>
                  <a:lnTo>
                    <a:pt x="240186" y="133873"/>
                  </a:lnTo>
                  <a:lnTo>
                    <a:pt x="241125" y="132177"/>
                  </a:lnTo>
                  <a:cubicBezTo>
                    <a:pt x="241735" y="132528"/>
                    <a:pt x="242086" y="133161"/>
                    <a:pt x="242086" y="133873"/>
                  </a:cubicBezTo>
                  <a:lnTo>
                    <a:pt x="241328" y="349329"/>
                  </a:lnTo>
                  <a:cubicBezTo>
                    <a:pt x="241328" y="349996"/>
                    <a:pt x="240978" y="350618"/>
                    <a:pt x="240390" y="350957"/>
                  </a:cubicBezTo>
                  <a:cubicBezTo>
                    <a:pt x="240084" y="351138"/>
                    <a:pt x="239768" y="351240"/>
                    <a:pt x="239406" y="351240"/>
                  </a:cubicBezTo>
                  <a:cubicBezTo>
                    <a:pt x="239112" y="351240"/>
                    <a:pt x="238784" y="351161"/>
                    <a:pt x="238490" y="350991"/>
                  </a:cubicBezTo>
                  <a:close/>
                  <a:moveTo>
                    <a:pt x="3866" y="216337"/>
                  </a:moveTo>
                  <a:lnTo>
                    <a:pt x="237517" y="346049"/>
                  </a:lnTo>
                  <a:lnTo>
                    <a:pt x="238241" y="134993"/>
                  </a:lnTo>
                  <a:lnTo>
                    <a:pt x="3866" y="5292"/>
                  </a:lnTo>
                  <a:lnTo>
                    <a:pt x="3866" y="216337"/>
                  </a:lnTo>
                  <a:close/>
                </a:path>
              </a:pathLst>
            </a:custGeom>
            <a:solidFill>
              <a:srgbClr val="B8B8B8"/>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02" name="Freeform: Shape 11301">
              <a:extLst>
                <a:ext uri="{FF2B5EF4-FFF2-40B4-BE49-F238E27FC236}">
                  <a16:creationId xmlns:a16="http://schemas.microsoft.com/office/drawing/2014/main" id="{78ABEEB7-83F4-3F47-CF6A-CF8AEC6070A4}"/>
                </a:ext>
              </a:extLst>
            </p:cNvPr>
            <p:cNvSpPr/>
            <p:nvPr/>
          </p:nvSpPr>
          <p:spPr>
            <a:xfrm>
              <a:off x="7344673" y="2863737"/>
              <a:ext cx="900013" cy="499693"/>
            </a:xfrm>
            <a:custGeom>
              <a:avLst/>
              <a:gdLst>
                <a:gd name="connsiteX0" fmla="*/ 731690 w 731522"/>
                <a:gd name="connsiteY0" fmla="*/ 101 h 384160"/>
                <a:gd name="connsiteX1" fmla="*/ 731690 w 731522"/>
                <a:gd name="connsiteY1" fmla="*/ 215546 h 384160"/>
                <a:gd name="connsiteX2" fmla="*/ 168 w 731522"/>
                <a:gd name="connsiteY2" fmla="*/ 384262 h 384160"/>
                <a:gd name="connsiteX3" fmla="*/ 914 w 731522"/>
                <a:gd name="connsiteY3" fmla="*/ 168817 h 384160"/>
                <a:gd name="connsiteX4" fmla="*/ 731690 w 731522"/>
                <a:gd name="connsiteY4" fmla="*/ 101 h 384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22" h="384160">
                  <a:moveTo>
                    <a:pt x="731690" y="101"/>
                  </a:moveTo>
                  <a:lnTo>
                    <a:pt x="731690" y="215546"/>
                  </a:lnTo>
                  <a:lnTo>
                    <a:pt x="168" y="384262"/>
                  </a:lnTo>
                  <a:lnTo>
                    <a:pt x="914" y="168817"/>
                  </a:lnTo>
                  <a:lnTo>
                    <a:pt x="731690" y="101"/>
                  </a:lnTo>
                  <a:close/>
                </a:path>
              </a:pathLst>
            </a:custGeom>
            <a:solidFill>
              <a:srgbClr val="D0D0D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03" name="Freeform: Shape 11302">
              <a:extLst>
                <a:ext uri="{FF2B5EF4-FFF2-40B4-BE49-F238E27FC236}">
                  <a16:creationId xmlns:a16="http://schemas.microsoft.com/office/drawing/2014/main" id="{1F80D5EB-C34C-2A8F-2CBA-305877274331}"/>
                </a:ext>
              </a:extLst>
            </p:cNvPr>
            <p:cNvSpPr/>
            <p:nvPr/>
          </p:nvSpPr>
          <p:spPr>
            <a:xfrm>
              <a:off x="7052488" y="2692250"/>
              <a:ext cx="1192198" cy="390943"/>
            </a:xfrm>
            <a:custGeom>
              <a:avLst/>
              <a:gdLst>
                <a:gd name="connsiteX0" fmla="*/ 730899 w 969007"/>
                <a:gd name="connsiteY0" fmla="*/ 53 h 300554"/>
                <a:gd name="connsiteX1" fmla="*/ 969142 w 969007"/>
                <a:gd name="connsiteY1" fmla="*/ 131891 h 300554"/>
                <a:gd name="connsiteX2" fmla="*/ 238366 w 969007"/>
                <a:gd name="connsiteY2" fmla="*/ 300607 h 300554"/>
                <a:gd name="connsiteX3" fmla="*/ 134 w 969007"/>
                <a:gd name="connsiteY3" fmla="*/ 168769 h 300554"/>
                <a:gd name="connsiteX4" fmla="*/ 730899 w 969007"/>
                <a:gd name="connsiteY4" fmla="*/ 53 h 300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007" h="300554">
                  <a:moveTo>
                    <a:pt x="730899" y="53"/>
                  </a:moveTo>
                  <a:lnTo>
                    <a:pt x="969142" y="131891"/>
                  </a:lnTo>
                  <a:lnTo>
                    <a:pt x="238366" y="300607"/>
                  </a:lnTo>
                  <a:lnTo>
                    <a:pt x="134" y="168769"/>
                  </a:lnTo>
                  <a:lnTo>
                    <a:pt x="730899" y="53"/>
                  </a:ln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04" name="Freeform: Shape 11303">
              <a:extLst>
                <a:ext uri="{FF2B5EF4-FFF2-40B4-BE49-F238E27FC236}">
                  <a16:creationId xmlns:a16="http://schemas.microsoft.com/office/drawing/2014/main" id="{0D25B612-6BA7-28C2-7F00-892BEEC06CFD}"/>
                </a:ext>
              </a:extLst>
            </p:cNvPr>
            <p:cNvSpPr/>
            <p:nvPr/>
          </p:nvSpPr>
          <p:spPr>
            <a:xfrm>
              <a:off x="7050108" y="2689793"/>
              <a:ext cx="1196920" cy="395841"/>
            </a:xfrm>
            <a:custGeom>
              <a:avLst/>
              <a:gdLst>
                <a:gd name="connsiteX0" fmla="*/ 239363 w 972845"/>
                <a:gd name="connsiteY0" fmla="*/ 304147 h 304320"/>
                <a:gd name="connsiteX1" fmla="*/ 1131 w 972845"/>
                <a:gd name="connsiteY1" fmla="*/ 172331 h 304320"/>
                <a:gd name="connsiteX2" fmla="*/ 147 w 972845"/>
                <a:gd name="connsiteY2" fmla="*/ 170397 h 304320"/>
                <a:gd name="connsiteX3" fmla="*/ 1629 w 972845"/>
                <a:gd name="connsiteY3" fmla="*/ 168780 h 304320"/>
                <a:gd name="connsiteX4" fmla="*/ 732393 w 972845"/>
                <a:gd name="connsiteY4" fmla="*/ 53 h 304320"/>
                <a:gd name="connsiteX5" fmla="*/ 733762 w 972845"/>
                <a:gd name="connsiteY5" fmla="*/ 245 h 304320"/>
                <a:gd name="connsiteX6" fmla="*/ 971982 w 972845"/>
                <a:gd name="connsiteY6" fmla="*/ 132094 h 304320"/>
                <a:gd name="connsiteX7" fmla="*/ 972954 w 972845"/>
                <a:gd name="connsiteY7" fmla="*/ 134039 h 304320"/>
                <a:gd name="connsiteX8" fmla="*/ 971484 w 972845"/>
                <a:gd name="connsiteY8" fmla="*/ 135645 h 304320"/>
                <a:gd name="connsiteX9" fmla="*/ 240731 w 972845"/>
                <a:gd name="connsiteY9" fmla="*/ 304373 h 304320"/>
                <a:gd name="connsiteX10" fmla="*/ 239363 w 972845"/>
                <a:gd name="connsiteY10" fmla="*/ 304147 h 304320"/>
                <a:gd name="connsiteX11" fmla="*/ 7385 w 972845"/>
                <a:gd name="connsiteY11" fmla="*/ 171392 h 304320"/>
                <a:gd name="connsiteX12" fmla="*/ 240573 w 972845"/>
                <a:gd name="connsiteY12" fmla="*/ 300437 h 304320"/>
                <a:gd name="connsiteX13" fmla="*/ 965762 w 972845"/>
                <a:gd name="connsiteY13" fmla="*/ 133033 h 304320"/>
                <a:gd name="connsiteX14" fmla="*/ 732540 w 972845"/>
                <a:gd name="connsiteY14" fmla="*/ 3988 h 304320"/>
                <a:gd name="connsiteX15" fmla="*/ 7385 w 972845"/>
                <a:gd name="connsiteY15" fmla="*/ 171392 h 30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2845" h="304320">
                  <a:moveTo>
                    <a:pt x="239363" y="304147"/>
                  </a:moveTo>
                  <a:lnTo>
                    <a:pt x="1131" y="172331"/>
                  </a:lnTo>
                  <a:cubicBezTo>
                    <a:pt x="453" y="171935"/>
                    <a:pt x="57" y="171166"/>
                    <a:pt x="147" y="170397"/>
                  </a:cubicBezTo>
                  <a:cubicBezTo>
                    <a:pt x="272" y="169594"/>
                    <a:pt x="860" y="168961"/>
                    <a:pt x="1629" y="168780"/>
                  </a:cubicBezTo>
                  <a:lnTo>
                    <a:pt x="732393" y="53"/>
                  </a:lnTo>
                  <a:lnTo>
                    <a:pt x="733762" y="245"/>
                  </a:lnTo>
                  <a:lnTo>
                    <a:pt x="971982" y="132094"/>
                  </a:lnTo>
                  <a:cubicBezTo>
                    <a:pt x="972683" y="132479"/>
                    <a:pt x="973090" y="133248"/>
                    <a:pt x="972954" y="134039"/>
                  </a:cubicBezTo>
                  <a:cubicBezTo>
                    <a:pt x="972830" y="134831"/>
                    <a:pt x="972265" y="135464"/>
                    <a:pt x="971484" y="135645"/>
                  </a:cubicBezTo>
                  <a:lnTo>
                    <a:pt x="240731" y="304373"/>
                  </a:lnTo>
                  <a:lnTo>
                    <a:pt x="239363" y="304147"/>
                  </a:lnTo>
                  <a:close/>
                  <a:moveTo>
                    <a:pt x="7385" y="171392"/>
                  </a:moveTo>
                  <a:lnTo>
                    <a:pt x="240573" y="300437"/>
                  </a:lnTo>
                  <a:lnTo>
                    <a:pt x="965762" y="133033"/>
                  </a:lnTo>
                  <a:lnTo>
                    <a:pt x="732540" y="3988"/>
                  </a:lnTo>
                  <a:lnTo>
                    <a:pt x="7385" y="171392"/>
                  </a:lnTo>
                  <a:close/>
                </a:path>
              </a:pathLst>
            </a:custGeom>
            <a:solidFill>
              <a:srgbClr val="D0D0D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05" name="Freeform: Shape 11304">
              <a:extLst>
                <a:ext uri="{FF2B5EF4-FFF2-40B4-BE49-F238E27FC236}">
                  <a16:creationId xmlns:a16="http://schemas.microsoft.com/office/drawing/2014/main" id="{79D562E0-6D31-988B-D053-3836FA880873}"/>
                </a:ext>
              </a:extLst>
            </p:cNvPr>
            <p:cNvSpPr/>
            <p:nvPr/>
          </p:nvSpPr>
          <p:spPr>
            <a:xfrm>
              <a:off x="7812628" y="2666111"/>
              <a:ext cx="188167" cy="129346"/>
            </a:xfrm>
            <a:custGeom>
              <a:avLst/>
              <a:gdLst>
                <a:gd name="connsiteX0" fmla="*/ 153134 w 152940"/>
                <a:gd name="connsiteY0" fmla="*/ 494 h 99440"/>
                <a:gd name="connsiteX1" fmla="*/ 152896 w 152940"/>
                <a:gd name="connsiteY1" fmla="*/ 72327 h 99440"/>
                <a:gd name="connsiteX2" fmla="*/ 118280 w 152940"/>
                <a:gd name="connsiteY2" fmla="*/ 95149 h 99440"/>
                <a:gd name="connsiteX3" fmla="*/ 12576 w 152940"/>
                <a:gd name="connsiteY3" fmla="*/ 86825 h 99440"/>
                <a:gd name="connsiteX4" fmla="*/ 193 w 152940"/>
                <a:gd name="connsiteY4" fmla="*/ 71841 h 99440"/>
                <a:gd name="connsiteX5" fmla="*/ 442 w 152940"/>
                <a:gd name="connsiteY5" fmla="*/ 19 h 99440"/>
                <a:gd name="connsiteX6" fmla="*/ 12836 w 152940"/>
                <a:gd name="connsiteY6" fmla="*/ 15014 h 99440"/>
                <a:gd name="connsiteX7" fmla="*/ 118540 w 152940"/>
                <a:gd name="connsiteY7" fmla="*/ 23326 h 99440"/>
                <a:gd name="connsiteX8" fmla="*/ 153134 w 152940"/>
                <a:gd name="connsiteY8" fmla="*/ 494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0">
                  <a:moveTo>
                    <a:pt x="153134" y="494"/>
                  </a:moveTo>
                  <a:lnTo>
                    <a:pt x="152896" y="72327"/>
                  </a:lnTo>
                  <a:cubicBezTo>
                    <a:pt x="152862" y="81250"/>
                    <a:pt x="140660" y="89980"/>
                    <a:pt x="118280" y="95149"/>
                  </a:cubicBezTo>
                  <a:cubicBezTo>
                    <a:pt x="82951" y="103291"/>
                    <a:pt x="35624" y="99559"/>
                    <a:pt x="12576" y="86825"/>
                  </a:cubicBezTo>
                  <a:cubicBezTo>
                    <a:pt x="4185" y="82189"/>
                    <a:pt x="193" y="76987"/>
                    <a:pt x="193" y="71841"/>
                  </a:cubicBezTo>
                  <a:lnTo>
                    <a:pt x="442" y="19"/>
                  </a:lnTo>
                  <a:cubicBezTo>
                    <a:pt x="431" y="5187"/>
                    <a:pt x="4434" y="10366"/>
                    <a:pt x="12836" y="15014"/>
                  </a:cubicBezTo>
                  <a:cubicBezTo>
                    <a:pt x="35861" y="27759"/>
                    <a:pt x="83200" y="31480"/>
                    <a:pt x="118540" y="23326"/>
                  </a:cubicBezTo>
                  <a:cubicBezTo>
                    <a:pt x="140909" y="18158"/>
                    <a:pt x="153111" y="9439"/>
                    <a:pt x="153134" y="494"/>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306" name="Graphic 653">
              <a:extLst>
                <a:ext uri="{FF2B5EF4-FFF2-40B4-BE49-F238E27FC236}">
                  <a16:creationId xmlns:a16="http://schemas.microsoft.com/office/drawing/2014/main" id="{EF30FDC8-9142-732D-75DE-253030FD8715}"/>
                </a:ext>
              </a:extLst>
            </p:cNvPr>
            <p:cNvGrpSpPr/>
            <p:nvPr/>
          </p:nvGrpSpPr>
          <p:grpSpPr>
            <a:xfrm>
              <a:off x="7812628" y="2666111"/>
              <a:ext cx="188167" cy="129343"/>
              <a:chOff x="5730744" y="3445287"/>
              <a:chExt cx="152940" cy="99438"/>
            </a:xfrm>
            <a:gradFill>
              <a:gsLst>
                <a:gs pos="100000">
                  <a:srgbClr val="F0F0F0"/>
                </a:gs>
                <a:gs pos="0">
                  <a:srgbClr val="D0D0D0"/>
                </a:gs>
              </a:gsLst>
              <a:lin ang="0" scaled="1"/>
            </a:gradFill>
          </p:grpSpPr>
          <p:sp>
            <p:nvSpPr>
              <p:cNvPr id="11344" name="Freeform: Shape 11343">
                <a:extLst>
                  <a:ext uri="{FF2B5EF4-FFF2-40B4-BE49-F238E27FC236}">
                    <a16:creationId xmlns:a16="http://schemas.microsoft.com/office/drawing/2014/main" id="{767CDAED-8A84-20B2-1DFA-321145BFBA61}"/>
                  </a:ext>
                </a:extLst>
              </p:cNvPr>
              <p:cNvSpPr/>
              <p:nvPr/>
            </p:nvSpPr>
            <p:spPr>
              <a:xfrm>
                <a:off x="5730744" y="3445287"/>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45" name="Freeform: Shape 11344">
                <a:extLst>
                  <a:ext uri="{FF2B5EF4-FFF2-40B4-BE49-F238E27FC236}">
                    <a16:creationId xmlns:a16="http://schemas.microsoft.com/office/drawing/2014/main" id="{A862B250-ED86-2687-EE81-D77FA6F690B4}"/>
                  </a:ext>
                </a:extLst>
              </p:cNvPr>
              <p:cNvSpPr/>
              <p:nvPr/>
            </p:nvSpPr>
            <p:spPr>
              <a:xfrm>
                <a:off x="5730744" y="3445287"/>
                <a:ext cx="152940" cy="99438"/>
              </a:xfrm>
              <a:custGeom>
                <a:avLst/>
                <a:gdLst>
                  <a:gd name="connsiteX0" fmla="*/ 193 w 152940"/>
                  <a:gd name="connsiteY0" fmla="*/ 19 h 99438"/>
                  <a:gd name="connsiteX1" fmla="*/ 153134 w 152940"/>
                  <a:gd name="connsiteY1" fmla="*/ 19 h 99438"/>
                  <a:gd name="connsiteX2" fmla="*/ 153134 w 152940"/>
                  <a:gd name="connsiteY2" fmla="*/ 99457 h 99438"/>
                  <a:gd name="connsiteX3" fmla="*/ 193 w 152940"/>
                  <a:gd name="connsiteY3" fmla="*/ 99457 h 99438"/>
                </a:gdLst>
                <a:ahLst/>
                <a:cxnLst>
                  <a:cxn ang="0">
                    <a:pos x="connsiteX0" y="connsiteY0"/>
                  </a:cxn>
                  <a:cxn ang="0">
                    <a:pos x="connsiteX1" y="connsiteY1"/>
                  </a:cxn>
                  <a:cxn ang="0">
                    <a:pos x="connsiteX2" y="connsiteY2"/>
                  </a:cxn>
                  <a:cxn ang="0">
                    <a:pos x="connsiteX3" y="connsiteY3"/>
                  </a:cxn>
                </a:cxnLst>
                <a:rect l="l" t="t" r="r" b="b"/>
                <a:pathLst>
                  <a:path w="152940" h="99438">
                    <a:moveTo>
                      <a:pt x="193" y="19"/>
                    </a:moveTo>
                    <a:lnTo>
                      <a:pt x="153134" y="19"/>
                    </a:lnTo>
                    <a:lnTo>
                      <a:pt x="153134" y="99457"/>
                    </a:lnTo>
                    <a:lnTo>
                      <a:pt x="193"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307" name="Freeform: Shape 11306">
              <a:extLst>
                <a:ext uri="{FF2B5EF4-FFF2-40B4-BE49-F238E27FC236}">
                  <a16:creationId xmlns:a16="http://schemas.microsoft.com/office/drawing/2014/main" id="{31FE4EE0-D1FB-FAF9-D8F8-D4518A902851}"/>
                </a:ext>
              </a:extLst>
            </p:cNvPr>
            <p:cNvSpPr/>
            <p:nvPr/>
          </p:nvSpPr>
          <p:spPr>
            <a:xfrm>
              <a:off x="7598261" y="2718449"/>
              <a:ext cx="188153" cy="129335"/>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308" name="Graphic 653">
              <a:extLst>
                <a:ext uri="{FF2B5EF4-FFF2-40B4-BE49-F238E27FC236}">
                  <a16:creationId xmlns:a16="http://schemas.microsoft.com/office/drawing/2014/main" id="{88E883CE-786B-B32F-751B-81EC44555184}"/>
                </a:ext>
              </a:extLst>
            </p:cNvPr>
            <p:cNvGrpSpPr/>
            <p:nvPr/>
          </p:nvGrpSpPr>
          <p:grpSpPr>
            <a:xfrm>
              <a:off x="7598262" y="2718449"/>
              <a:ext cx="188153" cy="129328"/>
              <a:chOff x="5556510" y="3485524"/>
              <a:chExt cx="152929" cy="99427"/>
            </a:xfrm>
            <a:gradFill>
              <a:gsLst>
                <a:gs pos="100000">
                  <a:srgbClr val="F0F0F0"/>
                </a:gs>
                <a:gs pos="0">
                  <a:srgbClr val="D0D0D0"/>
                </a:gs>
              </a:gsLst>
              <a:lin ang="0" scaled="1"/>
            </a:gradFill>
          </p:grpSpPr>
          <p:sp>
            <p:nvSpPr>
              <p:cNvPr id="11342" name="Freeform: Shape 11341">
                <a:extLst>
                  <a:ext uri="{FF2B5EF4-FFF2-40B4-BE49-F238E27FC236}">
                    <a16:creationId xmlns:a16="http://schemas.microsoft.com/office/drawing/2014/main" id="{B58DF44B-706F-EC51-083C-674FDCF93D2D}"/>
                  </a:ext>
                </a:extLst>
              </p:cNvPr>
              <p:cNvSpPr/>
              <p:nvPr/>
            </p:nvSpPr>
            <p:spPr>
              <a:xfrm>
                <a:off x="5556510" y="3485524"/>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43" name="Freeform: Shape 11342">
                <a:extLst>
                  <a:ext uri="{FF2B5EF4-FFF2-40B4-BE49-F238E27FC236}">
                    <a16:creationId xmlns:a16="http://schemas.microsoft.com/office/drawing/2014/main" id="{402B3D02-7F2C-158B-96D1-60A9858133E6}"/>
                  </a:ext>
                </a:extLst>
              </p:cNvPr>
              <p:cNvSpPr/>
              <p:nvPr/>
            </p:nvSpPr>
            <p:spPr>
              <a:xfrm>
                <a:off x="5556510" y="3485524"/>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309" name="Freeform: Shape 11308">
              <a:extLst>
                <a:ext uri="{FF2B5EF4-FFF2-40B4-BE49-F238E27FC236}">
                  <a16:creationId xmlns:a16="http://schemas.microsoft.com/office/drawing/2014/main" id="{B40903A5-4CCF-CB98-F790-DDB5F7C7D6BE}"/>
                </a:ext>
              </a:extLst>
            </p:cNvPr>
            <p:cNvSpPr/>
            <p:nvPr/>
          </p:nvSpPr>
          <p:spPr>
            <a:xfrm>
              <a:off x="7744604" y="2804045"/>
              <a:ext cx="188153" cy="129357"/>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310" name="Graphic 653">
              <a:extLst>
                <a:ext uri="{FF2B5EF4-FFF2-40B4-BE49-F238E27FC236}">
                  <a16:creationId xmlns:a16="http://schemas.microsoft.com/office/drawing/2014/main" id="{1B7B1B8D-A502-4CE2-170B-A522BDE5D958}"/>
                </a:ext>
              </a:extLst>
            </p:cNvPr>
            <p:cNvGrpSpPr/>
            <p:nvPr/>
          </p:nvGrpSpPr>
          <p:grpSpPr>
            <a:xfrm>
              <a:off x="7744605" y="2804045"/>
              <a:ext cx="188153" cy="129357"/>
              <a:chOff x="5675456" y="3551330"/>
              <a:chExt cx="152929" cy="99449"/>
            </a:xfrm>
            <a:gradFill>
              <a:gsLst>
                <a:gs pos="100000">
                  <a:srgbClr val="F0F0F0"/>
                </a:gs>
                <a:gs pos="0">
                  <a:srgbClr val="D0D0D0"/>
                </a:gs>
              </a:gsLst>
              <a:lin ang="0" scaled="1"/>
            </a:gradFill>
          </p:grpSpPr>
          <p:sp>
            <p:nvSpPr>
              <p:cNvPr id="11340" name="Freeform: Shape 11339">
                <a:extLst>
                  <a:ext uri="{FF2B5EF4-FFF2-40B4-BE49-F238E27FC236}">
                    <a16:creationId xmlns:a16="http://schemas.microsoft.com/office/drawing/2014/main" id="{89ACB36E-B741-2481-FEE3-67F286834201}"/>
                  </a:ext>
                </a:extLst>
              </p:cNvPr>
              <p:cNvSpPr/>
              <p:nvPr/>
            </p:nvSpPr>
            <p:spPr>
              <a:xfrm>
                <a:off x="5675456" y="3551330"/>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41" name="Freeform: Shape 11340">
                <a:extLst>
                  <a:ext uri="{FF2B5EF4-FFF2-40B4-BE49-F238E27FC236}">
                    <a16:creationId xmlns:a16="http://schemas.microsoft.com/office/drawing/2014/main" id="{CFE69A50-D768-1736-0E98-E8C5F7DFDF74}"/>
                  </a:ext>
                </a:extLst>
              </p:cNvPr>
              <p:cNvSpPr/>
              <p:nvPr/>
            </p:nvSpPr>
            <p:spPr>
              <a:xfrm>
                <a:off x="5675456" y="3551330"/>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311" name="Freeform: Shape 11310">
              <a:extLst>
                <a:ext uri="{FF2B5EF4-FFF2-40B4-BE49-F238E27FC236}">
                  <a16:creationId xmlns:a16="http://schemas.microsoft.com/office/drawing/2014/main" id="{847C8B2C-AB95-B5AB-4FE6-BCEB880EBDB4}"/>
                </a:ext>
              </a:extLst>
            </p:cNvPr>
            <p:cNvSpPr/>
            <p:nvPr/>
          </p:nvSpPr>
          <p:spPr>
            <a:xfrm>
              <a:off x="7959012" y="2751722"/>
              <a:ext cx="188167" cy="129357"/>
            </a:xfrm>
            <a:custGeom>
              <a:avLst/>
              <a:gdLst>
                <a:gd name="connsiteX0" fmla="*/ 153167 w 152940"/>
                <a:gd name="connsiteY0" fmla="*/ 512 h 99449"/>
                <a:gd name="connsiteX1" fmla="*/ 152896 w 152940"/>
                <a:gd name="connsiteY1" fmla="*/ 72334 h 99449"/>
                <a:gd name="connsiteX2" fmla="*/ 118257 w 152940"/>
                <a:gd name="connsiteY2" fmla="*/ 95156 h 99449"/>
                <a:gd name="connsiteX3" fmla="*/ 12587 w 152940"/>
                <a:gd name="connsiteY3" fmla="*/ 86866 h 99449"/>
                <a:gd name="connsiteX4" fmla="*/ 227 w 152940"/>
                <a:gd name="connsiteY4" fmla="*/ 71848 h 99449"/>
                <a:gd name="connsiteX5" fmla="*/ 476 w 152940"/>
                <a:gd name="connsiteY5" fmla="*/ 37 h 99449"/>
                <a:gd name="connsiteX6" fmla="*/ 12848 w 152940"/>
                <a:gd name="connsiteY6" fmla="*/ 15044 h 99449"/>
                <a:gd name="connsiteX7" fmla="*/ 118517 w 152940"/>
                <a:gd name="connsiteY7" fmla="*/ 23333 h 99449"/>
                <a:gd name="connsiteX8" fmla="*/ 153167 w 152940"/>
                <a:gd name="connsiteY8" fmla="*/ 512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9">
                  <a:moveTo>
                    <a:pt x="153167" y="512"/>
                  </a:moveTo>
                  <a:lnTo>
                    <a:pt x="152896" y="72334"/>
                  </a:lnTo>
                  <a:cubicBezTo>
                    <a:pt x="152862" y="81268"/>
                    <a:pt x="140671" y="89988"/>
                    <a:pt x="118257" y="95156"/>
                  </a:cubicBezTo>
                  <a:cubicBezTo>
                    <a:pt x="82940" y="103321"/>
                    <a:pt x="35646" y="99600"/>
                    <a:pt x="12587" y="86866"/>
                  </a:cubicBezTo>
                  <a:cubicBezTo>
                    <a:pt x="4196" y="82207"/>
                    <a:pt x="182" y="76994"/>
                    <a:pt x="227" y="71848"/>
                  </a:cubicBezTo>
                  <a:lnTo>
                    <a:pt x="476" y="37"/>
                  </a:lnTo>
                  <a:cubicBezTo>
                    <a:pt x="419" y="5171"/>
                    <a:pt x="4445" y="10396"/>
                    <a:pt x="12848" y="15044"/>
                  </a:cubicBezTo>
                  <a:cubicBezTo>
                    <a:pt x="35884" y="27800"/>
                    <a:pt x="83200" y="31498"/>
                    <a:pt x="118517" y="23333"/>
                  </a:cubicBezTo>
                  <a:cubicBezTo>
                    <a:pt x="140897" y="18177"/>
                    <a:pt x="153122" y="9457"/>
                    <a:pt x="153167" y="512"/>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312" name="Graphic 653">
              <a:extLst>
                <a:ext uri="{FF2B5EF4-FFF2-40B4-BE49-F238E27FC236}">
                  <a16:creationId xmlns:a16="http://schemas.microsoft.com/office/drawing/2014/main" id="{70D2320D-BE85-C255-490E-59E9D17DDFEA}"/>
                </a:ext>
              </a:extLst>
            </p:cNvPr>
            <p:cNvGrpSpPr/>
            <p:nvPr/>
          </p:nvGrpSpPr>
          <p:grpSpPr>
            <a:xfrm>
              <a:off x="7959013" y="2751722"/>
              <a:ext cx="188167" cy="129357"/>
              <a:chOff x="5849725" y="3511104"/>
              <a:chExt cx="152940" cy="99449"/>
            </a:xfrm>
            <a:gradFill>
              <a:gsLst>
                <a:gs pos="100000">
                  <a:srgbClr val="F0F0F0"/>
                </a:gs>
                <a:gs pos="0">
                  <a:srgbClr val="D0D0D0"/>
                </a:gs>
              </a:gsLst>
              <a:lin ang="0" scaled="1"/>
            </a:gradFill>
          </p:grpSpPr>
          <p:sp>
            <p:nvSpPr>
              <p:cNvPr id="11338" name="Freeform: Shape 11337">
                <a:extLst>
                  <a:ext uri="{FF2B5EF4-FFF2-40B4-BE49-F238E27FC236}">
                    <a16:creationId xmlns:a16="http://schemas.microsoft.com/office/drawing/2014/main" id="{3C727BF2-32E2-24E0-DC1B-C70702773AEF}"/>
                  </a:ext>
                </a:extLst>
              </p:cNvPr>
              <p:cNvSpPr/>
              <p:nvPr/>
            </p:nvSpPr>
            <p:spPr>
              <a:xfrm>
                <a:off x="5849725" y="3511104"/>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39" name="Freeform: Shape 11338">
                <a:extLst>
                  <a:ext uri="{FF2B5EF4-FFF2-40B4-BE49-F238E27FC236}">
                    <a16:creationId xmlns:a16="http://schemas.microsoft.com/office/drawing/2014/main" id="{67EEE083-0FD2-C1DD-7251-0CB6E7062C79}"/>
                  </a:ext>
                </a:extLst>
              </p:cNvPr>
              <p:cNvSpPr/>
              <p:nvPr/>
            </p:nvSpPr>
            <p:spPr>
              <a:xfrm>
                <a:off x="5849725" y="3511104"/>
                <a:ext cx="152940" cy="99449"/>
              </a:xfrm>
              <a:custGeom>
                <a:avLst/>
                <a:gdLst>
                  <a:gd name="connsiteX0" fmla="*/ 226 w 152940"/>
                  <a:gd name="connsiteY0" fmla="*/ 37 h 99449"/>
                  <a:gd name="connsiteX1" fmla="*/ 153167 w 152940"/>
                  <a:gd name="connsiteY1" fmla="*/ 37 h 99449"/>
                  <a:gd name="connsiteX2" fmla="*/ 153167 w 152940"/>
                  <a:gd name="connsiteY2" fmla="*/ 99487 h 99449"/>
                  <a:gd name="connsiteX3" fmla="*/ 226 w 152940"/>
                  <a:gd name="connsiteY3" fmla="*/ 99487 h 99449"/>
                </a:gdLst>
                <a:ahLst/>
                <a:cxnLst>
                  <a:cxn ang="0">
                    <a:pos x="connsiteX0" y="connsiteY0"/>
                  </a:cxn>
                  <a:cxn ang="0">
                    <a:pos x="connsiteX1" y="connsiteY1"/>
                  </a:cxn>
                  <a:cxn ang="0">
                    <a:pos x="connsiteX2" y="connsiteY2"/>
                  </a:cxn>
                  <a:cxn ang="0">
                    <a:pos x="connsiteX3" y="connsiteY3"/>
                  </a:cxn>
                </a:cxnLst>
                <a:rect l="l" t="t" r="r" b="b"/>
                <a:pathLst>
                  <a:path w="152940" h="99449">
                    <a:moveTo>
                      <a:pt x="226" y="37"/>
                    </a:moveTo>
                    <a:lnTo>
                      <a:pt x="153167" y="37"/>
                    </a:lnTo>
                    <a:lnTo>
                      <a:pt x="153167" y="99487"/>
                    </a:lnTo>
                    <a:lnTo>
                      <a:pt x="226" y="9948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313" name="Freeform: Shape 11312">
              <a:extLst>
                <a:ext uri="{FF2B5EF4-FFF2-40B4-BE49-F238E27FC236}">
                  <a16:creationId xmlns:a16="http://schemas.microsoft.com/office/drawing/2014/main" id="{00366C90-B392-3835-3D79-327883C9358C}"/>
                </a:ext>
              </a:extLst>
            </p:cNvPr>
            <p:cNvSpPr/>
            <p:nvPr/>
          </p:nvSpPr>
          <p:spPr>
            <a:xfrm>
              <a:off x="7812964" y="2630788"/>
              <a:ext cx="187845" cy="71261"/>
            </a:xfrm>
            <a:custGeom>
              <a:avLst/>
              <a:gdLst>
                <a:gd name="connsiteX0" fmla="*/ 34865 w 152679"/>
                <a:gd name="connsiteY0" fmla="*/ 4317 h 54785"/>
                <a:gd name="connsiteX1" fmla="*/ 140455 w 152679"/>
                <a:gd name="connsiteY1" fmla="*/ 12629 h 54785"/>
                <a:gd name="connsiteX2" fmla="*/ 118267 w 152679"/>
                <a:gd name="connsiteY2" fmla="*/ 50468 h 54785"/>
                <a:gd name="connsiteX3" fmla="*/ 12564 w 152679"/>
                <a:gd name="connsiteY3" fmla="*/ 42156 h 54785"/>
                <a:gd name="connsiteX4" fmla="*/ 34865 w 152679"/>
                <a:gd name="connsiteY4" fmla="*/ 4317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9" h="54785">
                  <a:moveTo>
                    <a:pt x="34865" y="4317"/>
                  </a:moveTo>
                  <a:cubicBezTo>
                    <a:pt x="70137" y="-3826"/>
                    <a:pt x="117464" y="-94"/>
                    <a:pt x="140455" y="12629"/>
                  </a:cubicBezTo>
                  <a:cubicBezTo>
                    <a:pt x="163502" y="25362"/>
                    <a:pt x="153539" y="42325"/>
                    <a:pt x="118267" y="50468"/>
                  </a:cubicBezTo>
                  <a:cubicBezTo>
                    <a:pt x="82927" y="58621"/>
                    <a:pt x="35588" y="54901"/>
                    <a:pt x="12564" y="42156"/>
                  </a:cubicBezTo>
                  <a:cubicBezTo>
                    <a:pt x="-10427" y="29433"/>
                    <a:pt x="-453" y="12482"/>
                    <a:pt x="34865" y="4317"/>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14" name="Freeform: Shape 11313">
              <a:extLst>
                <a:ext uri="{FF2B5EF4-FFF2-40B4-BE49-F238E27FC236}">
                  <a16:creationId xmlns:a16="http://schemas.microsoft.com/office/drawing/2014/main" id="{F8C2389A-2814-D603-BEE4-7AB5C4755869}"/>
                </a:ext>
              </a:extLst>
            </p:cNvPr>
            <p:cNvSpPr/>
            <p:nvPr/>
          </p:nvSpPr>
          <p:spPr>
            <a:xfrm>
              <a:off x="7598557" y="2683122"/>
              <a:ext cx="187849" cy="71261"/>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15" name="Freeform: Shape 11314">
              <a:extLst>
                <a:ext uri="{FF2B5EF4-FFF2-40B4-BE49-F238E27FC236}">
                  <a16:creationId xmlns:a16="http://schemas.microsoft.com/office/drawing/2014/main" id="{5E55B6E4-FBD2-5188-316E-6D76F4416723}"/>
                </a:ext>
              </a:extLst>
            </p:cNvPr>
            <p:cNvSpPr/>
            <p:nvPr/>
          </p:nvSpPr>
          <p:spPr>
            <a:xfrm>
              <a:off x="7959278" y="2716396"/>
              <a:ext cx="187889" cy="71268"/>
            </a:xfrm>
            <a:custGeom>
              <a:avLst/>
              <a:gdLst>
                <a:gd name="connsiteX0" fmla="*/ 34910 w 152714"/>
                <a:gd name="connsiteY0" fmla="*/ 4337 h 54790"/>
                <a:gd name="connsiteX1" fmla="*/ 140534 w 152714"/>
                <a:gd name="connsiteY1" fmla="*/ 12661 h 54790"/>
                <a:gd name="connsiteX2" fmla="*/ 118301 w 152714"/>
                <a:gd name="connsiteY2" fmla="*/ 50477 h 54790"/>
                <a:gd name="connsiteX3" fmla="*/ 12631 w 152714"/>
                <a:gd name="connsiteY3" fmla="*/ 42188 h 54790"/>
                <a:gd name="connsiteX4" fmla="*/ 34910 w 152714"/>
                <a:gd name="connsiteY4" fmla="*/ 4337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14" h="54790">
                  <a:moveTo>
                    <a:pt x="34910" y="4337"/>
                  </a:moveTo>
                  <a:cubicBezTo>
                    <a:pt x="70182" y="-3805"/>
                    <a:pt x="117521" y="-85"/>
                    <a:pt x="140534" y="12661"/>
                  </a:cubicBezTo>
                  <a:cubicBezTo>
                    <a:pt x="163582" y="25406"/>
                    <a:pt x="153585" y="42346"/>
                    <a:pt x="118301" y="50477"/>
                  </a:cubicBezTo>
                  <a:cubicBezTo>
                    <a:pt x="82984" y="58642"/>
                    <a:pt x="35667" y="54944"/>
                    <a:pt x="12631" y="42188"/>
                  </a:cubicBezTo>
                  <a:cubicBezTo>
                    <a:pt x="-10416" y="29443"/>
                    <a:pt x="-419" y="12491"/>
                    <a:pt x="34910" y="4337"/>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16" name="Freeform: Shape 11315">
              <a:extLst>
                <a:ext uri="{FF2B5EF4-FFF2-40B4-BE49-F238E27FC236}">
                  <a16:creationId xmlns:a16="http://schemas.microsoft.com/office/drawing/2014/main" id="{AA4DE0F5-DF8E-BF5F-511F-8BABC2EC6542}"/>
                </a:ext>
              </a:extLst>
            </p:cNvPr>
            <p:cNvSpPr/>
            <p:nvPr/>
          </p:nvSpPr>
          <p:spPr>
            <a:xfrm>
              <a:off x="7744901" y="2768720"/>
              <a:ext cx="187864" cy="71271"/>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17" name="Freeform: Shape 11316">
              <a:extLst>
                <a:ext uri="{FF2B5EF4-FFF2-40B4-BE49-F238E27FC236}">
                  <a16:creationId xmlns:a16="http://schemas.microsoft.com/office/drawing/2014/main" id="{68281EF7-DB0D-4544-731D-CD603933CF02}"/>
                </a:ext>
              </a:extLst>
            </p:cNvPr>
            <p:cNvSpPr/>
            <p:nvPr/>
          </p:nvSpPr>
          <p:spPr>
            <a:xfrm>
              <a:off x="7363095" y="2775846"/>
              <a:ext cx="188167" cy="129348"/>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318" name="Graphic 653">
              <a:extLst>
                <a:ext uri="{FF2B5EF4-FFF2-40B4-BE49-F238E27FC236}">
                  <a16:creationId xmlns:a16="http://schemas.microsoft.com/office/drawing/2014/main" id="{8ADE0E1B-C974-585F-4AE2-7AD0577F35AD}"/>
                </a:ext>
              </a:extLst>
            </p:cNvPr>
            <p:cNvGrpSpPr/>
            <p:nvPr/>
          </p:nvGrpSpPr>
          <p:grpSpPr>
            <a:xfrm>
              <a:off x="7363095" y="2775846"/>
              <a:ext cx="188167" cy="129343"/>
              <a:chOff x="5365368" y="3529651"/>
              <a:chExt cx="152940" cy="99438"/>
            </a:xfrm>
            <a:gradFill>
              <a:gsLst>
                <a:gs pos="100000">
                  <a:srgbClr val="F0F0F0"/>
                </a:gs>
                <a:gs pos="0">
                  <a:srgbClr val="D0D0D0"/>
                </a:gs>
              </a:gsLst>
              <a:lin ang="0" scaled="1"/>
            </a:gradFill>
          </p:grpSpPr>
          <p:sp>
            <p:nvSpPr>
              <p:cNvPr id="11336" name="Freeform: Shape 11335">
                <a:extLst>
                  <a:ext uri="{FF2B5EF4-FFF2-40B4-BE49-F238E27FC236}">
                    <a16:creationId xmlns:a16="http://schemas.microsoft.com/office/drawing/2014/main" id="{1A58A8C7-532A-BB48-5CF0-DEE1D007D412}"/>
                  </a:ext>
                </a:extLst>
              </p:cNvPr>
              <p:cNvSpPr/>
              <p:nvPr/>
            </p:nvSpPr>
            <p:spPr>
              <a:xfrm>
                <a:off x="5365368" y="3529651"/>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37" name="Freeform: Shape 11336">
                <a:extLst>
                  <a:ext uri="{FF2B5EF4-FFF2-40B4-BE49-F238E27FC236}">
                    <a16:creationId xmlns:a16="http://schemas.microsoft.com/office/drawing/2014/main" id="{90D53DC4-54B5-A4E1-4E2B-D83FED846800}"/>
                  </a:ext>
                </a:extLst>
              </p:cNvPr>
              <p:cNvSpPr/>
              <p:nvPr/>
            </p:nvSpPr>
            <p:spPr>
              <a:xfrm>
                <a:off x="5365368" y="3529651"/>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319" name="Freeform: Shape 11318">
              <a:extLst>
                <a:ext uri="{FF2B5EF4-FFF2-40B4-BE49-F238E27FC236}">
                  <a16:creationId xmlns:a16="http://schemas.microsoft.com/office/drawing/2014/main" id="{EFF18F4D-AEC7-FC8D-9436-CCA00D4DA2DD}"/>
                </a:ext>
              </a:extLst>
            </p:cNvPr>
            <p:cNvSpPr/>
            <p:nvPr/>
          </p:nvSpPr>
          <p:spPr>
            <a:xfrm>
              <a:off x="7148700" y="2828169"/>
              <a:ext cx="188153" cy="129346"/>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320" name="Graphic 653">
              <a:extLst>
                <a:ext uri="{FF2B5EF4-FFF2-40B4-BE49-F238E27FC236}">
                  <a16:creationId xmlns:a16="http://schemas.microsoft.com/office/drawing/2014/main" id="{712962BC-1820-CB82-08CC-E2526020369E}"/>
                </a:ext>
              </a:extLst>
            </p:cNvPr>
            <p:cNvGrpSpPr/>
            <p:nvPr/>
          </p:nvGrpSpPr>
          <p:grpSpPr>
            <a:xfrm>
              <a:off x="7148700" y="2828169"/>
              <a:ext cx="188153" cy="129343"/>
              <a:chOff x="5191110" y="3569876"/>
              <a:chExt cx="152929" cy="99438"/>
            </a:xfrm>
            <a:gradFill>
              <a:gsLst>
                <a:gs pos="100000">
                  <a:srgbClr val="F0F0F0"/>
                </a:gs>
                <a:gs pos="0">
                  <a:srgbClr val="D0D0D0"/>
                </a:gs>
              </a:gsLst>
              <a:lin ang="0" scaled="1"/>
            </a:gradFill>
          </p:grpSpPr>
          <p:sp>
            <p:nvSpPr>
              <p:cNvPr id="11334" name="Freeform: Shape 11333">
                <a:extLst>
                  <a:ext uri="{FF2B5EF4-FFF2-40B4-BE49-F238E27FC236}">
                    <a16:creationId xmlns:a16="http://schemas.microsoft.com/office/drawing/2014/main" id="{ADD4F547-9DB1-87E8-C06A-76BD87BBE128}"/>
                  </a:ext>
                </a:extLst>
              </p:cNvPr>
              <p:cNvSpPr/>
              <p:nvPr/>
            </p:nvSpPr>
            <p:spPr>
              <a:xfrm>
                <a:off x="5191110" y="3569876"/>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35" name="Freeform: Shape 11334">
                <a:extLst>
                  <a:ext uri="{FF2B5EF4-FFF2-40B4-BE49-F238E27FC236}">
                    <a16:creationId xmlns:a16="http://schemas.microsoft.com/office/drawing/2014/main" id="{23874945-0589-55E0-4FAC-B977CFBEAFD5}"/>
                  </a:ext>
                </a:extLst>
              </p:cNvPr>
              <p:cNvSpPr/>
              <p:nvPr/>
            </p:nvSpPr>
            <p:spPr>
              <a:xfrm>
                <a:off x="5191110" y="3569876"/>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321" name="Freeform: Shape 11320">
              <a:extLst>
                <a:ext uri="{FF2B5EF4-FFF2-40B4-BE49-F238E27FC236}">
                  <a16:creationId xmlns:a16="http://schemas.microsoft.com/office/drawing/2014/main" id="{10F330B3-2D18-E6EB-A47F-F094DFBFA3C9}"/>
                </a:ext>
              </a:extLst>
            </p:cNvPr>
            <p:cNvSpPr/>
            <p:nvPr/>
          </p:nvSpPr>
          <p:spPr>
            <a:xfrm>
              <a:off x="7295043" y="2913765"/>
              <a:ext cx="188180" cy="129369"/>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322" name="Graphic 653">
              <a:extLst>
                <a:ext uri="{FF2B5EF4-FFF2-40B4-BE49-F238E27FC236}">
                  <a16:creationId xmlns:a16="http://schemas.microsoft.com/office/drawing/2014/main" id="{19A8953A-FB88-1083-0840-32A0F1A68AAC}"/>
                </a:ext>
              </a:extLst>
            </p:cNvPr>
            <p:cNvGrpSpPr/>
            <p:nvPr/>
          </p:nvGrpSpPr>
          <p:grpSpPr>
            <a:xfrm>
              <a:off x="7295043" y="2913765"/>
              <a:ext cx="188180" cy="129373"/>
              <a:chOff x="5310056" y="3635682"/>
              <a:chExt cx="152951" cy="99461"/>
            </a:xfrm>
            <a:gradFill>
              <a:gsLst>
                <a:gs pos="100000">
                  <a:srgbClr val="F0F0F0"/>
                </a:gs>
                <a:gs pos="0">
                  <a:srgbClr val="D0D0D0"/>
                </a:gs>
              </a:gsLst>
              <a:lin ang="0" scaled="1"/>
            </a:gradFill>
          </p:grpSpPr>
          <p:sp>
            <p:nvSpPr>
              <p:cNvPr id="11332" name="Freeform: Shape 11331">
                <a:extLst>
                  <a:ext uri="{FF2B5EF4-FFF2-40B4-BE49-F238E27FC236}">
                    <a16:creationId xmlns:a16="http://schemas.microsoft.com/office/drawing/2014/main" id="{F8FFED3F-81FE-A229-3B1A-90551D305011}"/>
                  </a:ext>
                </a:extLst>
              </p:cNvPr>
              <p:cNvSpPr/>
              <p:nvPr/>
            </p:nvSpPr>
            <p:spPr>
              <a:xfrm>
                <a:off x="5310056" y="3635682"/>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33" name="Freeform: Shape 11332">
                <a:extLst>
                  <a:ext uri="{FF2B5EF4-FFF2-40B4-BE49-F238E27FC236}">
                    <a16:creationId xmlns:a16="http://schemas.microsoft.com/office/drawing/2014/main" id="{75095538-073F-65F4-253F-634948D1F8B4}"/>
                  </a:ext>
                </a:extLst>
              </p:cNvPr>
              <p:cNvSpPr/>
              <p:nvPr/>
            </p:nvSpPr>
            <p:spPr>
              <a:xfrm>
                <a:off x="5310056" y="3635682"/>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323" name="Freeform: Shape 11322">
              <a:extLst>
                <a:ext uri="{FF2B5EF4-FFF2-40B4-BE49-F238E27FC236}">
                  <a16:creationId xmlns:a16="http://schemas.microsoft.com/office/drawing/2014/main" id="{4D182507-6872-56AB-093D-867F8A997217}"/>
                </a:ext>
              </a:extLst>
            </p:cNvPr>
            <p:cNvSpPr/>
            <p:nvPr/>
          </p:nvSpPr>
          <p:spPr>
            <a:xfrm>
              <a:off x="7509451" y="2861457"/>
              <a:ext cx="188167" cy="129343"/>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adFill>
              <a:gsLst>
                <a:gs pos="100000">
                  <a:srgbClr val="F0F0F0"/>
                </a:gs>
                <a:gs pos="0">
                  <a:srgbClr val="D0D0D0"/>
                </a:gs>
              </a:gsLst>
              <a:lin ang="0" scaled="1"/>
            </a:gra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324" name="Graphic 653">
              <a:extLst>
                <a:ext uri="{FF2B5EF4-FFF2-40B4-BE49-F238E27FC236}">
                  <a16:creationId xmlns:a16="http://schemas.microsoft.com/office/drawing/2014/main" id="{6D62E1FC-B47B-2142-1256-1681008DF556}"/>
                </a:ext>
              </a:extLst>
            </p:cNvPr>
            <p:cNvGrpSpPr/>
            <p:nvPr/>
          </p:nvGrpSpPr>
          <p:grpSpPr>
            <a:xfrm>
              <a:off x="7509451" y="2861457"/>
              <a:ext cx="188167" cy="129343"/>
              <a:chOff x="5484325" y="3595468"/>
              <a:chExt cx="152940" cy="99438"/>
            </a:xfrm>
            <a:gradFill>
              <a:gsLst>
                <a:gs pos="100000">
                  <a:srgbClr val="F0F0F0"/>
                </a:gs>
                <a:gs pos="0">
                  <a:srgbClr val="D0D0D0"/>
                </a:gs>
              </a:gsLst>
              <a:lin ang="0" scaled="1"/>
            </a:gradFill>
          </p:grpSpPr>
          <p:sp>
            <p:nvSpPr>
              <p:cNvPr id="11330" name="Freeform: Shape 11329">
                <a:extLst>
                  <a:ext uri="{FF2B5EF4-FFF2-40B4-BE49-F238E27FC236}">
                    <a16:creationId xmlns:a16="http://schemas.microsoft.com/office/drawing/2014/main" id="{F0F5438D-3C95-3BE4-2340-0DE6FCF682C1}"/>
                  </a:ext>
                </a:extLst>
              </p:cNvPr>
              <p:cNvSpPr/>
              <p:nvPr/>
            </p:nvSpPr>
            <p:spPr>
              <a:xfrm>
                <a:off x="5484325" y="3595468"/>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31" name="Freeform: Shape 11330">
                <a:extLst>
                  <a:ext uri="{FF2B5EF4-FFF2-40B4-BE49-F238E27FC236}">
                    <a16:creationId xmlns:a16="http://schemas.microsoft.com/office/drawing/2014/main" id="{6D7B5D60-1ACC-3F84-A73B-C5075EE4CA44}"/>
                  </a:ext>
                </a:extLst>
              </p:cNvPr>
              <p:cNvSpPr/>
              <p:nvPr/>
            </p:nvSpPr>
            <p:spPr>
              <a:xfrm>
                <a:off x="5484325" y="3595468"/>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1325" name="Freeform: Shape 11324">
              <a:extLst>
                <a:ext uri="{FF2B5EF4-FFF2-40B4-BE49-F238E27FC236}">
                  <a16:creationId xmlns:a16="http://schemas.microsoft.com/office/drawing/2014/main" id="{EBAA38C0-E9BA-0C56-A77B-A93EB4F5AC42}"/>
                </a:ext>
              </a:extLst>
            </p:cNvPr>
            <p:cNvSpPr/>
            <p:nvPr/>
          </p:nvSpPr>
          <p:spPr>
            <a:xfrm>
              <a:off x="7363414" y="2740516"/>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26" name="Freeform: Shape 11325">
              <a:extLst>
                <a:ext uri="{FF2B5EF4-FFF2-40B4-BE49-F238E27FC236}">
                  <a16:creationId xmlns:a16="http://schemas.microsoft.com/office/drawing/2014/main" id="{85041FDC-DA70-5322-ED62-11B6231A8646}"/>
                </a:ext>
              </a:extLst>
            </p:cNvPr>
            <p:cNvSpPr/>
            <p:nvPr/>
          </p:nvSpPr>
          <p:spPr>
            <a:xfrm>
              <a:off x="7149014" y="2792842"/>
              <a:ext cx="187849" cy="7125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27" name="Freeform: Shape 11326">
              <a:extLst>
                <a:ext uri="{FF2B5EF4-FFF2-40B4-BE49-F238E27FC236}">
                  <a16:creationId xmlns:a16="http://schemas.microsoft.com/office/drawing/2014/main" id="{C4719B42-DA22-2C62-1394-7F347C8F6541}"/>
                </a:ext>
              </a:extLst>
            </p:cNvPr>
            <p:cNvSpPr/>
            <p:nvPr/>
          </p:nvSpPr>
          <p:spPr>
            <a:xfrm>
              <a:off x="7509748" y="2826125"/>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28" name="Freeform: Shape 11327">
              <a:extLst>
                <a:ext uri="{FF2B5EF4-FFF2-40B4-BE49-F238E27FC236}">
                  <a16:creationId xmlns:a16="http://schemas.microsoft.com/office/drawing/2014/main" id="{5DDD96CD-F3CA-BDCA-F0B2-A272EA827C91}"/>
                </a:ext>
              </a:extLst>
            </p:cNvPr>
            <p:cNvSpPr/>
            <p:nvPr/>
          </p:nvSpPr>
          <p:spPr>
            <a:xfrm>
              <a:off x="7295348" y="2878449"/>
              <a:ext cx="187879" cy="71268"/>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F0F0F0"/>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329" name="RectangleLegend2">
              <a:extLst>
                <a:ext uri="{FF2B5EF4-FFF2-40B4-BE49-F238E27FC236}">
                  <a16:creationId xmlns:a16="http://schemas.microsoft.com/office/drawing/2014/main" id="{49355369-46A2-3CBF-8339-352D2B3BE0EA}"/>
                </a:ext>
              </a:extLst>
            </p:cNvPr>
            <p:cNvSpPr>
              <a:spLocks/>
            </p:cNvSpPr>
            <p:nvPr/>
          </p:nvSpPr>
          <p:spPr>
            <a:xfrm>
              <a:off x="7089331" y="2996554"/>
              <a:ext cx="1402645" cy="225783"/>
            </a:xfrm>
            <a:prstGeom prst="rect">
              <a:avLst/>
            </a:prstGeom>
            <a:noFill/>
            <a:ln w="6350" cap="sq">
              <a:noFill/>
              <a:miter lim="800000"/>
            </a:ln>
            <a:scene3d>
              <a:camera prst="isometricOffAxis1Right">
                <a:rot lat="1362555" lon="19391488" rev="213999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MES &amp; Process</a:t>
              </a:r>
              <a:b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utomation</a:t>
              </a:r>
            </a:p>
          </p:txBody>
        </p:sp>
      </p:grpSp>
      <p:grpSp>
        <p:nvGrpSpPr>
          <p:cNvPr id="11409" name="Group 11408">
            <a:extLst>
              <a:ext uri="{FF2B5EF4-FFF2-40B4-BE49-F238E27FC236}">
                <a16:creationId xmlns:a16="http://schemas.microsoft.com/office/drawing/2014/main" id="{DF31B386-F3BA-FCDF-3D2B-0A512D2BCEEE}"/>
              </a:ext>
            </a:extLst>
          </p:cNvPr>
          <p:cNvGrpSpPr/>
          <p:nvPr/>
        </p:nvGrpSpPr>
        <p:grpSpPr>
          <a:xfrm rot="3516109">
            <a:off x="1528437" y="3494017"/>
            <a:ext cx="1000994" cy="470065"/>
            <a:chOff x="12593093" y="5629232"/>
            <a:chExt cx="850172" cy="515698"/>
          </a:xfrm>
        </p:grpSpPr>
        <p:sp>
          <p:nvSpPr>
            <p:cNvPr id="11410" name="Freeform 561">
              <a:extLst>
                <a:ext uri="{FF2B5EF4-FFF2-40B4-BE49-F238E27FC236}">
                  <a16:creationId xmlns:a16="http://schemas.microsoft.com/office/drawing/2014/main" id="{30B4FDF7-0A78-509E-2185-C8E2607C311A}"/>
                </a:ext>
              </a:extLst>
            </p:cNvPr>
            <p:cNvSpPr>
              <a:spLocks/>
            </p:cNvSpPr>
            <p:nvPr/>
          </p:nvSpPr>
          <p:spPr bwMode="auto">
            <a:xfrm rot="4649017" flipH="1">
              <a:off x="13341043" y="5673928"/>
              <a:ext cx="5464" cy="6058"/>
            </a:xfrm>
            <a:custGeom>
              <a:avLst/>
              <a:gdLst>
                <a:gd name="T0" fmla="*/ 3 w 6"/>
                <a:gd name="T1" fmla="*/ 4 h 5"/>
                <a:gd name="T2" fmla="*/ 5 w 6"/>
                <a:gd name="T3" fmla="*/ 1 h 5"/>
                <a:gd name="T4" fmla="*/ 3 w 6"/>
                <a:gd name="T5" fmla="*/ 4 h 5"/>
              </a:gdLst>
              <a:ahLst/>
              <a:cxnLst>
                <a:cxn ang="0">
                  <a:pos x="T0" y="T1"/>
                </a:cxn>
                <a:cxn ang="0">
                  <a:pos x="T2" y="T3"/>
                </a:cxn>
                <a:cxn ang="0">
                  <a:pos x="T4" y="T5"/>
                </a:cxn>
              </a:cxnLst>
              <a:rect l="0" t="0" r="r" b="b"/>
              <a:pathLst>
                <a:path w="6" h="5">
                  <a:moveTo>
                    <a:pt x="3" y="4"/>
                  </a:moveTo>
                  <a:cubicBezTo>
                    <a:pt x="6" y="2"/>
                    <a:pt x="0" y="0"/>
                    <a:pt x="5" y="1"/>
                  </a:cubicBezTo>
                  <a:cubicBezTo>
                    <a:pt x="5" y="3"/>
                    <a:pt x="4" y="5"/>
                    <a:pt x="3"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11" name="Freeform 562">
              <a:extLst>
                <a:ext uri="{FF2B5EF4-FFF2-40B4-BE49-F238E27FC236}">
                  <a16:creationId xmlns:a16="http://schemas.microsoft.com/office/drawing/2014/main" id="{D4128056-1154-B893-4F75-09790841D0CB}"/>
                </a:ext>
              </a:extLst>
            </p:cNvPr>
            <p:cNvSpPr>
              <a:spLocks/>
            </p:cNvSpPr>
            <p:nvPr/>
          </p:nvSpPr>
          <p:spPr bwMode="auto">
            <a:xfrm rot="4649017" flipH="1">
              <a:off x="12813237" y="5535067"/>
              <a:ext cx="371535" cy="811823"/>
            </a:xfrm>
            <a:custGeom>
              <a:avLst/>
              <a:gdLst>
                <a:gd name="T0" fmla="*/ 240 w 354"/>
                <a:gd name="T1" fmla="*/ 662 h 695"/>
                <a:gd name="T2" fmla="*/ 211 w 354"/>
                <a:gd name="T3" fmla="*/ 653 h 695"/>
                <a:gd name="T4" fmla="*/ 151 w 354"/>
                <a:gd name="T5" fmla="*/ 636 h 695"/>
                <a:gd name="T6" fmla="*/ 132 w 354"/>
                <a:gd name="T7" fmla="*/ 623 h 695"/>
                <a:gd name="T8" fmla="*/ 85 w 354"/>
                <a:gd name="T9" fmla="*/ 576 h 695"/>
                <a:gd name="T10" fmla="*/ 71 w 354"/>
                <a:gd name="T11" fmla="*/ 559 h 695"/>
                <a:gd name="T12" fmla="*/ 46 w 354"/>
                <a:gd name="T13" fmla="*/ 530 h 695"/>
                <a:gd name="T14" fmla="*/ 34 w 354"/>
                <a:gd name="T15" fmla="*/ 500 h 695"/>
                <a:gd name="T16" fmla="*/ 31 w 354"/>
                <a:gd name="T17" fmla="*/ 482 h 695"/>
                <a:gd name="T18" fmla="*/ 21 w 354"/>
                <a:gd name="T19" fmla="*/ 468 h 695"/>
                <a:gd name="T20" fmla="*/ 9 w 354"/>
                <a:gd name="T21" fmla="*/ 432 h 695"/>
                <a:gd name="T22" fmla="*/ 7 w 354"/>
                <a:gd name="T23" fmla="*/ 410 h 695"/>
                <a:gd name="T24" fmla="*/ 2 w 354"/>
                <a:gd name="T25" fmla="*/ 388 h 695"/>
                <a:gd name="T26" fmla="*/ 9 w 354"/>
                <a:gd name="T27" fmla="*/ 359 h 695"/>
                <a:gd name="T28" fmla="*/ 12 w 354"/>
                <a:gd name="T29" fmla="*/ 327 h 695"/>
                <a:gd name="T30" fmla="*/ 26 w 354"/>
                <a:gd name="T31" fmla="*/ 291 h 695"/>
                <a:gd name="T32" fmla="*/ 28 w 354"/>
                <a:gd name="T33" fmla="*/ 274 h 695"/>
                <a:gd name="T34" fmla="*/ 38 w 354"/>
                <a:gd name="T35" fmla="*/ 261 h 695"/>
                <a:gd name="T36" fmla="*/ 39 w 354"/>
                <a:gd name="T37" fmla="*/ 247 h 695"/>
                <a:gd name="T38" fmla="*/ 41 w 354"/>
                <a:gd name="T39" fmla="*/ 241 h 695"/>
                <a:gd name="T40" fmla="*/ 48 w 354"/>
                <a:gd name="T41" fmla="*/ 224 h 695"/>
                <a:gd name="T42" fmla="*/ 75 w 354"/>
                <a:gd name="T43" fmla="*/ 177 h 695"/>
                <a:gd name="T44" fmla="*/ 87 w 354"/>
                <a:gd name="T45" fmla="*/ 159 h 695"/>
                <a:gd name="T46" fmla="*/ 98 w 354"/>
                <a:gd name="T47" fmla="*/ 145 h 695"/>
                <a:gd name="T48" fmla="*/ 128 w 354"/>
                <a:gd name="T49" fmla="*/ 112 h 695"/>
                <a:gd name="T50" fmla="*/ 144 w 354"/>
                <a:gd name="T51" fmla="*/ 113 h 695"/>
                <a:gd name="T52" fmla="*/ 147 w 354"/>
                <a:gd name="T53" fmla="*/ 94 h 695"/>
                <a:gd name="T54" fmla="*/ 149 w 354"/>
                <a:gd name="T55" fmla="*/ 76 h 695"/>
                <a:gd name="T56" fmla="*/ 167 w 354"/>
                <a:gd name="T57" fmla="*/ 65 h 695"/>
                <a:gd name="T58" fmla="*/ 169 w 354"/>
                <a:gd name="T59" fmla="*/ 56 h 695"/>
                <a:gd name="T60" fmla="*/ 179 w 354"/>
                <a:gd name="T61" fmla="*/ 54 h 695"/>
                <a:gd name="T62" fmla="*/ 199 w 354"/>
                <a:gd name="T63" fmla="*/ 54 h 695"/>
                <a:gd name="T64" fmla="*/ 207 w 354"/>
                <a:gd name="T65" fmla="*/ 35 h 695"/>
                <a:gd name="T66" fmla="*/ 216 w 354"/>
                <a:gd name="T67" fmla="*/ 35 h 695"/>
                <a:gd name="T68" fmla="*/ 226 w 354"/>
                <a:gd name="T69" fmla="*/ 22 h 695"/>
                <a:gd name="T70" fmla="*/ 240 w 354"/>
                <a:gd name="T71" fmla="*/ 13 h 695"/>
                <a:gd name="T72" fmla="*/ 241 w 354"/>
                <a:gd name="T73" fmla="*/ 30 h 695"/>
                <a:gd name="T74" fmla="*/ 261 w 354"/>
                <a:gd name="T75" fmla="*/ 9 h 695"/>
                <a:gd name="T76" fmla="*/ 305 w 354"/>
                <a:gd name="T77" fmla="*/ 12 h 695"/>
                <a:gd name="T78" fmla="*/ 317 w 354"/>
                <a:gd name="T79" fmla="*/ 11 h 695"/>
                <a:gd name="T80" fmla="*/ 341 w 354"/>
                <a:gd name="T81" fmla="*/ 2 h 695"/>
                <a:gd name="T82" fmla="*/ 333 w 354"/>
                <a:gd name="T83" fmla="*/ 14 h 695"/>
                <a:gd name="T84" fmla="*/ 309 w 354"/>
                <a:gd name="T85" fmla="*/ 14 h 695"/>
                <a:gd name="T86" fmla="*/ 275 w 354"/>
                <a:gd name="T87" fmla="*/ 44 h 695"/>
                <a:gd name="T88" fmla="*/ 218 w 354"/>
                <a:gd name="T89" fmla="*/ 85 h 695"/>
                <a:gd name="T90" fmla="*/ 163 w 354"/>
                <a:gd name="T91" fmla="*/ 139 h 695"/>
                <a:gd name="T92" fmla="*/ 125 w 354"/>
                <a:gd name="T93" fmla="*/ 187 h 695"/>
                <a:gd name="T94" fmla="*/ 103 w 354"/>
                <a:gd name="T95" fmla="*/ 225 h 695"/>
                <a:gd name="T96" fmla="*/ 63 w 354"/>
                <a:gd name="T97" fmla="*/ 308 h 695"/>
                <a:gd name="T98" fmla="*/ 47 w 354"/>
                <a:gd name="T99" fmla="*/ 355 h 695"/>
                <a:gd name="T100" fmla="*/ 40 w 354"/>
                <a:gd name="T101" fmla="*/ 418 h 695"/>
                <a:gd name="T102" fmla="*/ 145 w 354"/>
                <a:gd name="T103" fmla="*/ 583 h 695"/>
                <a:gd name="T104" fmla="*/ 190 w 354"/>
                <a:gd name="T105" fmla="*/ 612 h 695"/>
                <a:gd name="T106" fmla="*/ 339 w 354"/>
                <a:gd name="T107" fmla="*/ 684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4" h="695">
                  <a:moveTo>
                    <a:pt x="339" y="684"/>
                  </a:moveTo>
                  <a:cubicBezTo>
                    <a:pt x="325" y="695"/>
                    <a:pt x="312" y="680"/>
                    <a:pt x="297" y="685"/>
                  </a:cubicBezTo>
                  <a:cubicBezTo>
                    <a:pt x="295" y="685"/>
                    <a:pt x="299" y="678"/>
                    <a:pt x="295" y="679"/>
                  </a:cubicBezTo>
                  <a:cubicBezTo>
                    <a:pt x="280" y="685"/>
                    <a:pt x="261" y="676"/>
                    <a:pt x="249" y="663"/>
                  </a:cubicBezTo>
                  <a:lnTo>
                    <a:pt x="250" y="661"/>
                  </a:lnTo>
                  <a:cubicBezTo>
                    <a:pt x="248" y="659"/>
                    <a:pt x="242" y="664"/>
                    <a:pt x="240" y="662"/>
                  </a:cubicBezTo>
                  <a:cubicBezTo>
                    <a:pt x="240" y="661"/>
                    <a:pt x="241" y="661"/>
                    <a:pt x="241" y="659"/>
                  </a:cubicBezTo>
                  <a:cubicBezTo>
                    <a:pt x="239" y="662"/>
                    <a:pt x="235" y="659"/>
                    <a:pt x="233" y="661"/>
                  </a:cubicBezTo>
                  <a:cubicBezTo>
                    <a:pt x="232" y="659"/>
                    <a:pt x="233" y="656"/>
                    <a:pt x="232" y="654"/>
                  </a:cubicBezTo>
                  <a:lnTo>
                    <a:pt x="229" y="658"/>
                  </a:lnTo>
                  <a:cubicBezTo>
                    <a:pt x="221" y="667"/>
                    <a:pt x="218" y="653"/>
                    <a:pt x="210" y="655"/>
                  </a:cubicBezTo>
                  <a:lnTo>
                    <a:pt x="211" y="653"/>
                  </a:lnTo>
                  <a:cubicBezTo>
                    <a:pt x="199" y="654"/>
                    <a:pt x="186" y="648"/>
                    <a:pt x="174" y="644"/>
                  </a:cubicBezTo>
                  <a:cubicBezTo>
                    <a:pt x="175" y="643"/>
                    <a:pt x="177" y="640"/>
                    <a:pt x="177" y="638"/>
                  </a:cubicBezTo>
                  <a:cubicBezTo>
                    <a:pt x="174" y="642"/>
                    <a:pt x="170" y="642"/>
                    <a:pt x="167" y="641"/>
                  </a:cubicBezTo>
                  <a:cubicBezTo>
                    <a:pt x="168" y="636"/>
                    <a:pt x="160" y="642"/>
                    <a:pt x="157" y="638"/>
                  </a:cubicBezTo>
                  <a:lnTo>
                    <a:pt x="158" y="637"/>
                  </a:lnTo>
                  <a:cubicBezTo>
                    <a:pt x="153" y="640"/>
                    <a:pt x="156" y="632"/>
                    <a:pt x="151" y="636"/>
                  </a:cubicBezTo>
                  <a:lnTo>
                    <a:pt x="151" y="632"/>
                  </a:lnTo>
                  <a:cubicBezTo>
                    <a:pt x="146" y="637"/>
                    <a:pt x="149" y="627"/>
                    <a:pt x="146" y="628"/>
                  </a:cubicBezTo>
                  <a:lnTo>
                    <a:pt x="145" y="629"/>
                  </a:lnTo>
                  <a:cubicBezTo>
                    <a:pt x="142" y="630"/>
                    <a:pt x="143" y="626"/>
                    <a:pt x="141" y="626"/>
                  </a:cubicBezTo>
                  <a:lnTo>
                    <a:pt x="141" y="625"/>
                  </a:lnTo>
                  <a:cubicBezTo>
                    <a:pt x="136" y="624"/>
                    <a:pt x="135" y="619"/>
                    <a:pt x="132" y="623"/>
                  </a:cubicBezTo>
                  <a:cubicBezTo>
                    <a:pt x="133" y="619"/>
                    <a:pt x="138" y="625"/>
                    <a:pt x="139" y="618"/>
                  </a:cubicBezTo>
                  <a:cubicBezTo>
                    <a:pt x="122" y="614"/>
                    <a:pt x="110" y="601"/>
                    <a:pt x="98" y="590"/>
                  </a:cubicBezTo>
                  <a:cubicBezTo>
                    <a:pt x="98" y="588"/>
                    <a:pt x="98" y="586"/>
                    <a:pt x="99" y="584"/>
                  </a:cubicBezTo>
                  <a:cubicBezTo>
                    <a:pt x="97" y="584"/>
                    <a:pt x="94" y="581"/>
                    <a:pt x="91" y="582"/>
                  </a:cubicBezTo>
                  <a:cubicBezTo>
                    <a:pt x="91" y="582"/>
                    <a:pt x="92" y="579"/>
                    <a:pt x="92" y="578"/>
                  </a:cubicBezTo>
                  <a:cubicBezTo>
                    <a:pt x="91" y="575"/>
                    <a:pt x="85" y="580"/>
                    <a:pt x="85" y="576"/>
                  </a:cubicBezTo>
                  <a:cubicBezTo>
                    <a:pt x="87" y="576"/>
                    <a:pt x="88" y="575"/>
                    <a:pt x="89" y="573"/>
                  </a:cubicBezTo>
                  <a:cubicBezTo>
                    <a:pt x="84" y="574"/>
                    <a:pt x="82" y="571"/>
                    <a:pt x="79" y="569"/>
                  </a:cubicBezTo>
                  <a:cubicBezTo>
                    <a:pt x="80" y="569"/>
                    <a:pt x="81" y="569"/>
                    <a:pt x="82" y="568"/>
                  </a:cubicBezTo>
                  <a:cubicBezTo>
                    <a:pt x="76" y="568"/>
                    <a:pt x="79" y="562"/>
                    <a:pt x="75" y="562"/>
                  </a:cubicBezTo>
                  <a:lnTo>
                    <a:pt x="78" y="561"/>
                  </a:lnTo>
                  <a:cubicBezTo>
                    <a:pt x="78" y="554"/>
                    <a:pt x="72" y="563"/>
                    <a:pt x="71" y="559"/>
                  </a:cubicBezTo>
                  <a:cubicBezTo>
                    <a:pt x="72" y="559"/>
                    <a:pt x="73" y="558"/>
                    <a:pt x="74" y="557"/>
                  </a:cubicBezTo>
                  <a:cubicBezTo>
                    <a:pt x="67" y="557"/>
                    <a:pt x="65" y="551"/>
                    <a:pt x="61" y="549"/>
                  </a:cubicBezTo>
                  <a:lnTo>
                    <a:pt x="62" y="548"/>
                  </a:lnTo>
                  <a:cubicBezTo>
                    <a:pt x="59" y="545"/>
                    <a:pt x="58" y="540"/>
                    <a:pt x="53" y="537"/>
                  </a:cubicBezTo>
                  <a:cubicBezTo>
                    <a:pt x="54" y="534"/>
                    <a:pt x="60" y="533"/>
                    <a:pt x="57" y="530"/>
                  </a:cubicBezTo>
                  <a:cubicBezTo>
                    <a:pt x="52" y="533"/>
                    <a:pt x="51" y="524"/>
                    <a:pt x="46" y="530"/>
                  </a:cubicBezTo>
                  <a:cubicBezTo>
                    <a:pt x="44" y="526"/>
                    <a:pt x="44" y="519"/>
                    <a:pt x="41" y="518"/>
                  </a:cubicBezTo>
                  <a:cubicBezTo>
                    <a:pt x="44" y="518"/>
                    <a:pt x="47" y="512"/>
                    <a:pt x="49" y="515"/>
                  </a:cubicBezTo>
                  <a:lnTo>
                    <a:pt x="51" y="511"/>
                  </a:lnTo>
                  <a:cubicBezTo>
                    <a:pt x="53" y="511"/>
                    <a:pt x="51" y="514"/>
                    <a:pt x="54" y="512"/>
                  </a:cubicBezTo>
                  <a:cubicBezTo>
                    <a:pt x="53" y="511"/>
                    <a:pt x="49" y="507"/>
                    <a:pt x="49" y="506"/>
                  </a:cubicBezTo>
                  <a:cubicBezTo>
                    <a:pt x="44" y="504"/>
                    <a:pt x="37" y="504"/>
                    <a:pt x="34" y="500"/>
                  </a:cubicBezTo>
                  <a:cubicBezTo>
                    <a:pt x="37" y="501"/>
                    <a:pt x="40" y="496"/>
                    <a:pt x="41" y="497"/>
                  </a:cubicBezTo>
                  <a:lnTo>
                    <a:pt x="28" y="495"/>
                  </a:lnTo>
                  <a:cubicBezTo>
                    <a:pt x="27" y="493"/>
                    <a:pt x="32" y="493"/>
                    <a:pt x="30" y="491"/>
                  </a:cubicBezTo>
                  <a:cubicBezTo>
                    <a:pt x="28" y="492"/>
                    <a:pt x="27" y="491"/>
                    <a:pt x="26" y="491"/>
                  </a:cubicBezTo>
                  <a:cubicBezTo>
                    <a:pt x="26" y="490"/>
                    <a:pt x="22" y="484"/>
                    <a:pt x="28" y="482"/>
                  </a:cubicBezTo>
                  <a:cubicBezTo>
                    <a:pt x="30" y="480"/>
                    <a:pt x="30" y="484"/>
                    <a:pt x="31" y="482"/>
                  </a:cubicBezTo>
                  <a:cubicBezTo>
                    <a:pt x="30" y="479"/>
                    <a:pt x="28" y="479"/>
                    <a:pt x="27" y="476"/>
                  </a:cubicBezTo>
                  <a:lnTo>
                    <a:pt x="28" y="476"/>
                  </a:lnTo>
                  <a:cubicBezTo>
                    <a:pt x="28" y="474"/>
                    <a:pt x="24" y="471"/>
                    <a:pt x="21" y="474"/>
                  </a:cubicBezTo>
                  <a:cubicBezTo>
                    <a:pt x="21" y="475"/>
                    <a:pt x="24" y="472"/>
                    <a:pt x="23" y="475"/>
                  </a:cubicBezTo>
                  <a:cubicBezTo>
                    <a:pt x="20" y="474"/>
                    <a:pt x="17" y="471"/>
                    <a:pt x="17" y="468"/>
                  </a:cubicBezTo>
                  <a:cubicBezTo>
                    <a:pt x="18" y="469"/>
                    <a:pt x="19" y="468"/>
                    <a:pt x="21" y="468"/>
                  </a:cubicBezTo>
                  <a:cubicBezTo>
                    <a:pt x="16" y="465"/>
                    <a:pt x="13" y="461"/>
                    <a:pt x="10" y="456"/>
                  </a:cubicBezTo>
                  <a:cubicBezTo>
                    <a:pt x="7" y="457"/>
                    <a:pt x="16" y="457"/>
                    <a:pt x="14" y="458"/>
                  </a:cubicBezTo>
                  <a:cubicBezTo>
                    <a:pt x="17" y="451"/>
                    <a:pt x="6" y="447"/>
                    <a:pt x="11" y="440"/>
                  </a:cubicBezTo>
                  <a:cubicBezTo>
                    <a:pt x="12" y="441"/>
                    <a:pt x="7" y="442"/>
                    <a:pt x="8" y="441"/>
                  </a:cubicBezTo>
                  <a:cubicBezTo>
                    <a:pt x="8" y="438"/>
                    <a:pt x="12" y="438"/>
                    <a:pt x="11" y="436"/>
                  </a:cubicBezTo>
                  <a:cubicBezTo>
                    <a:pt x="13" y="436"/>
                    <a:pt x="10" y="434"/>
                    <a:pt x="9" y="432"/>
                  </a:cubicBezTo>
                  <a:cubicBezTo>
                    <a:pt x="7" y="431"/>
                    <a:pt x="10" y="431"/>
                    <a:pt x="10" y="433"/>
                  </a:cubicBezTo>
                  <a:cubicBezTo>
                    <a:pt x="8" y="430"/>
                    <a:pt x="3" y="419"/>
                    <a:pt x="6" y="413"/>
                  </a:cubicBezTo>
                  <a:cubicBezTo>
                    <a:pt x="4" y="413"/>
                    <a:pt x="0" y="409"/>
                    <a:pt x="0" y="407"/>
                  </a:cubicBezTo>
                  <a:lnTo>
                    <a:pt x="4" y="408"/>
                  </a:lnTo>
                  <a:cubicBezTo>
                    <a:pt x="6" y="406"/>
                    <a:pt x="4" y="403"/>
                    <a:pt x="7" y="403"/>
                  </a:cubicBezTo>
                  <a:cubicBezTo>
                    <a:pt x="2" y="400"/>
                    <a:pt x="11" y="415"/>
                    <a:pt x="7" y="410"/>
                  </a:cubicBezTo>
                  <a:cubicBezTo>
                    <a:pt x="11" y="409"/>
                    <a:pt x="1" y="405"/>
                    <a:pt x="6" y="405"/>
                  </a:cubicBezTo>
                  <a:cubicBezTo>
                    <a:pt x="6" y="403"/>
                    <a:pt x="2" y="400"/>
                    <a:pt x="6" y="397"/>
                  </a:cubicBezTo>
                  <a:cubicBezTo>
                    <a:pt x="5" y="398"/>
                    <a:pt x="11" y="399"/>
                    <a:pt x="11" y="397"/>
                  </a:cubicBezTo>
                  <a:cubicBezTo>
                    <a:pt x="10" y="393"/>
                    <a:pt x="9" y="396"/>
                    <a:pt x="8" y="392"/>
                  </a:cubicBezTo>
                  <a:lnTo>
                    <a:pt x="6" y="390"/>
                  </a:lnTo>
                  <a:cubicBezTo>
                    <a:pt x="2" y="390"/>
                    <a:pt x="7" y="386"/>
                    <a:pt x="2" y="388"/>
                  </a:cubicBezTo>
                  <a:cubicBezTo>
                    <a:pt x="6" y="387"/>
                    <a:pt x="1" y="381"/>
                    <a:pt x="7" y="382"/>
                  </a:cubicBezTo>
                  <a:lnTo>
                    <a:pt x="12" y="383"/>
                  </a:lnTo>
                  <a:cubicBezTo>
                    <a:pt x="11" y="381"/>
                    <a:pt x="7" y="380"/>
                    <a:pt x="5" y="378"/>
                  </a:cubicBezTo>
                  <a:lnTo>
                    <a:pt x="7" y="378"/>
                  </a:lnTo>
                  <a:cubicBezTo>
                    <a:pt x="0" y="377"/>
                    <a:pt x="8" y="373"/>
                    <a:pt x="3" y="371"/>
                  </a:cubicBezTo>
                  <a:cubicBezTo>
                    <a:pt x="6" y="367"/>
                    <a:pt x="4" y="361"/>
                    <a:pt x="9" y="359"/>
                  </a:cubicBezTo>
                  <a:cubicBezTo>
                    <a:pt x="7" y="356"/>
                    <a:pt x="4" y="353"/>
                    <a:pt x="6" y="350"/>
                  </a:cubicBezTo>
                  <a:cubicBezTo>
                    <a:pt x="7" y="351"/>
                    <a:pt x="7" y="352"/>
                    <a:pt x="9" y="352"/>
                  </a:cubicBezTo>
                  <a:cubicBezTo>
                    <a:pt x="11" y="350"/>
                    <a:pt x="9" y="350"/>
                    <a:pt x="8" y="348"/>
                  </a:cubicBezTo>
                  <a:cubicBezTo>
                    <a:pt x="9" y="348"/>
                    <a:pt x="13" y="344"/>
                    <a:pt x="16" y="342"/>
                  </a:cubicBezTo>
                  <a:cubicBezTo>
                    <a:pt x="15" y="339"/>
                    <a:pt x="11" y="339"/>
                    <a:pt x="8" y="339"/>
                  </a:cubicBezTo>
                  <a:cubicBezTo>
                    <a:pt x="16" y="337"/>
                    <a:pt x="5" y="329"/>
                    <a:pt x="12" y="327"/>
                  </a:cubicBezTo>
                  <a:cubicBezTo>
                    <a:pt x="13" y="329"/>
                    <a:pt x="15" y="332"/>
                    <a:pt x="17" y="330"/>
                  </a:cubicBezTo>
                  <a:cubicBezTo>
                    <a:pt x="25" y="329"/>
                    <a:pt x="13" y="324"/>
                    <a:pt x="17" y="321"/>
                  </a:cubicBezTo>
                  <a:lnTo>
                    <a:pt x="11" y="320"/>
                  </a:lnTo>
                  <a:cubicBezTo>
                    <a:pt x="15" y="319"/>
                    <a:pt x="9" y="313"/>
                    <a:pt x="15" y="315"/>
                  </a:cubicBezTo>
                  <a:cubicBezTo>
                    <a:pt x="14" y="313"/>
                    <a:pt x="19" y="311"/>
                    <a:pt x="13" y="310"/>
                  </a:cubicBezTo>
                  <a:cubicBezTo>
                    <a:pt x="20" y="304"/>
                    <a:pt x="14" y="292"/>
                    <a:pt x="26" y="291"/>
                  </a:cubicBezTo>
                  <a:cubicBezTo>
                    <a:pt x="25" y="290"/>
                    <a:pt x="27" y="288"/>
                    <a:pt x="24" y="287"/>
                  </a:cubicBezTo>
                  <a:cubicBezTo>
                    <a:pt x="20" y="288"/>
                    <a:pt x="26" y="290"/>
                    <a:pt x="23" y="290"/>
                  </a:cubicBezTo>
                  <a:cubicBezTo>
                    <a:pt x="23" y="289"/>
                    <a:pt x="22" y="288"/>
                    <a:pt x="21" y="288"/>
                  </a:cubicBezTo>
                  <a:cubicBezTo>
                    <a:pt x="23" y="286"/>
                    <a:pt x="24" y="285"/>
                    <a:pt x="28" y="288"/>
                  </a:cubicBezTo>
                  <a:cubicBezTo>
                    <a:pt x="33" y="285"/>
                    <a:pt x="20" y="280"/>
                    <a:pt x="25" y="275"/>
                  </a:cubicBezTo>
                  <a:cubicBezTo>
                    <a:pt x="27" y="276"/>
                    <a:pt x="28" y="276"/>
                    <a:pt x="28" y="274"/>
                  </a:cubicBezTo>
                  <a:lnTo>
                    <a:pt x="25" y="270"/>
                  </a:lnTo>
                  <a:cubicBezTo>
                    <a:pt x="28" y="266"/>
                    <a:pt x="31" y="270"/>
                    <a:pt x="35" y="271"/>
                  </a:cubicBezTo>
                  <a:cubicBezTo>
                    <a:pt x="35" y="269"/>
                    <a:pt x="36" y="266"/>
                    <a:pt x="34" y="264"/>
                  </a:cubicBezTo>
                  <a:lnTo>
                    <a:pt x="40" y="264"/>
                  </a:lnTo>
                  <a:cubicBezTo>
                    <a:pt x="35" y="264"/>
                    <a:pt x="38" y="261"/>
                    <a:pt x="37" y="260"/>
                  </a:cubicBezTo>
                  <a:lnTo>
                    <a:pt x="38" y="261"/>
                  </a:lnTo>
                  <a:cubicBezTo>
                    <a:pt x="40" y="262"/>
                    <a:pt x="40" y="259"/>
                    <a:pt x="40" y="258"/>
                  </a:cubicBezTo>
                  <a:cubicBezTo>
                    <a:pt x="37" y="257"/>
                    <a:pt x="35" y="259"/>
                    <a:pt x="34" y="260"/>
                  </a:cubicBezTo>
                  <a:cubicBezTo>
                    <a:pt x="33" y="258"/>
                    <a:pt x="34" y="257"/>
                    <a:pt x="33" y="255"/>
                  </a:cubicBezTo>
                  <a:cubicBezTo>
                    <a:pt x="36" y="257"/>
                    <a:pt x="37" y="252"/>
                    <a:pt x="38" y="251"/>
                  </a:cubicBezTo>
                  <a:cubicBezTo>
                    <a:pt x="39" y="250"/>
                    <a:pt x="35" y="248"/>
                    <a:pt x="36" y="247"/>
                  </a:cubicBezTo>
                  <a:cubicBezTo>
                    <a:pt x="38" y="248"/>
                    <a:pt x="37" y="244"/>
                    <a:pt x="39" y="247"/>
                  </a:cubicBezTo>
                  <a:cubicBezTo>
                    <a:pt x="40" y="248"/>
                    <a:pt x="37" y="247"/>
                    <a:pt x="38" y="249"/>
                  </a:cubicBezTo>
                  <a:cubicBezTo>
                    <a:pt x="40" y="249"/>
                    <a:pt x="43" y="250"/>
                    <a:pt x="42" y="247"/>
                  </a:cubicBezTo>
                  <a:cubicBezTo>
                    <a:pt x="41" y="244"/>
                    <a:pt x="34" y="244"/>
                    <a:pt x="38" y="242"/>
                  </a:cubicBezTo>
                  <a:lnTo>
                    <a:pt x="41" y="245"/>
                  </a:lnTo>
                  <a:lnTo>
                    <a:pt x="45" y="243"/>
                  </a:lnTo>
                  <a:lnTo>
                    <a:pt x="41" y="241"/>
                  </a:lnTo>
                  <a:lnTo>
                    <a:pt x="43" y="241"/>
                  </a:lnTo>
                  <a:cubicBezTo>
                    <a:pt x="40" y="239"/>
                    <a:pt x="44" y="236"/>
                    <a:pt x="41" y="233"/>
                  </a:cubicBezTo>
                  <a:cubicBezTo>
                    <a:pt x="41" y="231"/>
                    <a:pt x="45" y="231"/>
                    <a:pt x="46" y="230"/>
                  </a:cubicBezTo>
                  <a:lnTo>
                    <a:pt x="46" y="230"/>
                  </a:lnTo>
                  <a:cubicBezTo>
                    <a:pt x="49" y="229"/>
                    <a:pt x="49" y="226"/>
                    <a:pt x="48" y="223"/>
                  </a:cubicBezTo>
                  <a:lnTo>
                    <a:pt x="48" y="224"/>
                  </a:lnTo>
                  <a:cubicBezTo>
                    <a:pt x="49" y="223"/>
                    <a:pt x="50" y="220"/>
                    <a:pt x="49" y="218"/>
                  </a:cubicBezTo>
                  <a:cubicBezTo>
                    <a:pt x="52" y="217"/>
                    <a:pt x="61" y="224"/>
                    <a:pt x="59" y="219"/>
                  </a:cubicBezTo>
                  <a:cubicBezTo>
                    <a:pt x="60" y="216"/>
                    <a:pt x="55" y="211"/>
                    <a:pt x="52" y="211"/>
                  </a:cubicBezTo>
                  <a:cubicBezTo>
                    <a:pt x="57" y="208"/>
                    <a:pt x="55" y="199"/>
                    <a:pt x="62" y="198"/>
                  </a:cubicBezTo>
                  <a:cubicBezTo>
                    <a:pt x="61" y="197"/>
                    <a:pt x="60" y="197"/>
                    <a:pt x="60" y="195"/>
                  </a:cubicBezTo>
                  <a:cubicBezTo>
                    <a:pt x="66" y="189"/>
                    <a:pt x="66" y="178"/>
                    <a:pt x="75" y="177"/>
                  </a:cubicBezTo>
                  <a:cubicBezTo>
                    <a:pt x="75" y="180"/>
                    <a:pt x="78" y="179"/>
                    <a:pt x="80" y="181"/>
                  </a:cubicBezTo>
                  <a:cubicBezTo>
                    <a:pt x="78" y="177"/>
                    <a:pt x="84" y="181"/>
                    <a:pt x="80" y="177"/>
                  </a:cubicBezTo>
                  <a:cubicBezTo>
                    <a:pt x="77" y="175"/>
                    <a:pt x="75" y="174"/>
                    <a:pt x="73" y="175"/>
                  </a:cubicBezTo>
                  <a:cubicBezTo>
                    <a:pt x="74" y="170"/>
                    <a:pt x="79" y="164"/>
                    <a:pt x="83" y="164"/>
                  </a:cubicBezTo>
                  <a:cubicBezTo>
                    <a:pt x="81" y="164"/>
                    <a:pt x="80" y="163"/>
                    <a:pt x="80" y="162"/>
                  </a:cubicBezTo>
                  <a:cubicBezTo>
                    <a:pt x="84" y="165"/>
                    <a:pt x="87" y="163"/>
                    <a:pt x="87" y="159"/>
                  </a:cubicBezTo>
                  <a:lnTo>
                    <a:pt x="85" y="157"/>
                  </a:lnTo>
                  <a:lnTo>
                    <a:pt x="88" y="158"/>
                  </a:lnTo>
                  <a:cubicBezTo>
                    <a:pt x="88" y="156"/>
                    <a:pt x="83" y="153"/>
                    <a:pt x="87" y="153"/>
                  </a:cubicBezTo>
                  <a:lnTo>
                    <a:pt x="91" y="154"/>
                  </a:lnTo>
                  <a:cubicBezTo>
                    <a:pt x="90" y="150"/>
                    <a:pt x="89" y="144"/>
                    <a:pt x="93" y="144"/>
                  </a:cubicBezTo>
                  <a:lnTo>
                    <a:pt x="98" y="145"/>
                  </a:lnTo>
                  <a:cubicBezTo>
                    <a:pt x="99" y="144"/>
                    <a:pt x="98" y="140"/>
                    <a:pt x="95" y="141"/>
                  </a:cubicBezTo>
                  <a:cubicBezTo>
                    <a:pt x="101" y="139"/>
                    <a:pt x="103" y="137"/>
                    <a:pt x="107" y="138"/>
                  </a:cubicBezTo>
                  <a:cubicBezTo>
                    <a:pt x="105" y="125"/>
                    <a:pt x="113" y="115"/>
                    <a:pt x="121" y="109"/>
                  </a:cubicBezTo>
                  <a:lnTo>
                    <a:pt x="122" y="111"/>
                  </a:lnTo>
                  <a:cubicBezTo>
                    <a:pt x="126" y="110"/>
                    <a:pt x="120" y="107"/>
                    <a:pt x="123" y="106"/>
                  </a:cubicBezTo>
                  <a:cubicBezTo>
                    <a:pt x="124" y="109"/>
                    <a:pt x="128" y="108"/>
                    <a:pt x="128" y="112"/>
                  </a:cubicBezTo>
                  <a:cubicBezTo>
                    <a:pt x="133" y="111"/>
                    <a:pt x="129" y="105"/>
                    <a:pt x="130" y="103"/>
                  </a:cubicBezTo>
                  <a:cubicBezTo>
                    <a:pt x="128" y="100"/>
                    <a:pt x="130" y="106"/>
                    <a:pt x="127" y="102"/>
                  </a:cubicBezTo>
                  <a:cubicBezTo>
                    <a:pt x="127" y="101"/>
                    <a:pt x="133" y="100"/>
                    <a:pt x="130" y="97"/>
                  </a:cubicBezTo>
                  <a:cubicBezTo>
                    <a:pt x="132" y="97"/>
                    <a:pt x="134" y="100"/>
                    <a:pt x="135" y="102"/>
                  </a:cubicBezTo>
                  <a:lnTo>
                    <a:pt x="135" y="99"/>
                  </a:lnTo>
                  <a:cubicBezTo>
                    <a:pt x="140" y="101"/>
                    <a:pt x="137" y="111"/>
                    <a:pt x="144" y="113"/>
                  </a:cubicBezTo>
                  <a:lnTo>
                    <a:pt x="145" y="111"/>
                  </a:lnTo>
                  <a:cubicBezTo>
                    <a:pt x="150" y="113"/>
                    <a:pt x="145" y="119"/>
                    <a:pt x="150" y="117"/>
                  </a:cubicBezTo>
                  <a:cubicBezTo>
                    <a:pt x="150" y="113"/>
                    <a:pt x="146" y="107"/>
                    <a:pt x="144" y="107"/>
                  </a:cubicBezTo>
                  <a:cubicBezTo>
                    <a:pt x="146" y="103"/>
                    <a:pt x="137" y="97"/>
                    <a:pt x="141" y="94"/>
                  </a:cubicBezTo>
                  <a:cubicBezTo>
                    <a:pt x="144" y="95"/>
                    <a:pt x="139" y="97"/>
                    <a:pt x="142" y="99"/>
                  </a:cubicBezTo>
                  <a:cubicBezTo>
                    <a:pt x="147" y="100"/>
                    <a:pt x="144" y="94"/>
                    <a:pt x="147" y="94"/>
                  </a:cubicBezTo>
                  <a:cubicBezTo>
                    <a:pt x="144" y="94"/>
                    <a:pt x="142" y="89"/>
                    <a:pt x="142" y="88"/>
                  </a:cubicBezTo>
                  <a:cubicBezTo>
                    <a:pt x="146" y="87"/>
                    <a:pt x="144" y="92"/>
                    <a:pt x="147" y="90"/>
                  </a:cubicBezTo>
                  <a:cubicBezTo>
                    <a:pt x="146" y="87"/>
                    <a:pt x="147" y="83"/>
                    <a:pt x="144" y="84"/>
                  </a:cubicBezTo>
                  <a:cubicBezTo>
                    <a:pt x="140" y="78"/>
                    <a:pt x="148" y="83"/>
                    <a:pt x="146" y="78"/>
                  </a:cubicBezTo>
                  <a:cubicBezTo>
                    <a:pt x="150" y="80"/>
                    <a:pt x="150" y="88"/>
                    <a:pt x="155" y="87"/>
                  </a:cubicBezTo>
                  <a:cubicBezTo>
                    <a:pt x="151" y="84"/>
                    <a:pt x="155" y="79"/>
                    <a:pt x="149" y="76"/>
                  </a:cubicBezTo>
                  <a:cubicBezTo>
                    <a:pt x="151" y="75"/>
                    <a:pt x="153" y="78"/>
                    <a:pt x="154" y="81"/>
                  </a:cubicBezTo>
                  <a:cubicBezTo>
                    <a:pt x="157" y="81"/>
                    <a:pt x="153" y="71"/>
                    <a:pt x="159" y="77"/>
                  </a:cubicBezTo>
                  <a:lnTo>
                    <a:pt x="157" y="73"/>
                  </a:lnTo>
                  <a:lnTo>
                    <a:pt x="162" y="75"/>
                  </a:lnTo>
                  <a:cubicBezTo>
                    <a:pt x="164" y="73"/>
                    <a:pt x="164" y="66"/>
                    <a:pt x="168" y="71"/>
                  </a:cubicBezTo>
                  <a:cubicBezTo>
                    <a:pt x="168" y="70"/>
                    <a:pt x="172" y="68"/>
                    <a:pt x="167" y="65"/>
                  </a:cubicBezTo>
                  <a:cubicBezTo>
                    <a:pt x="163" y="65"/>
                    <a:pt x="167" y="70"/>
                    <a:pt x="162" y="66"/>
                  </a:cubicBezTo>
                  <a:cubicBezTo>
                    <a:pt x="167" y="69"/>
                    <a:pt x="165" y="63"/>
                    <a:pt x="165" y="61"/>
                  </a:cubicBezTo>
                  <a:lnTo>
                    <a:pt x="167" y="62"/>
                  </a:lnTo>
                  <a:cubicBezTo>
                    <a:pt x="167" y="61"/>
                    <a:pt x="169" y="60"/>
                    <a:pt x="168" y="57"/>
                  </a:cubicBezTo>
                  <a:cubicBezTo>
                    <a:pt x="168" y="59"/>
                    <a:pt x="170" y="60"/>
                    <a:pt x="171" y="60"/>
                  </a:cubicBezTo>
                  <a:lnTo>
                    <a:pt x="169" y="56"/>
                  </a:lnTo>
                  <a:cubicBezTo>
                    <a:pt x="171" y="52"/>
                    <a:pt x="174" y="61"/>
                    <a:pt x="177" y="58"/>
                  </a:cubicBezTo>
                  <a:lnTo>
                    <a:pt x="176" y="62"/>
                  </a:lnTo>
                  <a:cubicBezTo>
                    <a:pt x="176" y="61"/>
                    <a:pt x="179" y="63"/>
                    <a:pt x="180" y="61"/>
                  </a:cubicBezTo>
                  <a:cubicBezTo>
                    <a:pt x="179" y="58"/>
                    <a:pt x="177" y="53"/>
                    <a:pt x="176" y="51"/>
                  </a:cubicBezTo>
                  <a:cubicBezTo>
                    <a:pt x="177" y="48"/>
                    <a:pt x="179" y="53"/>
                    <a:pt x="179" y="49"/>
                  </a:cubicBezTo>
                  <a:lnTo>
                    <a:pt x="179" y="54"/>
                  </a:lnTo>
                  <a:cubicBezTo>
                    <a:pt x="179" y="56"/>
                    <a:pt x="184" y="58"/>
                    <a:pt x="186" y="56"/>
                  </a:cubicBezTo>
                  <a:cubicBezTo>
                    <a:pt x="187" y="54"/>
                    <a:pt x="187" y="48"/>
                    <a:pt x="183" y="48"/>
                  </a:cubicBezTo>
                  <a:cubicBezTo>
                    <a:pt x="184" y="47"/>
                    <a:pt x="187" y="48"/>
                    <a:pt x="188" y="50"/>
                  </a:cubicBezTo>
                  <a:cubicBezTo>
                    <a:pt x="190" y="47"/>
                    <a:pt x="185" y="47"/>
                    <a:pt x="186" y="44"/>
                  </a:cubicBezTo>
                  <a:cubicBezTo>
                    <a:pt x="189" y="45"/>
                    <a:pt x="194" y="46"/>
                    <a:pt x="198" y="47"/>
                  </a:cubicBezTo>
                  <a:lnTo>
                    <a:pt x="199" y="54"/>
                  </a:lnTo>
                  <a:lnTo>
                    <a:pt x="200" y="53"/>
                  </a:lnTo>
                  <a:cubicBezTo>
                    <a:pt x="201" y="58"/>
                    <a:pt x="203" y="55"/>
                    <a:pt x="205" y="60"/>
                  </a:cubicBezTo>
                  <a:cubicBezTo>
                    <a:pt x="207" y="60"/>
                    <a:pt x="207" y="58"/>
                    <a:pt x="207" y="56"/>
                  </a:cubicBezTo>
                  <a:cubicBezTo>
                    <a:pt x="199" y="51"/>
                    <a:pt x="205" y="44"/>
                    <a:pt x="200" y="39"/>
                  </a:cubicBezTo>
                  <a:cubicBezTo>
                    <a:pt x="203" y="34"/>
                    <a:pt x="213" y="52"/>
                    <a:pt x="211" y="39"/>
                  </a:cubicBezTo>
                  <a:cubicBezTo>
                    <a:pt x="209" y="38"/>
                    <a:pt x="209" y="31"/>
                    <a:pt x="207" y="35"/>
                  </a:cubicBezTo>
                  <a:cubicBezTo>
                    <a:pt x="210" y="34"/>
                    <a:pt x="205" y="28"/>
                    <a:pt x="210" y="28"/>
                  </a:cubicBezTo>
                  <a:cubicBezTo>
                    <a:pt x="209" y="32"/>
                    <a:pt x="217" y="32"/>
                    <a:pt x="215" y="39"/>
                  </a:cubicBezTo>
                  <a:cubicBezTo>
                    <a:pt x="214" y="36"/>
                    <a:pt x="212" y="38"/>
                    <a:pt x="212" y="39"/>
                  </a:cubicBezTo>
                  <a:cubicBezTo>
                    <a:pt x="215" y="41"/>
                    <a:pt x="216" y="46"/>
                    <a:pt x="219" y="44"/>
                  </a:cubicBezTo>
                  <a:cubicBezTo>
                    <a:pt x="220" y="42"/>
                    <a:pt x="222" y="40"/>
                    <a:pt x="220" y="37"/>
                  </a:cubicBezTo>
                  <a:cubicBezTo>
                    <a:pt x="218" y="34"/>
                    <a:pt x="218" y="39"/>
                    <a:pt x="216" y="35"/>
                  </a:cubicBezTo>
                  <a:cubicBezTo>
                    <a:pt x="219" y="31"/>
                    <a:pt x="223" y="37"/>
                    <a:pt x="221" y="29"/>
                  </a:cubicBezTo>
                  <a:cubicBezTo>
                    <a:pt x="219" y="31"/>
                    <a:pt x="216" y="28"/>
                    <a:pt x="215" y="25"/>
                  </a:cubicBezTo>
                  <a:lnTo>
                    <a:pt x="216" y="22"/>
                  </a:lnTo>
                  <a:lnTo>
                    <a:pt x="217" y="25"/>
                  </a:lnTo>
                  <a:cubicBezTo>
                    <a:pt x="223" y="24"/>
                    <a:pt x="216" y="20"/>
                    <a:pt x="221" y="18"/>
                  </a:cubicBezTo>
                  <a:lnTo>
                    <a:pt x="226" y="22"/>
                  </a:lnTo>
                  <a:cubicBezTo>
                    <a:pt x="227" y="26"/>
                    <a:pt x="218" y="23"/>
                    <a:pt x="223" y="30"/>
                  </a:cubicBezTo>
                  <a:cubicBezTo>
                    <a:pt x="226" y="28"/>
                    <a:pt x="225" y="24"/>
                    <a:pt x="229" y="24"/>
                  </a:cubicBezTo>
                  <a:lnTo>
                    <a:pt x="227" y="27"/>
                  </a:lnTo>
                  <a:cubicBezTo>
                    <a:pt x="229" y="27"/>
                    <a:pt x="235" y="35"/>
                    <a:pt x="236" y="27"/>
                  </a:cubicBezTo>
                  <a:cubicBezTo>
                    <a:pt x="237" y="24"/>
                    <a:pt x="235" y="25"/>
                    <a:pt x="233" y="22"/>
                  </a:cubicBezTo>
                  <a:cubicBezTo>
                    <a:pt x="238" y="19"/>
                    <a:pt x="237" y="15"/>
                    <a:pt x="240" y="13"/>
                  </a:cubicBezTo>
                  <a:cubicBezTo>
                    <a:pt x="242" y="19"/>
                    <a:pt x="246" y="11"/>
                    <a:pt x="245" y="18"/>
                  </a:cubicBezTo>
                  <a:cubicBezTo>
                    <a:pt x="242" y="16"/>
                    <a:pt x="236" y="20"/>
                    <a:pt x="237" y="25"/>
                  </a:cubicBezTo>
                  <a:cubicBezTo>
                    <a:pt x="242" y="30"/>
                    <a:pt x="233" y="27"/>
                    <a:pt x="235" y="33"/>
                  </a:cubicBezTo>
                  <a:cubicBezTo>
                    <a:pt x="239" y="31"/>
                    <a:pt x="242" y="37"/>
                    <a:pt x="245" y="40"/>
                  </a:cubicBezTo>
                  <a:cubicBezTo>
                    <a:pt x="246" y="40"/>
                    <a:pt x="246" y="38"/>
                    <a:pt x="246" y="37"/>
                  </a:cubicBezTo>
                  <a:cubicBezTo>
                    <a:pt x="244" y="33"/>
                    <a:pt x="243" y="34"/>
                    <a:pt x="241" y="30"/>
                  </a:cubicBezTo>
                  <a:cubicBezTo>
                    <a:pt x="246" y="29"/>
                    <a:pt x="248" y="25"/>
                    <a:pt x="249" y="20"/>
                  </a:cubicBezTo>
                  <a:cubicBezTo>
                    <a:pt x="251" y="21"/>
                    <a:pt x="252" y="25"/>
                    <a:pt x="251" y="26"/>
                  </a:cubicBezTo>
                  <a:cubicBezTo>
                    <a:pt x="255" y="23"/>
                    <a:pt x="261" y="21"/>
                    <a:pt x="266" y="20"/>
                  </a:cubicBezTo>
                  <a:cubicBezTo>
                    <a:pt x="260" y="15"/>
                    <a:pt x="270" y="16"/>
                    <a:pt x="266" y="12"/>
                  </a:cubicBezTo>
                  <a:cubicBezTo>
                    <a:pt x="263" y="12"/>
                    <a:pt x="258" y="8"/>
                    <a:pt x="259" y="5"/>
                  </a:cubicBezTo>
                  <a:cubicBezTo>
                    <a:pt x="260" y="5"/>
                    <a:pt x="260" y="8"/>
                    <a:pt x="261" y="9"/>
                  </a:cubicBezTo>
                  <a:cubicBezTo>
                    <a:pt x="261" y="4"/>
                    <a:pt x="267" y="12"/>
                    <a:pt x="266" y="6"/>
                  </a:cubicBezTo>
                  <a:cubicBezTo>
                    <a:pt x="263" y="10"/>
                    <a:pt x="269" y="14"/>
                    <a:pt x="270" y="19"/>
                  </a:cubicBezTo>
                  <a:cubicBezTo>
                    <a:pt x="272" y="15"/>
                    <a:pt x="272" y="23"/>
                    <a:pt x="275" y="21"/>
                  </a:cubicBezTo>
                  <a:cubicBezTo>
                    <a:pt x="277" y="17"/>
                    <a:pt x="280" y="13"/>
                    <a:pt x="283" y="10"/>
                  </a:cubicBezTo>
                  <a:cubicBezTo>
                    <a:pt x="289" y="13"/>
                    <a:pt x="294" y="6"/>
                    <a:pt x="299" y="4"/>
                  </a:cubicBezTo>
                  <a:cubicBezTo>
                    <a:pt x="302" y="6"/>
                    <a:pt x="302" y="12"/>
                    <a:pt x="305" y="12"/>
                  </a:cubicBezTo>
                  <a:cubicBezTo>
                    <a:pt x="308" y="11"/>
                    <a:pt x="301" y="7"/>
                    <a:pt x="306" y="7"/>
                  </a:cubicBezTo>
                  <a:lnTo>
                    <a:pt x="306" y="9"/>
                  </a:lnTo>
                  <a:cubicBezTo>
                    <a:pt x="306" y="7"/>
                    <a:pt x="314" y="10"/>
                    <a:pt x="313" y="1"/>
                  </a:cubicBezTo>
                  <a:lnTo>
                    <a:pt x="314" y="8"/>
                  </a:lnTo>
                  <a:cubicBezTo>
                    <a:pt x="315" y="8"/>
                    <a:pt x="315" y="6"/>
                    <a:pt x="315" y="5"/>
                  </a:cubicBezTo>
                  <a:cubicBezTo>
                    <a:pt x="316" y="7"/>
                    <a:pt x="317" y="9"/>
                    <a:pt x="317" y="11"/>
                  </a:cubicBezTo>
                  <a:cubicBezTo>
                    <a:pt x="320" y="14"/>
                    <a:pt x="322" y="8"/>
                    <a:pt x="324" y="7"/>
                  </a:cubicBezTo>
                  <a:lnTo>
                    <a:pt x="321" y="4"/>
                  </a:lnTo>
                  <a:cubicBezTo>
                    <a:pt x="325" y="0"/>
                    <a:pt x="329" y="3"/>
                    <a:pt x="334" y="0"/>
                  </a:cubicBezTo>
                  <a:lnTo>
                    <a:pt x="334" y="4"/>
                  </a:lnTo>
                  <a:lnTo>
                    <a:pt x="337" y="1"/>
                  </a:lnTo>
                  <a:cubicBezTo>
                    <a:pt x="337" y="4"/>
                    <a:pt x="340" y="6"/>
                    <a:pt x="341" y="2"/>
                  </a:cubicBezTo>
                  <a:lnTo>
                    <a:pt x="336" y="13"/>
                  </a:lnTo>
                  <a:cubicBezTo>
                    <a:pt x="334" y="12"/>
                    <a:pt x="337" y="8"/>
                    <a:pt x="335" y="5"/>
                  </a:cubicBezTo>
                  <a:cubicBezTo>
                    <a:pt x="333" y="2"/>
                    <a:pt x="329" y="5"/>
                    <a:pt x="329" y="8"/>
                  </a:cubicBezTo>
                  <a:cubicBezTo>
                    <a:pt x="331" y="8"/>
                    <a:pt x="331" y="7"/>
                    <a:pt x="332" y="6"/>
                  </a:cubicBezTo>
                  <a:cubicBezTo>
                    <a:pt x="334" y="10"/>
                    <a:pt x="331" y="11"/>
                    <a:pt x="331" y="15"/>
                  </a:cubicBezTo>
                  <a:cubicBezTo>
                    <a:pt x="332" y="14"/>
                    <a:pt x="334" y="15"/>
                    <a:pt x="333" y="14"/>
                  </a:cubicBezTo>
                  <a:cubicBezTo>
                    <a:pt x="332" y="17"/>
                    <a:pt x="331" y="17"/>
                    <a:pt x="328" y="18"/>
                  </a:cubicBezTo>
                  <a:cubicBezTo>
                    <a:pt x="329" y="16"/>
                    <a:pt x="326" y="16"/>
                    <a:pt x="326" y="14"/>
                  </a:cubicBezTo>
                  <a:cubicBezTo>
                    <a:pt x="328" y="18"/>
                    <a:pt x="326" y="20"/>
                    <a:pt x="322" y="20"/>
                  </a:cubicBezTo>
                  <a:cubicBezTo>
                    <a:pt x="318" y="16"/>
                    <a:pt x="317" y="26"/>
                    <a:pt x="313" y="26"/>
                  </a:cubicBezTo>
                  <a:cubicBezTo>
                    <a:pt x="313" y="21"/>
                    <a:pt x="313" y="17"/>
                    <a:pt x="315" y="14"/>
                  </a:cubicBezTo>
                  <a:cubicBezTo>
                    <a:pt x="312" y="13"/>
                    <a:pt x="313" y="15"/>
                    <a:pt x="309" y="14"/>
                  </a:cubicBezTo>
                  <a:cubicBezTo>
                    <a:pt x="309" y="18"/>
                    <a:pt x="310" y="23"/>
                    <a:pt x="308" y="26"/>
                  </a:cubicBezTo>
                  <a:lnTo>
                    <a:pt x="307" y="23"/>
                  </a:lnTo>
                  <a:cubicBezTo>
                    <a:pt x="305" y="26"/>
                    <a:pt x="306" y="30"/>
                    <a:pt x="303" y="31"/>
                  </a:cubicBezTo>
                  <a:cubicBezTo>
                    <a:pt x="296" y="31"/>
                    <a:pt x="290" y="34"/>
                    <a:pt x="285" y="36"/>
                  </a:cubicBezTo>
                  <a:lnTo>
                    <a:pt x="284" y="33"/>
                  </a:lnTo>
                  <a:cubicBezTo>
                    <a:pt x="284" y="41"/>
                    <a:pt x="277" y="39"/>
                    <a:pt x="275" y="44"/>
                  </a:cubicBezTo>
                  <a:cubicBezTo>
                    <a:pt x="268" y="44"/>
                    <a:pt x="264" y="52"/>
                    <a:pt x="259" y="49"/>
                  </a:cubicBezTo>
                  <a:cubicBezTo>
                    <a:pt x="250" y="57"/>
                    <a:pt x="243" y="64"/>
                    <a:pt x="233" y="69"/>
                  </a:cubicBezTo>
                  <a:lnTo>
                    <a:pt x="232" y="64"/>
                  </a:lnTo>
                  <a:cubicBezTo>
                    <a:pt x="232" y="68"/>
                    <a:pt x="229" y="62"/>
                    <a:pt x="228" y="64"/>
                  </a:cubicBezTo>
                  <a:cubicBezTo>
                    <a:pt x="232" y="66"/>
                    <a:pt x="228" y="70"/>
                    <a:pt x="229" y="73"/>
                  </a:cubicBezTo>
                  <a:cubicBezTo>
                    <a:pt x="223" y="73"/>
                    <a:pt x="220" y="80"/>
                    <a:pt x="218" y="85"/>
                  </a:cubicBezTo>
                  <a:lnTo>
                    <a:pt x="216" y="82"/>
                  </a:lnTo>
                  <a:cubicBezTo>
                    <a:pt x="216" y="90"/>
                    <a:pt x="208" y="89"/>
                    <a:pt x="203" y="92"/>
                  </a:cubicBezTo>
                  <a:cubicBezTo>
                    <a:pt x="202" y="91"/>
                    <a:pt x="199" y="89"/>
                    <a:pt x="198" y="90"/>
                  </a:cubicBezTo>
                  <a:cubicBezTo>
                    <a:pt x="199" y="97"/>
                    <a:pt x="198" y="97"/>
                    <a:pt x="196" y="103"/>
                  </a:cubicBezTo>
                  <a:cubicBezTo>
                    <a:pt x="194" y="105"/>
                    <a:pt x="189" y="107"/>
                    <a:pt x="185" y="107"/>
                  </a:cubicBezTo>
                  <a:cubicBezTo>
                    <a:pt x="181" y="122"/>
                    <a:pt x="168" y="126"/>
                    <a:pt x="163" y="139"/>
                  </a:cubicBezTo>
                  <a:lnTo>
                    <a:pt x="159" y="136"/>
                  </a:lnTo>
                  <a:cubicBezTo>
                    <a:pt x="157" y="151"/>
                    <a:pt x="141" y="157"/>
                    <a:pt x="138" y="168"/>
                  </a:cubicBezTo>
                  <a:lnTo>
                    <a:pt x="133" y="163"/>
                  </a:lnTo>
                  <a:cubicBezTo>
                    <a:pt x="129" y="164"/>
                    <a:pt x="130" y="170"/>
                    <a:pt x="134" y="172"/>
                  </a:cubicBezTo>
                  <a:cubicBezTo>
                    <a:pt x="130" y="173"/>
                    <a:pt x="131" y="180"/>
                    <a:pt x="126" y="179"/>
                  </a:cubicBezTo>
                  <a:cubicBezTo>
                    <a:pt x="123" y="181"/>
                    <a:pt x="126" y="184"/>
                    <a:pt x="125" y="187"/>
                  </a:cubicBezTo>
                  <a:cubicBezTo>
                    <a:pt x="119" y="191"/>
                    <a:pt x="118" y="193"/>
                    <a:pt x="115" y="199"/>
                  </a:cubicBezTo>
                  <a:lnTo>
                    <a:pt x="117" y="198"/>
                  </a:lnTo>
                  <a:cubicBezTo>
                    <a:pt x="116" y="196"/>
                    <a:pt x="114" y="195"/>
                    <a:pt x="112" y="196"/>
                  </a:cubicBezTo>
                  <a:cubicBezTo>
                    <a:pt x="112" y="198"/>
                    <a:pt x="106" y="202"/>
                    <a:pt x="114" y="204"/>
                  </a:cubicBezTo>
                  <a:cubicBezTo>
                    <a:pt x="106" y="207"/>
                    <a:pt x="109" y="220"/>
                    <a:pt x="100" y="222"/>
                  </a:cubicBezTo>
                  <a:cubicBezTo>
                    <a:pt x="102" y="222"/>
                    <a:pt x="102" y="224"/>
                    <a:pt x="103" y="225"/>
                  </a:cubicBezTo>
                  <a:cubicBezTo>
                    <a:pt x="100" y="230"/>
                    <a:pt x="93" y="234"/>
                    <a:pt x="94" y="239"/>
                  </a:cubicBezTo>
                  <a:cubicBezTo>
                    <a:pt x="93" y="240"/>
                    <a:pt x="91" y="236"/>
                    <a:pt x="90" y="238"/>
                  </a:cubicBezTo>
                  <a:cubicBezTo>
                    <a:pt x="90" y="240"/>
                    <a:pt x="93" y="240"/>
                    <a:pt x="93" y="242"/>
                  </a:cubicBezTo>
                  <a:cubicBezTo>
                    <a:pt x="92" y="252"/>
                    <a:pt x="80" y="257"/>
                    <a:pt x="78" y="265"/>
                  </a:cubicBezTo>
                  <a:cubicBezTo>
                    <a:pt x="75" y="281"/>
                    <a:pt x="68" y="295"/>
                    <a:pt x="64" y="309"/>
                  </a:cubicBezTo>
                  <a:lnTo>
                    <a:pt x="63" y="308"/>
                  </a:lnTo>
                  <a:cubicBezTo>
                    <a:pt x="67" y="315"/>
                    <a:pt x="54" y="318"/>
                    <a:pt x="62" y="324"/>
                  </a:cubicBezTo>
                  <a:cubicBezTo>
                    <a:pt x="60" y="325"/>
                    <a:pt x="60" y="328"/>
                    <a:pt x="57" y="326"/>
                  </a:cubicBezTo>
                  <a:cubicBezTo>
                    <a:pt x="60" y="331"/>
                    <a:pt x="51" y="336"/>
                    <a:pt x="55" y="343"/>
                  </a:cubicBezTo>
                  <a:lnTo>
                    <a:pt x="54" y="341"/>
                  </a:lnTo>
                  <a:cubicBezTo>
                    <a:pt x="50" y="346"/>
                    <a:pt x="54" y="352"/>
                    <a:pt x="49" y="357"/>
                  </a:cubicBezTo>
                  <a:cubicBezTo>
                    <a:pt x="49" y="356"/>
                    <a:pt x="48" y="355"/>
                    <a:pt x="47" y="355"/>
                  </a:cubicBezTo>
                  <a:cubicBezTo>
                    <a:pt x="43" y="357"/>
                    <a:pt x="53" y="361"/>
                    <a:pt x="45" y="361"/>
                  </a:cubicBezTo>
                  <a:cubicBezTo>
                    <a:pt x="45" y="363"/>
                    <a:pt x="49" y="363"/>
                    <a:pt x="49" y="362"/>
                  </a:cubicBezTo>
                  <a:cubicBezTo>
                    <a:pt x="44" y="375"/>
                    <a:pt x="48" y="389"/>
                    <a:pt x="50" y="402"/>
                  </a:cubicBezTo>
                  <a:cubicBezTo>
                    <a:pt x="45" y="412"/>
                    <a:pt x="37" y="403"/>
                    <a:pt x="43" y="411"/>
                  </a:cubicBezTo>
                  <a:cubicBezTo>
                    <a:pt x="41" y="411"/>
                    <a:pt x="46" y="411"/>
                    <a:pt x="44" y="411"/>
                  </a:cubicBezTo>
                  <a:cubicBezTo>
                    <a:pt x="47" y="414"/>
                    <a:pt x="36" y="416"/>
                    <a:pt x="40" y="418"/>
                  </a:cubicBezTo>
                  <a:cubicBezTo>
                    <a:pt x="45" y="417"/>
                    <a:pt x="43" y="419"/>
                    <a:pt x="46" y="419"/>
                  </a:cubicBezTo>
                  <a:cubicBezTo>
                    <a:pt x="43" y="425"/>
                    <a:pt x="39" y="427"/>
                    <a:pt x="43" y="431"/>
                  </a:cubicBezTo>
                  <a:lnTo>
                    <a:pt x="41" y="431"/>
                  </a:lnTo>
                  <a:cubicBezTo>
                    <a:pt x="48" y="436"/>
                    <a:pt x="46" y="442"/>
                    <a:pt x="55" y="445"/>
                  </a:cubicBezTo>
                  <a:cubicBezTo>
                    <a:pt x="62" y="474"/>
                    <a:pt x="75" y="498"/>
                    <a:pt x="91" y="521"/>
                  </a:cubicBezTo>
                  <a:cubicBezTo>
                    <a:pt x="105" y="544"/>
                    <a:pt x="126" y="562"/>
                    <a:pt x="145" y="583"/>
                  </a:cubicBezTo>
                  <a:cubicBezTo>
                    <a:pt x="146" y="592"/>
                    <a:pt x="147" y="592"/>
                    <a:pt x="155" y="594"/>
                  </a:cubicBezTo>
                  <a:lnTo>
                    <a:pt x="153" y="596"/>
                  </a:lnTo>
                  <a:cubicBezTo>
                    <a:pt x="157" y="592"/>
                    <a:pt x="158" y="598"/>
                    <a:pt x="162" y="594"/>
                  </a:cubicBezTo>
                  <a:cubicBezTo>
                    <a:pt x="170" y="602"/>
                    <a:pt x="179" y="605"/>
                    <a:pt x="189" y="610"/>
                  </a:cubicBezTo>
                  <a:cubicBezTo>
                    <a:pt x="187" y="610"/>
                    <a:pt x="184" y="613"/>
                    <a:pt x="186" y="614"/>
                  </a:cubicBezTo>
                  <a:lnTo>
                    <a:pt x="190" y="612"/>
                  </a:lnTo>
                  <a:lnTo>
                    <a:pt x="189" y="614"/>
                  </a:lnTo>
                  <a:cubicBezTo>
                    <a:pt x="191" y="613"/>
                    <a:pt x="194" y="612"/>
                    <a:pt x="193" y="610"/>
                  </a:cubicBezTo>
                  <a:cubicBezTo>
                    <a:pt x="219" y="618"/>
                    <a:pt x="242" y="638"/>
                    <a:pt x="269" y="645"/>
                  </a:cubicBezTo>
                  <a:cubicBezTo>
                    <a:pt x="275" y="649"/>
                    <a:pt x="285" y="649"/>
                    <a:pt x="293" y="649"/>
                  </a:cubicBezTo>
                  <a:cubicBezTo>
                    <a:pt x="312" y="662"/>
                    <a:pt x="331" y="670"/>
                    <a:pt x="354" y="669"/>
                  </a:cubicBezTo>
                  <a:cubicBezTo>
                    <a:pt x="354" y="669"/>
                    <a:pt x="349" y="683"/>
                    <a:pt x="339" y="684"/>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0000"/>
                </a:solidFill>
                <a:effectLst/>
                <a:uLnTx/>
                <a:uFillTx/>
                <a:latin typeface="Arial" panose="020B0604020202020204"/>
                <a:ea typeface="+mn-ea"/>
                <a:cs typeface="+mn-cs"/>
              </a:endParaRPr>
            </a:p>
          </p:txBody>
        </p:sp>
        <p:sp>
          <p:nvSpPr>
            <p:cNvPr id="11412" name="Freeform 563">
              <a:extLst>
                <a:ext uri="{FF2B5EF4-FFF2-40B4-BE49-F238E27FC236}">
                  <a16:creationId xmlns:a16="http://schemas.microsoft.com/office/drawing/2014/main" id="{DC1ADD68-1951-DE41-D473-2555B76C4764}"/>
                </a:ext>
              </a:extLst>
            </p:cNvPr>
            <p:cNvSpPr>
              <a:spLocks/>
            </p:cNvSpPr>
            <p:nvPr/>
          </p:nvSpPr>
          <p:spPr bwMode="auto">
            <a:xfrm rot="4649017" flipH="1">
              <a:off x="13343705" y="5677419"/>
              <a:ext cx="5464" cy="9089"/>
            </a:xfrm>
            <a:custGeom>
              <a:avLst/>
              <a:gdLst>
                <a:gd name="T0" fmla="*/ 5 w 5"/>
                <a:gd name="T1" fmla="*/ 8 h 8"/>
                <a:gd name="T2" fmla="*/ 1 w 5"/>
                <a:gd name="T3" fmla="*/ 0 h 8"/>
                <a:gd name="T4" fmla="*/ 5 w 5"/>
                <a:gd name="T5" fmla="*/ 8 h 8"/>
              </a:gdLst>
              <a:ahLst/>
              <a:cxnLst>
                <a:cxn ang="0">
                  <a:pos x="T0" y="T1"/>
                </a:cxn>
                <a:cxn ang="0">
                  <a:pos x="T2" y="T3"/>
                </a:cxn>
                <a:cxn ang="0">
                  <a:pos x="T4" y="T5"/>
                </a:cxn>
              </a:cxnLst>
              <a:rect l="0" t="0" r="r" b="b"/>
              <a:pathLst>
                <a:path w="5" h="8">
                  <a:moveTo>
                    <a:pt x="5" y="8"/>
                  </a:moveTo>
                  <a:cubicBezTo>
                    <a:pt x="3" y="5"/>
                    <a:pt x="0" y="5"/>
                    <a:pt x="1" y="0"/>
                  </a:cubicBezTo>
                  <a:cubicBezTo>
                    <a:pt x="2" y="3"/>
                    <a:pt x="4" y="5"/>
                    <a:pt x="5"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13" name="Freeform 564">
              <a:extLst>
                <a:ext uri="{FF2B5EF4-FFF2-40B4-BE49-F238E27FC236}">
                  <a16:creationId xmlns:a16="http://schemas.microsoft.com/office/drawing/2014/main" id="{89CF3D6D-DC0C-7F21-E5C2-B02A3FB03D26}"/>
                </a:ext>
              </a:extLst>
            </p:cNvPr>
            <p:cNvSpPr>
              <a:spLocks/>
            </p:cNvSpPr>
            <p:nvPr/>
          </p:nvSpPr>
          <p:spPr bwMode="auto">
            <a:xfrm rot="4649017" flipH="1">
              <a:off x="13361059" y="5757937"/>
              <a:ext cx="2733" cy="6058"/>
            </a:xfrm>
            <a:custGeom>
              <a:avLst/>
              <a:gdLst>
                <a:gd name="T0" fmla="*/ 2 w 2"/>
                <a:gd name="T1" fmla="*/ 4 h 5"/>
                <a:gd name="T2" fmla="*/ 0 w 2"/>
                <a:gd name="T3" fmla="*/ 3 h 5"/>
                <a:gd name="T4" fmla="*/ 2 w 2"/>
                <a:gd name="T5" fmla="*/ 1 h 5"/>
                <a:gd name="T6" fmla="*/ 2 w 2"/>
                <a:gd name="T7" fmla="*/ 4 h 5"/>
              </a:gdLst>
              <a:ahLst/>
              <a:cxnLst>
                <a:cxn ang="0">
                  <a:pos x="T0" y="T1"/>
                </a:cxn>
                <a:cxn ang="0">
                  <a:pos x="T2" y="T3"/>
                </a:cxn>
                <a:cxn ang="0">
                  <a:pos x="T4" y="T5"/>
                </a:cxn>
                <a:cxn ang="0">
                  <a:pos x="T6" y="T7"/>
                </a:cxn>
              </a:cxnLst>
              <a:rect l="0" t="0" r="r" b="b"/>
              <a:pathLst>
                <a:path w="2" h="5">
                  <a:moveTo>
                    <a:pt x="2" y="4"/>
                  </a:moveTo>
                  <a:cubicBezTo>
                    <a:pt x="2" y="5"/>
                    <a:pt x="0" y="4"/>
                    <a:pt x="0" y="3"/>
                  </a:cubicBezTo>
                  <a:cubicBezTo>
                    <a:pt x="1" y="3"/>
                    <a:pt x="0" y="0"/>
                    <a:pt x="2" y="1"/>
                  </a:cubicBezTo>
                  <a:cubicBezTo>
                    <a:pt x="1" y="2"/>
                    <a:pt x="2" y="3"/>
                    <a:pt x="2"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14" name="Freeform 565">
              <a:extLst>
                <a:ext uri="{FF2B5EF4-FFF2-40B4-BE49-F238E27FC236}">
                  <a16:creationId xmlns:a16="http://schemas.microsoft.com/office/drawing/2014/main" id="{2D6C3F1E-73DC-710D-74FB-AD40F41F9DE5}"/>
                </a:ext>
              </a:extLst>
            </p:cNvPr>
            <p:cNvSpPr>
              <a:spLocks/>
            </p:cNvSpPr>
            <p:nvPr/>
          </p:nvSpPr>
          <p:spPr bwMode="auto">
            <a:xfrm rot="4649017" flipH="1">
              <a:off x="13358512" y="5772076"/>
              <a:ext cx="5464" cy="9089"/>
            </a:xfrm>
            <a:custGeom>
              <a:avLst/>
              <a:gdLst>
                <a:gd name="T0" fmla="*/ 1 w 5"/>
                <a:gd name="T1" fmla="*/ 7 h 7"/>
                <a:gd name="T2" fmla="*/ 5 w 5"/>
                <a:gd name="T3" fmla="*/ 0 h 7"/>
                <a:gd name="T4" fmla="*/ 1 w 5"/>
                <a:gd name="T5" fmla="*/ 7 h 7"/>
              </a:gdLst>
              <a:ahLst/>
              <a:cxnLst>
                <a:cxn ang="0">
                  <a:pos x="T0" y="T1"/>
                </a:cxn>
                <a:cxn ang="0">
                  <a:pos x="T2" y="T3"/>
                </a:cxn>
                <a:cxn ang="0">
                  <a:pos x="T4" y="T5"/>
                </a:cxn>
              </a:cxnLst>
              <a:rect l="0" t="0" r="r" b="b"/>
              <a:pathLst>
                <a:path w="5" h="7">
                  <a:moveTo>
                    <a:pt x="1" y="7"/>
                  </a:moveTo>
                  <a:cubicBezTo>
                    <a:pt x="0" y="5"/>
                    <a:pt x="3" y="1"/>
                    <a:pt x="5" y="0"/>
                  </a:cubicBezTo>
                  <a:lnTo>
                    <a:pt x="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15" name="Freeform 566">
              <a:extLst>
                <a:ext uri="{FF2B5EF4-FFF2-40B4-BE49-F238E27FC236}">
                  <a16:creationId xmlns:a16="http://schemas.microsoft.com/office/drawing/2014/main" id="{AA12F7B6-49B3-C3B4-8390-4897697E5A9F}"/>
                </a:ext>
              </a:extLst>
            </p:cNvPr>
            <p:cNvSpPr>
              <a:spLocks/>
            </p:cNvSpPr>
            <p:nvPr/>
          </p:nvSpPr>
          <p:spPr bwMode="auto">
            <a:xfrm rot="4649017" flipH="1">
              <a:off x="13362545" y="5801096"/>
              <a:ext cx="2733" cy="3030"/>
            </a:xfrm>
            <a:custGeom>
              <a:avLst/>
              <a:gdLst>
                <a:gd name="T0" fmla="*/ 2 w 2"/>
                <a:gd name="T1" fmla="*/ 3 h 3"/>
                <a:gd name="T2" fmla="*/ 2 w 2"/>
                <a:gd name="T3" fmla="*/ 0 h 3"/>
                <a:gd name="T4" fmla="*/ 2 w 2"/>
                <a:gd name="T5" fmla="*/ 3 h 3"/>
              </a:gdLst>
              <a:ahLst/>
              <a:cxnLst>
                <a:cxn ang="0">
                  <a:pos x="T0" y="T1"/>
                </a:cxn>
                <a:cxn ang="0">
                  <a:pos x="T2" y="T3"/>
                </a:cxn>
                <a:cxn ang="0">
                  <a:pos x="T4" y="T5"/>
                </a:cxn>
              </a:cxnLst>
              <a:rect l="0" t="0" r="r" b="b"/>
              <a:pathLst>
                <a:path w="2" h="3">
                  <a:moveTo>
                    <a:pt x="2" y="3"/>
                  </a:moveTo>
                  <a:cubicBezTo>
                    <a:pt x="0" y="2"/>
                    <a:pt x="0" y="1"/>
                    <a:pt x="2" y="0"/>
                  </a:cubicBezTo>
                  <a:lnTo>
                    <a:pt x="2"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16" name="Freeform 567">
              <a:extLst>
                <a:ext uri="{FF2B5EF4-FFF2-40B4-BE49-F238E27FC236}">
                  <a16:creationId xmlns:a16="http://schemas.microsoft.com/office/drawing/2014/main" id="{F0159359-9234-F744-A425-3DE1A4A04DB7}"/>
                </a:ext>
              </a:extLst>
            </p:cNvPr>
            <p:cNvSpPr>
              <a:spLocks/>
            </p:cNvSpPr>
            <p:nvPr/>
          </p:nvSpPr>
          <p:spPr bwMode="auto">
            <a:xfrm rot="4649017" flipH="1">
              <a:off x="13354969" y="5801076"/>
              <a:ext cx="5464" cy="3030"/>
            </a:xfrm>
            <a:custGeom>
              <a:avLst/>
              <a:gdLst>
                <a:gd name="T0" fmla="*/ 4 w 4"/>
                <a:gd name="T1" fmla="*/ 4 h 4"/>
                <a:gd name="T2" fmla="*/ 0 w 4"/>
                <a:gd name="T3" fmla="*/ 3 h 4"/>
                <a:gd name="T4" fmla="*/ 4 w 4"/>
                <a:gd name="T5" fmla="*/ 4 h 4"/>
              </a:gdLst>
              <a:ahLst/>
              <a:cxnLst>
                <a:cxn ang="0">
                  <a:pos x="T0" y="T1"/>
                </a:cxn>
                <a:cxn ang="0">
                  <a:pos x="T2" y="T3"/>
                </a:cxn>
                <a:cxn ang="0">
                  <a:pos x="T4" y="T5"/>
                </a:cxn>
              </a:cxnLst>
              <a:rect l="0" t="0" r="r" b="b"/>
              <a:pathLst>
                <a:path w="4" h="4">
                  <a:moveTo>
                    <a:pt x="4" y="4"/>
                  </a:moveTo>
                  <a:cubicBezTo>
                    <a:pt x="3" y="4"/>
                    <a:pt x="1" y="3"/>
                    <a:pt x="0" y="3"/>
                  </a:cubicBezTo>
                  <a:cubicBezTo>
                    <a:pt x="1" y="4"/>
                    <a:pt x="2" y="0"/>
                    <a:pt x="4" y="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17" name="Freeform 568">
              <a:extLst>
                <a:ext uri="{FF2B5EF4-FFF2-40B4-BE49-F238E27FC236}">
                  <a16:creationId xmlns:a16="http://schemas.microsoft.com/office/drawing/2014/main" id="{FE93A9A1-A382-FB76-7D73-1915DACEC250}"/>
                </a:ext>
              </a:extLst>
            </p:cNvPr>
            <p:cNvSpPr>
              <a:spLocks/>
            </p:cNvSpPr>
            <p:nvPr/>
          </p:nvSpPr>
          <p:spPr bwMode="auto">
            <a:xfrm rot="4649017" flipH="1">
              <a:off x="13345698" y="5842500"/>
              <a:ext cx="2733" cy="6058"/>
            </a:xfrm>
            <a:custGeom>
              <a:avLst/>
              <a:gdLst>
                <a:gd name="T0" fmla="*/ 3 w 3"/>
                <a:gd name="T1" fmla="*/ 3 h 7"/>
                <a:gd name="T2" fmla="*/ 0 w 3"/>
                <a:gd name="T3" fmla="*/ 5 h 7"/>
                <a:gd name="T4" fmla="*/ 3 w 3"/>
                <a:gd name="T5" fmla="*/ 3 h 7"/>
              </a:gdLst>
              <a:ahLst/>
              <a:cxnLst>
                <a:cxn ang="0">
                  <a:pos x="T0" y="T1"/>
                </a:cxn>
                <a:cxn ang="0">
                  <a:pos x="T2" y="T3"/>
                </a:cxn>
                <a:cxn ang="0">
                  <a:pos x="T4" y="T5"/>
                </a:cxn>
              </a:cxnLst>
              <a:rect l="0" t="0" r="r" b="b"/>
              <a:pathLst>
                <a:path w="3" h="7">
                  <a:moveTo>
                    <a:pt x="3" y="3"/>
                  </a:moveTo>
                  <a:cubicBezTo>
                    <a:pt x="3" y="4"/>
                    <a:pt x="2" y="7"/>
                    <a:pt x="0" y="5"/>
                  </a:cubicBezTo>
                  <a:cubicBezTo>
                    <a:pt x="2" y="6"/>
                    <a:pt x="2" y="0"/>
                    <a:pt x="3"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18" name="Freeform 569">
              <a:extLst>
                <a:ext uri="{FF2B5EF4-FFF2-40B4-BE49-F238E27FC236}">
                  <a16:creationId xmlns:a16="http://schemas.microsoft.com/office/drawing/2014/main" id="{2BA3AF7E-64C9-477D-9E6C-4E39D4D5AE62}"/>
                </a:ext>
              </a:extLst>
            </p:cNvPr>
            <p:cNvSpPr>
              <a:spLocks/>
            </p:cNvSpPr>
            <p:nvPr/>
          </p:nvSpPr>
          <p:spPr bwMode="auto">
            <a:xfrm rot="4649017" flipH="1">
              <a:off x="13334943" y="5857784"/>
              <a:ext cx="0" cy="6058"/>
            </a:xfrm>
            <a:custGeom>
              <a:avLst/>
              <a:gdLst>
                <a:gd name="T0" fmla="*/ 2 w 2"/>
                <a:gd name="T1" fmla="*/ 2 h 3"/>
                <a:gd name="T2" fmla="*/ 1 w 2"/>
                <a:gd name="T3" fmla="*/ 3 h 3"/>
                <a:gd name="T4" fmla="*/ 0 w 2"/>
                <a:gd name="T5" fmla="*/ 0 h 3"/>
                <a:gd name="T6" fmla="*/ 2 w 2"/>
                <a:gd name="T7" fmla="*/ 2 h 3"/>
              </a:gdLst>
              <a:ahLst/>
              <a:cxnLst>
                <a:cxn ang="0">
                  <a:pos x="T0" y="T1"/>
                </a:cxn>
                <a:cxn ang="0">
                  <a:pos x="T2" y="T3"/>
                </a:cxn>
                <a:cxn ang="0">
                  <a:pos x="T4" y="T5"/>
                </a:cxn>
                <a:cxn ang="0">
                  <a:pos x="T6" y="T7"/>
                </a:cxn>
              </a:cxnLst>
              <a:rect l="0" t="0" r="r" b="b"/>
              <a:pathLst>
                <a:path w="2" h="3">
                  <a:moveTo>
                    <a:pt x="2" y="2"/>
                  </a:moveTo>
                  <a:cubicBezTo>
                    <a:pt x="2" y="2"/>
                    <a:pt x="1" y="2"/>
                    <a:pt x="1" y="3"/>
                  </a:cubicBezTo>
                  <a:cubicBezTo>
                    <a:pt x="0" y="3"/>
                    <a:pt x="0" y="1"/>
                    <a:pt x="0" y="0"/>
                  </a:cubicBezTo>
                  <a:lnTo>
                    <a:pt x="2" y="2"/>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19" name="Freeform 570">
              <a:extLst>
                <a:ext uri="{FF2B5EF4-FFF2-40B4-BE49-F238E27FC236}">
                  <a16:creationId xmlns:a16="http://schemas.microsoft.com/office/drawing/2014/main" id="{25BD1AAB-8A78-3344-7A04-EA5346BDCBBF}"/>
                </a:ext>
              </a:extLst>
            </p:cNvPr>
            <p:cNvSpPr>
              <a:spLocks/>
            </p:cNvSpPr>
            <p:nvPr/>
          </p:nvSpPr>
          <p:spPr bwMode="auto">
            <a:xfrm rot="4649017" flipH="1">
              <a:off x="13063327" y="6102585"/>
              <a:ext cx="2733" cy="3030"/>
            </a:xfrm>
            <a:custGeom>
              <a:avLst/>
              <a:gdLst>
                <a:gd name="T0" fmla="*/ 1 w 3"/>
                <a:gd name="T1" fmla="*/ 3 h 3"/>
                <a:gd name="T2" fmla="*/ 0 w 3"/>
                <a:gd name="T3" fmla="*/ 0 h 3"/>
                <a:gd name="T4" fmla="*/ 3 w 3"/>
                <a:gd name="T5" fmla="*/ 1 h 3"/>
                <a:gd name="T6" fmla="*/ 1 w 3"/>
                <a:gd name="T7" fmla="*/ 3 h 3"/>
              </a:gdLst>
              <a:ahLst/>
              <a:cxnLst>
                <a:cxn ang="0">
                  <a:pos x="T0" y="T1"/>
                </a:cxn>
                <a:cxn ang="0">
                  <a:pos x="T2" y="T3"/>
                </a:cxn>
                <a:cxn ang="0">
                  <a:pos x="T4" y="T5"/>
                </a:cxn>
                <a:cxn ang="0">
                  <a:pos x="T6" y="T7"/>
                </a:cxn>
              </a:cxnLst>
              <a:rect l="0" t="0" r="r" b="b"/>
              <a:pathLst>
                <a:path w="3" h="3">
                  <a:moveTo>
                    <a:pt x="1" y="3"/>
                  </a:moveTo>
                  <a:lnTo>
                    <a:pt x="0" y="0"/>
                  </a:lnTo>
                  <a:lnTo>
                    <a:pt x="3" y="1"/>
                  </a:lnTo>
                  <a:lnTo>
                    <a:pt x="1"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20" name="Freeform 571">
              <a:extLst>
                <a:ext uri="{FF2B5EF4-FFF2-40B4-BE49-F238E27FC236}">
                  <a16:creationId xmlns:a16="http://schemas.microsoft.com/office/drawing/2014/main" id="{619D1282-B58B-D7BA-0D85-DFA8D49269B4}"/>
                </a:ext>
              </a:extLst>
            </p:cNvPr>
            <p:cNvSpPr>
              <a:spLocks/>
            </p:cNvSpPr>
            <p:nvPr/>
          </p:nvSpPr>
          <p:spPr bwMode="auto">
            <a:xfrm rot="4649017" flipH="1">
              <a:off x="12896655" y="6140683"/>
              <a:ext cx="5464" cy="3030"/>
            </a:xfrm>
            <a:custGeom>
              <a:avLst/>
              <a:gdLst>
                <a:gd name="T0" fmla="*/ 3 w 4"/>
                <a:gd name="T1" fmla="*/ 0 h 2"/>
                <a:gd name="T2" fmla="*/ 0 w 4"/>
                <a:gd name="T3" fmla="*/ 2 h 2"/>
                <a:gd name="T4" fmla="*/ 3 w 4"/>
                <a:gd name="T5" fmla="*/ 0 h 2"/>
              </a:gdLst>
              <a:ahLst/>
              <a:cxnLst>
                <a:cxn ang="0">
                  <a:pos x="T0" y="T1"/>
                </a:cxn>
                <a:cxn ang="0">
                  <a:pos x="T2" y="T3"/>
                </a:cxn>
                <a:cxn ang="0">
                  <a:pos x="T4" y="T5"/>
                </a:cxn>
              </a:cxnLst>
              <a:rect l="0" t="0" r="r" b="b"/>
              <a:pathLst>
                <a:path w="4" h="2">
                  <a:moveTo>
                    <a:pt x="3" y="0"/>
                  </a:moveTo>
                  <a:cubicBezTo>
                    <a:pt x="4" y="2"/>
                    <a:pt x="1" y="2"/>
                    <a:pt x="0" y="2"/>
                  </a:cubicBezTo>
                  <a:cubicBezTo>
                    <a:pt x="0" y="1"/>
                    <a:pt x="3" y="2"/>
                    <a:pt x="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21" name="Freeform 572">
              <a:extLst>
                <a:ext uri="{FF2B5EF4-FFF2-40B4-BE49-F238E27FC236}">
                  <a16:creationId xmlns:a16="http://schemas.microsoft.com/office/drawing/2014/main" id="{4FB5DF08-017F-0A15-0639-311337986A5F}"/>
                </a:ext>
              </a:extLst>
            </p:cNvPr>
            <p:cNvSpPr>
              <a:spLocks/>
            </p:cNvSpPr>
            <p:nvPr/>
          </p:nvSpPr>
          <p:spPr bwMode="auto">
            <a:xfrm rot="4649017" flipH="1">
              <a:off x="12814322" y="6113089"/>
              <a:ext cx="2733" cy="3030"/>
            </a:xfrm>
            <a:custGeom>
              <a:avLst/>
              <a:gdLst>
                <a:gd name="T0" fmla="*/ 0 w 4"/>
                <a:gd name="T1" fmla="*/ 3 h 3"/>
                <a:gd name="T2" fmla="*/ 0 w 4"/>
                <a:gd name="T3" fmla="*/ 3 h 3"/>
                <a:gd name="T4" fmla="*/ 4 w 4"/>
                <a:gd name="T5" fmla="*/ 0 h 3"/>
                <a:gd name="T6" fmla="*/ 0 w 4"/>
                <a:gd name="T7" fmla="*/ 3 h 3"/>
              </a:gdLst>
              <a:ahLst/>
              <a:cxnLst>
                <a:cxn ang="0">
                  <a:pos x="T0" y="T1"/>
                </a:cxn>
                <a:cxn ang="0">
                  <a:pos x="T2" y="T3"/>
                </a:cxn>
                <a:cxn ang="0">
                  <a:pos x="T4" y="T5"/>
                </a:cxn>
                <a:cxn ang="0">
                  <a:pos x="T6" y="T7"/>
                </a:cxn>
              </a:cxnLst>
              <a:rect l="0" t="0" r="r" b="b"/>
              <a:pathLst>
                <a:path w="4" h="3">
                  <a:moveTo>
                    <a:pt x="0" y="3"/>
                  </a:moveTo>
                  <a:lnTo>
                    <a:pt x="0" y="3"/>
                  </a:lnTo>
                  <a:lnTo>
                    <a:pt x="4" y="0"/>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22" name="Freeform 573">
              <a:extLst>
                <a:ext uri="{FF2B5EF4-FFF2-40B4-BE49-F238E27FC236}">
                  <a16:creationId xmlns:a16="http://schemas.microsoft.com/office/drawing/2014/main" id="{A45D3A49-E166-9995-7849-AF54D5CE4A7D}"/>
                </a:ext>
              </a:extLst>
            </p:cNvPr>
            <p:cNvSpPr>
              <a:spLocks/>
            </p:cNvSpPr>
            <p:nvPr/>
          </p:nvSpPr>
          <p:spPr bwMode="auto">
            <a:xfrm rot="4649017" flipH="1">
              <a:off x="13053328" y="5840055"/>
              <a:ext cx="5464" cy="3030"/>
            </a:xfrm>
            <a:custGeom>
              <a:avLst/>
              <a:gdLst>
                <a:gd name="T0" fmla="*/ 2 w 6"/>
                <a:gd name="T1" fmla="*/ 1 h 3"/>
                <a:gd name="T2" fmla="*/ 3 w 6"/>
                <a:gd name="T3" fmla="*/ 3 h 3"/>
                <a:gd name="T4" fmla="*/ 2 w 6"/>
                <a:gd name="T5" fmla="*/ 1 h 3"/>
              </a:gdLst>
              <a:ahLst/>
              <a:cxnLst>
                <a:cxn ang="0">
                  <a:pos x="T0" y="T1"/>
                </a:cxn>
                <a:cxn ang="0">
                  <a:pos x="T2" y="T3"/>
                </a:cxn>
                <a:cxn ang="0">
                  <a:pos x="T4" y="T5"/>
                </a:cxn>
              </a:cxnLst>
              <a:rect l="0" t="0" r="r" b="b"/>
              <a:pathLst>
                <a:path w="6" h="3">
                  <a:moveTo>
                    <a:pt x="2" y="1"/>
                  </a:moveTo>
                  <a:cubicBezTo>
                    <a:pt x="2" y="3"/>
                    <a:pt x="6" y="0"/>
                    <a:pt x="3" y="3"/>
                  </a:cubicBezTo>
                  <a:cubicBezTo>
                    <a:pt x="1" y="2"/>
                    <a:pt x="0" y="1"/>
                    <a:pt x="2"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23" name="Freeform 574">
              <a:extLst>
                <a:ext uri="{FF2B5EF4-FFF2-40B4-BE49-F238E27FC236}">
                  <a16:creationId xmlns:a16="http://schemas.microsoft.com/office/drawing/2014/main" id="{40E7C2A8-498A-7991-E676-A3660665CE1C}"/>
                </a:ext>
              </a:extLst>
            </p:cNvPr>
            <p:cNvSpPr>
              <a:spLocks/>
            </p:cNvSpPr>
            <p:nvPr/>
          </p:nvSpPr>
          <p:spPr bwMode="auto">
            <a:xfrm rot="4649017" flipH="1">
              <a:off x="13057096" y="5633723"/>
              <a:ext cx="390659" cy="381678"/>
            </a:xfrm>
            <a:custGeom>
              <a:avLst/>
              <a:gdLst>
                <a:gd name="T0" fmla="*/ 80 w 372"/>
                <a:gd name="T1" fmla="*/ 67 h 326"/>
                <a:gd name="T2" fmla="*/ 100 w 372"/>
                <a:gd name="T3" fmla="*/ 70 h 326"/>
                <a:gd name="T4" fmla="*/ 139 w 372"/>
                <a:gd name="T5" fmla="*/ 61 h 326"/>
                <a:gd name="T6" fmla="*/ 152 w 372"/>
                <a:gd name="T7" fmla="*/ 61 h 326"/>
                <a:gd name="T8" fmla="*/ 194 w 372"/>
                <a:gd name="T9" fmla="*/ 60 h 326"/>
                <a:gd name="T10" fmla="*/ 208 w 372"/>
                <a:gd name="T11" fmla="*/ 58 h 326"/>
                <a:gd name="T12" fmla="*/ 229 w 372"/>
                <a:gd name="T13" fmla="*/ 47 h 326"/>
                <a:gd name="T14" fmla="*/ 249 w 372"/>
                <a:gd name="T15" fmla="*/ 44 h 326"/>
                <a:gd name="T16" fmla="*/ 260 w 372"/>
                <a:gd name="T17" fmla="*/ 43 h 326"/>
                <a:gd name="T18" fmla="*/ 267 w 372"/>
                <a:gd name="T19" fmla="*/ 34 h 326"/>
                <a:gd name="T20" fmla="*/ 286 w 372"/>
                <a:gd name="T21" fmla="*/ 20 h 326"/>
                <a:gd name="T22" fmla="*/ 298 w 372"/>
                <a:gd name="T23" fmla="*/ 15 h 326"/>
                <a:gd name="T24" fmla="*/ 308 w 372"/>
                <a:gd name="T25" fmla="*/ 5 h 326"/>
                <a:gd name="T26" fmla="*/ 318 w 372"/>
                <a:gd name="T27" fmla="*/ 1 h 326"/>
                <a:gd name="T28" fmla="*/ 345 w 372"/>
                <a:gd name="T29" fmla="*/ 27 h 326"/>
                <a:gd name="T30" fmla="*/ 339 w 372"/>
                <a:gd name="T31" fmla="*/ 31 h 326"/>
                <a:gd name="T32" fmla="*/ 332 w 372"/>
                <a:gd name="T33" fmla="*/ 49 h 326"/>
                <a:gd name="T34" fmla="*/ 319 w 372"/>
                <a:gd name="T35" fmla="*/ 68 h 326"/>
                <a:gd name="T36" fmla="*/ 318 w 372"/>
                <a:gd name="T37" fmla="*/ 79 h 326"/>
                <a:gd name="T38" fmla="*/ 309 w 372"/>
                <a:gd name="T39" fmla="*/ 86 h 326"/>
                <a:gd name="T40" fmla="*/ 310 w 372"/>
                <a:gd name="T41" fmla="*/ 95 h 326"/>
                <a:gd name="T42" fmla="*/ 309 w 372"/>
                <a:gd name="T43" fmla="*/ 99 h 326"/>
                <a:gd name="T44" fmla="*/ 306 w 372"/>
                <a:gd name="T45" fmla="*/ 110 h 326"/>
                <a:gd name="T46" fmla="*/ 294 w 372"/>
                <a:gd name="T47" fmla="*/ 140 h 326"/>
                <a:gd name="T48" fmla="*/ 290 w 372"/>
                <a:gd name="T49" fmla="*/ 152 h 326"/>
                <a:gd name="T50" fmla="*/ 285 w 372"/>
                <a:gd name="T51" fmla="*/ 162 h 326"/>
                <a:gd name="T52" fmla="*/ 275 w 372"/>
                <a:gd name="T53" fmla="*/ 187 h 326"/>
                <a:gd name="T54" fmla="*/ 262 w 372"/>
                <a:gd name="T55" fmla="*/ 189 h 326"/>
                <a:gd name="T56" fmla="*/ 270 w 372"/>
                <a:gd name="T57" fmla="*/ 202 h 326"/>
                <a:gd name="T58" fmla="*/ 280 w 372"/>
                <a:gd name="T59" fmla="*/ 214 h 326"/>
                <a:gd name="T60" fmla="*/ 272 w 372"/>
                <a:gd name="T61" fmla="*/ 224 h 326"/>
                <a:gd name="T62" fmla="*/ 276 w 372"/>
                <a:gd name="T63" fmla="*/ 230 h 326"/>
                <a:gd name="T64" fmla="*/ 270 w 372"/>
                <a:gd name="T65" fmla="*/ 233 h 326"/>
                <a:gd name="T66" fmla="*/ 257 w 372"/>
                <a:gd name="T67" fmla="*/ 239 h 326"/>
                <a:gd name="T68" fmla="*/ 264 w 372"/>
                <a:gd name="T69" fmla="*/ 252 h 326"/>
                <a:gd name="T70" fmla="*/ 257 w 372"/>
                <a:gd name="T71" fmla="*/ 255 h 326"/>
                <a:gd name="T72" fmla="*/ 262 w 372"/>
                <a:gd name="T73" fmla="*/ 265 h 326"/>
                <a:gd name="T74" fmla="*/ 260 w 372"/>
                <a:gd name="T75" fmla="*/ 275 h 326"/>
                <a:gd name="T76" fmla="*/ 246 w 372"/>
                <a:gd name="T77" fmla="*/ 267 h 326"/>
                <a:gd name="T78" fmla="*/ 252 w 372"/>
                <a:gd name="T79" fmla="*/ 285 h 326"/>
                <a:gd name="T80" fmla="*/ 228 w 372"/>
                <a:gd name="T81" fmla="*/ 304 h 326"/>
                <a:gd name="T82" fmla="*/ 223 w 372"/>
                <a:gd name="T83" fmla="*/ 311 h 326"/>
                <a:gd name="T84" fmla="*/ 221 w 372"/>
                <a:gd name="T85" fmla="*/ 326 h 326"/>
                <a:gd name="T86" fmla="*/ 213 w 372"/>
                <a:gd name="T87" fmla="*/ 319 h 326"/>
                <a:gd name="T88" fmla="*/ 224 w 372"/>
                <a:gd name="T89" fmla="*/ 305 h 326"/>
                <a:gd name="T90" fmla="*/ 216 w 372"/>
                <a:gd name="T91" fmla="*/ 275 h 326"/>
                <a:gd name="T92" fmla="*/ 222 w 372"/>
                <a:gd name="T93" fmla="*/ 227 h 326"/>
                <a:gd name="T94" fmla="*/ 234 w 372"/>
                <a:gd name="T95" fmla="*/ 176 h 326"/>
                <a:gd name="T96" fmla="*/ 246 w 372"/>
                <a:gd name="T97" fmla="*/ 136 h 326"/>
                <a:gd name="T98" fmla="*/ 255 w 372"/>
                <a:gd name="T99" fmla="*/ 106 h 326"/>
                <a:gd name="T100" fmla="*/ 284 w 372"/>
                <a:gd name="T101" fmla="*/ 48 h 326"/>
                <a:gd name="T102" fmla="*/ 303 w 372"/>
                <a:gd name="T103" fmla="*/ 20 h 326"/>
                <a:gd name="T104" fmla="*/ 306 w 372"/>
                <a:gd name="T105" fmla="*/ 8 h 326"/>
                <a:gd name="T106" fmla="*/ 336 w 372"/>
                <a:gd name="T107" fmla="*/ 40 h 326"/>
                <a:gd name="T108" fmla="*/ 306 w 372"/>
                <a:gd name="T109" fmla="*/ 47 h 326"/>
                <a:gd name="T110" fmla="*/ 165 w 372"/>
                <a:gd name="T111" fmla="*/ 101 h 326"/>
                <a:gd name="T112" fmla="*/ 123 w 372"/>
                <a:gd name="T113" fmla="*/ 101 h 326"/>
                <a:gd name="T114" fmla="*/ 17 w 372"/>
                <a:gd name="T115" fmla="*/ 4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326">
                  <a:moveTo>
                    <a:pt x="17" y="43"/>
                  </a:moveTo>
                  <a:cubicBezTo>
                    <a:pt x="30" y="36"/>
                    <a:pt x="33" y="52"/>
                    <a:pt x="45" y="49"/>
                  </a:cubicBezTo>
                  <a:cubicBezTo>
                    <a:pt x="46" y="49"/>
                    <a:pt x="42" y="55"/>
                    <a:pt x="44" y="54"/>
                  </a:cubicBezTo>
                  <a:cubicBezTo>
                    <a:pt x="55" y="49"/>
                    <a:pt x="66" y="57"/>
                    <a:pt x="74" y="68"/>
                  </a:cubicBezTo>
                  <a:lnTo>
                    <a:pt x="73" y="70"/>
                  </a:lnTo>
                  <a:cubicBezTo>
                    <a:pt x="74" y="72"/>
                    <a:pt x="78" y="66"/>
                    <a:pt x="80" y="67"/>
                  </a:cubicBezTo>
                  <a:cubicBezTo>
                    <a:pt x="80" y="69"/>
                    <a:pt x="79" y="69"/>
                    <a:pt x="79" y="71"/>
                  </a:cubicBezTo>
                  <a:cubicBezTo>
                    <a:pt x="80" y="67"/>
                    <a:pt x="83" y="70"/>
                    <a:pt x="84" y="68"/>
                  </a:cubicBezTo>
                  <a:lnTo>
                    <a:pt x="85" y="74"/>
                  </a:lnTo>
                  <a:lnTo>
                    <a:pt x="87" y="70"/>
                  </a:lnTo>
                  <a:cubicBezTo>
                    <a:pt x="92" y="60"/>
                    <a:pt x="95" y="72"/>
                    <a:pt x="100" y="67"/>
                  </a:cubicBezTo>
                  <a:lnTo>
                    <a:pt x="100" y="70"/>
                  </a:lnTo>
                  <a:cubicBezTo>
                    <a:pt x="108" y="64"/>
                    <a:pt x="116" y="66"/>
                    <a:pt x="124" y="65"/>
                  </a:cubicBezTo>
                  <a:lnTo>
                    <a:pt x="124" y="71"/>
                  </a:lnTo>
                  <a:cubicBezTo>
                    <a:pt x="124" y="66"/>
                    <a:pt x="127" y="65"/>
                    <a:pt x="129" y="65"/>
                  </a:cubicBezTo>
                  <a:cubicBezTo>
                    <a:pt x="130" y="70"/>
                    <a:pt x="133" y="60"/>
                    <a:pt x="135" y="63"/>
                  </a:cubicBezTo>
                  <a:lnTo>
                    <a:pt x="135" y="64"/>
                  </a:lnTo>
                  <a:cubicBezTo>
                    <a:pt x="137" y="59"/>
                    <a:pt x="137" y="67"/>
                    <a:pt x="139" y="61"/>
                  </a:cubicBezTo>
                  <a:lnTo>
                    <a:pt x="140" y="64"/>
                  </a:lnTo>
                  <a:cubicBezTo>
                    <a:pt x="141" y="57"/>
                    <a:pt x="143" y="68"/>
                    <a:pt x="144" y="64"/>
                  </a:cubicBezTo>
                  <a:lnTo>
                    <a:pt x="144" y="63"/>
                  </a:lnTo>
                  <a:cubicBezTo>
                    <a:pt x="146" y="61"/>
                    <a:pt x="146" y="64"/>
                    <a:pt x="148" y="63"/>
                  </a:cubicBezTo>
                  <a:lnTo>
                    <a:pt x="148" y="64"/>
                  </a:lnTo>
                  <a:cubicBezTo>
                    <a:pt x="151" y="62"/>
                    <a:pt x="153" y="66"/>
                    <a:pt x="152" y="61"/>
                  </a:cubicBezTo>
                  <a:cubicBezTo>
                    <a:pt x="154" y="65"/>
                    <a:pt x="150" y="63"/>
                    <a:pt x="152" y="69"/>
                  </a:cubicBezTo>
                  <a:cubicBezTo>
                    <a:pt x="162" y="63"/>
                    <a:pt x="172" y="64"/>
                    <a:pt x="182" y="61"/>
                  </a:cubicBezTo>
                  <a:lnTo>
                    <a:pt x="185" y="66"/>
                  </a:lnTo>
                  <a:cubicBezTo>
                    <a:pt x="186" y="65"/>
                    <a:pt x="189" y="64"/>
                    <a:pt x="189" y="61"/>
                  </a:cubicBezTo>
                  <a:cubicBezTo>
                    <a:pt x="189" y="61"/>
                    <a:pt x="190" y="64"/>
                    <a:pt x="191" y="64"/>
                  </a:cubicBezTo>
                  <a:cubicBezTo>
                    <a:pt x="193" y="66"/>
                    <a:pt x="192" y="58"/>
                    <a:pt x="194" y="60"/>
                  </a:cubicBezTo>
                  <a:lnTo>
                    <a:pt x="194" y="65"/>
                  </a:lnTo>
                  <a:cubicBezTo>
                    <a:pt x="195" y="61"/>
                    <a:pt x="198" y="61"/>
                    <a:pt x="200" y="59"/>
                  </a:cubicBezTo>
                  <a:lnTo>
                    <a:pt x="200" y="63"/>
                  </a:lnTo>
                  <a:cubicBezTo>
                    <a:pt x="201" y="58"/>
                    <a:pt x="204" y="63"/>
                    <a:pt x="205" y="60"/>
                  </a:cubicBezTo>
                  <a:lnTo>
                    <a:pt x="205" y="63"/>
                  </a:lnTo>
                  <a:cubicBezTo>
                    <a:pt x="209" y="66"/>
                    <a:pt x="205" y="56"/>
                    <a:pt x="208" y="58"/>
                  </a:cubicBezTo>
                  <a:lnTo>
                    <a:pt x="208" y="61"/>
                  </a:lnTo>
                  <a:cubicBezTo>
                    <a:pt x="209" y="56"/>
                    <a:pt x="214" y="56"/>
                    <a:pt x="216" y="54"/>
                  </a:cubicBezTo>
                  <a:lnTo>
                    <a:pt x="216" y="55"/>
                  </a:lnTo>
                  <a:cubicBezTo>
                    <a:pt x="219" y="54"/>
                    <a:pt x="222" y="55"/>
                    <a:pt x="224" y="51"/>
                  </a:cubicBezTo>
                  <a:cubicBezTo>
                    <a:pt x="226" y="52"/>
                    <a:pt x="226" y="59"/>
                    <a:pt x="228" y="57"/>
                  </a:cubicBezTo>
                  <a:cubicBezTo>
                    <a:pt x="227" y="51"/>
                    <a:pt x="233" y="53"/>
                    <a:pt x="229" y="47"/>
                  </a:cubicBezTo>
                  <a:cubicBezTo>
                    <a:pt x="232" y="47"/>
                    <a:pt x="236" y="48"/>
                    <a:pt x="237" y="46"/>
                  </a:cubicBezTo>
                  <a:cubicBezTo>
                    <a:pt x="237" y="48"/>
                    <a:pt x="241" y="53"/>
                    <a:pt x="239" y="54"/>
                  </a:cubicBezTo>
                  <a:lnTo>
                    <a:pt x="241" y="57"/>
                  </a:lnTo>
                  <a:cubicBezTo>
                    <a:pt x="242" y="59"/>
                    <a:pt x="239" y="57"/>
                    <a:pt x="241" y="59"/>
                  </a:cubicBezTo>
                  <a:cubicBezTo>
                    <a:pt x="242" y="59"/>
                    <a:pt x="244" y="56"/>
                    <a:pt x="245" y="56"/>
                  </a:cubicBezTo>
                  <a:cubicBezTo>
                    <a:pt x="246" y="52"/>
                    <a:pt x="246" y="45"/>
                    <a:pt x="249" y="44"/>
                  </a:cubicBezTo>
                  <a:cubicBezTo>
                    <a:pt x="248" y="46"/>
                    <a:pt x="252" y="50"/>
                    <a:pt x="251" y="51"/>
                  </a:cubicBezTo>
                  <a:lnTo>
                    <a:pt x="251" y="38"/>
                  </a:lnTo>
                  <a:cubicBezTo>
                    <a:pt x="252" y="38"/>
                    <a:pt x="253" y="43"/>
                    <a:pt x="254" y="41"/>
                  </a:cubicBezTo>
                  <a:lnTo>
                    <a:pt x="254" y="37"/>
                  </a:lnTo>
                  <a:cubicBezTo>
                    <a:pt x="254" y="37"/>
                    <a:pt x="257" y="34"/>
                    <a:pt x="260" y="39"/>
                  </a:cubicBezTo>
                  <a:cubicBezTo>
                    <a:pt x="261" y="41"/>
                    <a:pt x="259" y="41"/>
                    <a:pt x="260" y="43"/>
                  </a:cubicBezTo>
                  <a:cubicBezTo>
                    <a:pt x="262" y="42"/>
                    <a:pt x="262" y="40"/>
                    <a:pt x="263" y="39"/>
                  </a:cubicBezTo>
                  <a:lnTo>
                    <a:pt x="264" y="40"/>
                  </a:lnTo>
                  <a:cubicBezTo>
                    <a:pt x="265" y="40"/>
                    <a:pt x="266" y="36"/>
                    <a:pt x="264" y="34"/>
                  </a:cubicBezTo>
                  <a:cubicBezTo>
                    <a:pt x="263" y="34"/>
                    <a:pt x="265" y="37"/>
                    <a:pt x="264" y="36"/>
                  </a:cubicBezTo>
                  <a:cubicBezTo>
                    <a:pt x="263" y="32"/>
                    <a:pt x="265" y="30"/>
                    <a:pt x="267" y="30"/>
                  </a:cubicBezTo>
                  <a:lnTo>
                    <a:pt x="267" y="34"/>
                  </a:lnTo>
                  <a:cubicBezTo>
                    <a:pt x="268" y="29"/>
                    <a:pt x="270" y="26"/>
                    <a:pt x="272" y="23"/>
                  </a:cubicBezTo>
                  <a:cubicBezTo>
                    <a:pt x="271" y="21"/>
                    <a:pt x="273" y="29"/>
                    <a:pt x="272" y="27"/>
                  </a:cubicBezTo>
                  <a:cubicBezTo>
                    <a:pt x="277" y="30"/>
                    <a:pt x="277" y="20"/>
                    <a:pt x="282" y="24"/>
                  </a:cubicBezTo>
                  <a:cubicBezTo>
                    <a:pt x="282" y="25"/>
                    <a:pt x="280" y="20"/>
                    <a:pt x="281" y="21"/>
                  </a:cubicBezTo>
                  <a:cubicBezTo>
                    <a:pt x="283" y="21"/>
                    <a:pt x="284" y="25"/>
                    <a:pt x="285" y="23"/>
                  </a:cubicBezTo>
                  <a:cubicBezTo>
                    <a:pt x="286" y="25"/>
                    <a:pt x="286" y="21"/>
                    <a:pt x="286" y="20"/>
                  </a:cubicBezTo>
                  <a:cubicBezTo>
                    <a:pt x="286" y="18"/>
                    <a:pt x="287" y="21"/>
                    <a:pt x="286" y="22"/>
                  </a:cubicBezTo>
                  <a:cubicBezTo>
                    <a:pt x="287" y="19"/>
                    <a:pt x="291" y="13"/>
                    <a:pt x="296" y="15"/>
                  </a:cubicBezTo>
                  <a:cubicBezTo>
                    <a:pt x="296" y="13"/>
                    <a:pt x="296" y="8"/>
                    <a:pt x="297" y="8"/>
                  </a:cubicBezTo>
                  <a:lnTo>
                    <a:pt x="298" y="12"/>
                  </a:lnTo>
                  <a:cubicBezTo>
                    <a:pt x="300" y="14"/>
                    <a:pt x="301" y="10"/>
                    <a:pt x="302" y="13"/>
                  </a:cubicBezTo>
                  <a:cubicBezTo>
                    <a:pt x="302" y="8"/>
                    <a:pt x="297" y="20"/>
                    <a:pt x="298" y="15"/>
                  </a:cubicBezTo>
                  <a:cubicBezTo>
                    <a:pt x="300" y="18"/>
                    <a:pt x="299" y="8"/>
                    <a:pt x="300" y="13"/>
                  </a:cubicBezTo>
                  <a:cubicBezTo>
                    <a:pt x="302" y="13"/>
                    <a:pt x="302" y="8"/>
                    <a:pt x="305" y="10"/>
                  </a:cubicBezTo>
                  <a:cubicBezTo>
                    <a:pt x="304" y="10"/>
                    <a:pt x="306" y="16"/>
                    <a:pt x="307" y="15"/>
                  </a:cubicBezTo>
                  <a:cubicBezTo>
                    <a:pt x="309" y="13"/>
                    <a:pt x="307" y="13"/>
                    <a:pt x="308" y="11"/>
                  </a:cubicBezTo>
                  <a:lnTo>
                    <a:pt x="309" y="9"/>
                  </a:lnTo>
                  <a:cubicBezTo>
                    <a:pt x="307" y="6"/>
                    <a:pt x="311" y="9"/>
                    <a:pt x="308" y="5"/>
                  </a:cubicBezTo>
                  <a:cubicBezTo>
                    <a:pt x="310" y="8"/>
                    <a:pt x="311" y="2"/>
                    <a:pt x="313" y="8"/>
                  </a:cubicBezTo>
                  <a:lnTo>
                    <a:pt x="315" y="12"/>
                  </a:lnTo>
                  <a:cubicBezTo>
                    <a:pt x="316" y="11"/>
                    <a:pt x="314" y="7"/>
                    <a:pt x="314" y="5"/>
                  </a:cubicBezTo>
                  <a:lnTo>
                    <a:pt x="315" y="6"/>
                  </a:lnTo>
                  <a:cubicBezTo>
                    <a:pt x="312" y="0"/>
                    <a:pt x="318" y="6"/>
                    <a:pt x="317" y="0"/>
                  </a:cubicBezTo>
                  <a:lnTo>
                    <a:pt x="318" y="1"/>
                  </a:lnTo>
                  <a:lnTo>
                    <a:pt x="318" y="1"/>
                  </a:lnTo>
                  <a:lnTo>
                    <a:pt x="318" y="1"/>
                  </a:lnTo>
                  <a:lnTo>
                    <a:pt x="318" y="1"/>
                  </a:lnTo>
                  <a:lnTo>
                    <a:pt x="318" y="1"/>
                  </a:lnTo>
                  <a:lnTo>
                    <a:pt x="318" y="1"/>
                  </a:lnTo>
                  <a:cubicBezTo>
                    <a:pt x="372" y="54"/>
                    <a:pt x="333" y="15"/>
                    <a:pt x="345" y="27"/>
                  </a:cubicBezTo>
                  <a:lnTo>
                    <a:pt x="345" y="27"/>
                  </a:lnTo>
                  <a:lnTo>
                    <a:pt x="345" y="27"/>
                  </a:lnTo>
                  <a:lnTo>
                    <a:pt x="345" y="27"/>
                  </a:lnTo>
                  <a:lnTo>
                    <a:pt x="345" y="28"/>
                  </a:lnTo>
                  <a:lnTo>
                    <a:pt x="343" y="29"/>
                  </a:lnTo>
                  <a:cubicBezTo>
                    <a:pt x="342" y="30"/>
                    <a:pt x="341" y="31"/>
                    <a:pt x="339" y="31"/>
                  </a:cubicBezTo>
                  <a:cubicBezTo>
                    <a:pt x="340" y="33"/>
                    <a:pt x="342" y="36"/>
                    <a:pt x="340" y="37"/>
                  </a:cubicBezTo>
                  <a:cubicBezTo>
                    <a:pt x="339" y="36"/>
                    <a:pt x="339" y="36"/>
                    <a:pt x="338" y="35"/>
                  </a:cubicBezTo>
                  <a:cubicBezTo>
                    <a:pt x="335" y="35"/>
                    <a:pt x="337" y="36"/>
                    <a:pt x="338" y="38"/>
                  </a:cubicBezTo>
                  <a:cubicBezTo>
                    <a:pt x="337" y="37"/>
                    <a:pt x="333" y="38"/>
                    <a:pt x="330" y="38"/>
                  </a:cubicBezTo>
                  <a:cubicBezTo>
                    <a:pt x="331" y="41"/>
                    <a:pt x="335" y="42"/>
                    <a:pt x="337" y="43"/>
                  </a:cubicBezTo>
                  <a:cubicBezTo>
                    <a:pt x="330" y="42"/>
                    <a:pt x="339" y="50"/>
                    <a:pt x="332" y="49"/>
                  </a:cubicBezTo>
                  <a:cubicBezTo>
                    <a:pt x="331" y="48"/>
                    <a:pt x="330" y="45"/>
                    <a:pt x="328" y="45"/>
                  </a:cubicBezTo>
                  <a:cubicBezTo>
                    <a:pt x="320" y="44"/>
                    <a:pt x="331" y="51"/>
                    <a:pt x="327" y="52"/>
                  </a:cubicBezTo>
                  <a:lnTo>
                    <a:pt x="333" y="54"/>
                  </a:lnTo>
                  <a:cubicBezTo>
                    <a:pt x="329" y="53"/>
                    <a:pt x="334" y="59"/>
                    <a:pt x="329" y="56"/>
                  </a:cubicBezTo>
                  <a:cubicBezTo>
                    <a:pt x="330" y="57"/>
                    <a:pt x="326" y="58"/>
                    <a:pt x="331" y="60"/>
                  </a:cubicBezTo>
                  <a:cubicBezTo>
                    <a:pt x="325" y="62"/>
                    <a:pt x="329" y="71"/>
                    <a:pt x="319" y="68"/>
                  </a:cubicBezTo>
                  <a:cubicBezTo>
                    <a:pt x="319" y="69"/>
                    <a:pt x="318" y="70"/>
                    <a:pt x="321" y="71"/>
                  </a:cubicBezTo>
                  <a:cubicBezTo>
                    <a:pt x="324" y="72"/>
                    <a:pt x="319" y="69"/>
                    <a:pt x="321" y="70"/>
                  </a:cubicBezTo>
                  <a:cubicBezTo>
                    <a:pt x="321" y="70"/>
                    <a:pt x="323" y="71"/>
                    <a:pt x="323" y="72"/>
                  </a:cubicBezTo>
                  <a:cubicBezTo>
                    <a:pt x="321" y="72"/>
                    <a:pt x="321" y="73"/>
                    <a:pt x="317" y="70"/>
                  </a:cubicBezTo>
                  <a:cubicBezTo>
                    <a:pt x="312" y="71"/>
                    <a:pt x="325" y="77"/>
                    <a:pt x="321" y="79"/>
                  </a:cubicBezTo>
                  <a:cubicBezTo>
                    <a:pt x="319" y="78"/>
                    <a:pt x="318" y="78"/>
                    <a:pt x="318" y="79"/>
                  </a:cubicBezTo>
                  <a:lnTo>
                    <a:pt x="320" y="83"/>
                  </a:lnTo>
                  <a:cubicBezTo>
                    <a:pt x="319" y="84"/>
                    <a:pt x="315" y="82"/>
                    <a:pt x="311" y="80"/>
                  </a:cubicBezTo>
                  <a:cubicBezTo>
                    <a:pt x="311" y="81"/>
                    <a:pt x="310" y="83"/>
                    <a:pt x="313" y="85"/>
                  </a:cubicBezTo>
                  <a:lnTo>
                    <a:pt x="307" y="84"/>
                  </a:lnTo>
                  <a:cubicBezTo>
                    <a:pt x="311" y="84"/>
                    <a:pt x="309" y="86"/>
                    <a:pt x="310" y="87"/>
                  </a:cubicBezTo>
                  <a:lnTo>
                    <a:pt x="309" y="86"/>
                  </a:lnTo>
                  <a:cubicBezTo>
                    <a:pt x="307" y="85"/>
                    <a:pt x="308" y="87"/>
                    <a:pt x="308" y="88"/>
                  </a:cubicBezTo>
                  <a:cubicBezTo>
                    <a:pt x="310" y="89"/>
                    <a:pt x="312" y="88"/>
                    <a:pt x="313" y="88"/>
                  </a:cubicBezTo>
                  <a:cubicBezTo>
                    <a:pt x="314" y="89"/>
                    <a:pt x="314" y="90"/>
                    <a:pt x="315" y="91"/>
                  </a:cubicBezTo>
                  <a:cubicBezTo>
                    <a:pt x="312" y="89"/>
                    <a:pt x="312" y="92"/>
                    <a:pt x="311" y="93"/>
                  </a:cubicBezTo>
                  <a:cubicBezTo>
                    <a:pt x="309" y="94"/>
                    <a:pt x="314" y="95"/>
                    <a:pt x="313" y="96"/>
                  </a:cubicBezTo>
                  <a:cubicBezTo>
                    <a:pt x="311" y="95"/>
                    <a:pt x="312" y="97"/>
                    <a:pt x="310" y="95"/>
                  </a:cubicBezTo>
                  <a:cubicBezTo>
                    <a:pt x="309" y="95"/>
                    <a:pt x="312" y="95"/>
                    <a:pt x="311" y="94"/>
                  </a:cubicBezTo>
                  <a:cubicBezTo>
                    <a:pt x="309" y="94"/>
                    <a:pt x="306" y="92"/>
                    <a:pt x="307" y="95"/>
                  </a:cubicBezTo>
                  <a:cubicBezTo>
                    <a:pt x="309" y="97"/>
                    <a:pt x="315" y="98"/>
                    <a:pt x="311" y="99"/>
                  </a:cubicBezTo>
                  <a:lnTo>
                    <a:pt x="308" y="96"/>
                  </a:lnTo>
                  <a:lnTo>
                    <a:pt x="305" y="97"/>
                  </a:lnTo>
                  <a:lnTo>
                    <a:pt x="309" y="99"/>
                  </a:lnTo>
                  <a:lnTo>
                    <a:pt x="307" y="98"/>
                  </a:lnTo>
                  <a:cubicBezTo>
                    <a:pt x="310" y="101"/>
                    <a:pt x="307" y="102"/>
                    <a:pt x="311" y="104"/>
                  </a:cubicBezTo>
                  <a:cubicBezTo>
                    <a:pt x="311" y="105"/>
                    <a:pt x="307" y="105"/>
                    <a:pt x="307" y="106"/>
                  </a:cubicBezTo>
                  <a:lnTo>
                    <a:pt x="306" y="106"/>
                  </a:lnTo>
                  <a:cubicBezTo>
                    <a:pt x="304" y="106"/>
                    <a:pt x="305" y="108"/>
                    <a:pt x="307" y="110"/>
                  </a:cubicBezTo>
                  <a:lnTo>
                    <a:pt x="306" y="110"/>
                  </a:lnTo>
                  <a:cubicBezTo>
                    <a:pt x="305" y="110"/>
                    <a:pt x="305" y="112"/>
                    <a:pt x="307" y="114"/>
                  </a:cubicBezTo>
                  <a:cubicBezTo>
                    <a:pt x="304" y="114"/>
                    <a:pt x="294" y="109"/>
                    <a:pt x="297" y="112"/>
                  </a:cubicBezTo>
                  <a:cubicBezTo>
                    <a:pt x="297" y="114"/>
                    <a:pt x="303" y="118"/>
                    <a:pt x="305" y="118"/>
                  </a:cubicBezTo>
                  <a:cubicBezTo>
                    <a:pt x="301" y="120"/>
                    <a:pt x="306" y="126"/>
                    <a:pt x="299" y="126"/>
                  </a:cubicBezTo>
                  <a:lnTo>
                    <a:pt x="302" y="129"/>
                  </a:lnTo>
                  <a:cubicBezTo>
                    <a:pt x="299" y="132"/>
                    <a:pt x="302" y="139"/>
                    <a:pt x="294" y="140"/>
                  </a:cubicBezTo>
                  <a:cubicBezTo>
                    <a:pt x="293" y="138"/>
                    <a:pt x="291" y="139"/>
                    <a:pt x="289" y="138"/>
                  </a:cubicBezTo>
                  <a:cubicBezTo>
                    <a:pt x="291" y="140"/>
                    <a:pt x="285" y="138"/>
                    <a:pt x="290" y="140"/>
                  </a:cubicBezTo>
                  <a:cubicBezTo>
                    <a:pt x="293" y="141"/>
                    <a:pt x="295" y="142"/>
                    <a:pt x="296" y="141"/>
                  </a:cubicBezTo>
                  <a:cubicBezTo>
                    <a:pt x="297" y="145"/>
                    <a:pt x="295" y="149"/>
                    <a:pt x="292" y="149"/>
                  </a:cubicBezTo>
                  <a:cubicBezTo>
                    <a:pt x="294" y="149"/>
                    <a:pt x="294" y="150"/>
                    <a:pt x="295" y="151"/>
                  </a:cubicBezTo>
                  <a:cubicBezTo>
                    <a:pt x="290" y="149"/>
                    <a:pt x="289" y="150"/>
                    <a:pt x="290" y="152"/>
                  </a:cubicBezTo>
                  <a:lnTo>
                    <a:pt x="293" y="154"/>
                  </a:lnTo>
                  <a:lnTo>
                    <a:pt x="289" y="153"/>
                  </a:lnTo>
                  <a:cubicBezTo>
                    <a:pt x="290" y="154"/>
                    <a:pt x="295" y="156"/>
                    <a:pt x="292" y="157"/>
                  </a:cubicBezTo>
                  <a:lnTo>
                    <a:pt x="288" y="156"/>
                  </a:lnTo>
                  <a:cubicBezTo>
                    <a:pt x="290" y="158"/>
                    <a:pt x="294" y="162"/>
                    <a:pt x="290" y="163"/>
                  </a:cubicBezTo>
                  <a:lnTo>
                    <a:pt x="285" y="162"/>
                  </a:lnTo>
                  <a:cubicBezTo>
                    <a:pt x="286" y="163"/>
                    <a:pt x="288" y="165"/>
                    <a:pt x="290" y="165"/>
                  </a:cubicBezTo>
                  <a:cubicBezTo>
                    <a:pt x="286" y="166"/>
                    <a:pt x="285" y="168"/>
                    <a:pt x="281" y="168"/>
                  </a:cubicBezTo>
                  <a:cubicBezTo>
                    <a:pt x="288" y="176"/>
                    <a:pt x="286" y="183"/>
                    <a:pt x="283" y="188"/>
                  </a:cubicBezTo>
                  <a:lnTo>
                    <a:pt x="281" y="187"/>
                  </a:lnTo>
                  <a:cubicBezTo>
                    <a:pt x="278" y="188"/>
                    <a:pt x="285" y="190"/>
                    <a:pt x="283" y="190"/>
                  </a:cubicBezTo>
                  <a:cubicBezTo>
                    <a:pt x="281" y="189"/>
                    <a:pt x="278" y="190"/>
                    <a:pt x="275" y="187"/>
                  </a:cubicBezTo>
                  <a:cubicBezTo>
                    <a:pt x="272" y="189"/>
                    <a:pt x="279" y="192"/>
                    <a:pt x="279" y="193"/>
                  </a:cubicBezTo>
                  <a:cubicBezTo>
                    <a:pt x="282" y="195"/>
                    <a:pt x="278" y="192"/>
                    <a:pt x="281" y="193"/>
                  </a:cubicBezTo>
                  <a:cubicBezTo>
                    <a:pt x="282" y="194"/>
                    <a:pt x="278" y="195"/>
                    <a:pt x="282" y="197"/>
                  </a:cubicBezTo>
                  <a:cubicBezTo>
                    <a:pt x="280" y="197"/>
                    <a:pt x="277" y="196"/>
                    <a:pt x="276" y="195"/>
                  </a:cubicBezTo>
                  <a:lnTo>
                    <a:pt x="277" y="197"/>
                  </a:lnTo>
                  <a:cubicBezTo>
                    <a:pt x="271" y="197"/>
                    <a:pt x="269" y="190"/>
                    <a:pt x="262" y="189"/>
                  </a:cubicBezTo>
                  <a:lnTo>
                    <a:pt x="262" y="191"/>
                  </a:lnTo>
                  <a:cubicBezTo>
                    <a:pt x="257" y="190"/>
                    <a:pt x="258" y="185"/>
                    <a:pt x="255" y="188"/>
                  </a:cubicBezTo>
                  <a:cubicBezTo>
                    <a:pt x="257" y="190"/>
                    <a:pt x="263" y="194"/>
                    <a:pt x="266" y="193"/>
                  </a:cubicBezTo>
                  <a:cubicBezTo>
                    <a:pt x="266" y="196"/>
                    <a:pt x="276" y="198"/>
                    <a:pt x="275" y="201"/>
                  </a:cubicBezTo>
                  <a:cubicBezTo>
                    <a:pt x="272" y="201"/>
                    <a:pt x="275" y="198"/>
                    <a:pt x="271" y="198"/>
                  </a:cubicBezTo>
                  <a:cubicBezTo>
                    <a:pt x="267" y="198"/>
                    <a:pt x="272" y="201"/>
                    <a:pt x="270" y="202"/>
                  </a:cubicBezTo>
                  <a:cubicBezTo>
                    <a:pt x="273" y="201"/>
                    <a:pt x="277" y="204"/>
                    <a:pt x="277" y="205"/>
                  </a:cubicBezTo>
                  <a:cubicBezTo>
                    <a:pt x="275" y="206"/>
                    <a:pt x="273" y="203"/>
                    <a:pt x="272" y="205"/>
                  </a:cubicBezTo>
                  <a:cubicBezTo>
                    <a:pt x="275" y="206"/>
                    <a:pt x="276" y="209"/>
                    <a:pt x="278" y="208"/>
                  </a:cubicBezTo>
                  <a:cubicBezTo>
                    <a:pt x="284" y="210"/>
                    <a:pt x="276" y="209"/>
                    <a:pt x="280" y="212"/>
                  </a:cubicBezTo>
                  <a:cubicBezTo>
                    <a:pt x="276" y="211"/>
                    <a:pt x="271" y="206"/>
                    <a:pt x="268" y="208"/>
                  </a:cubicBezTo>
                  <a:cubicBezTo>
                    <a:pt x="273" y="209"/>
                    <a:pt x="273" y="213"/>
                    <a:pt x="280" y="214"/>
                  </a:cubicBezTo>
                  <a:cubicBezTo>
                    <a:pt x="278" y="214"/>
                    <a:pt x="275" y="213"/>
                    <a:pt x="272" y="212"/>
                  </a:cubicBezTo>
                  <a:cubicBezTo>
                    <a:pt x="270" y="212"/>
                    <a:pt x="279" y="217"/>
                    <a:pt x="271" y="215"/>
                  </a:cubicBezTo>
                  <a:lnTo>
                    <a:pt x="275" y="217"/>
                  </a:lnTo>
                  <a:cubicBezTo>
                    <a:pt x="273" y="217"/>
                    <a:pt x="272" y="217"/>
                    <a:pt x="270" y="217"/>
                  </a:cubicBezTo>
                  <a:cubicBezTo>
                    <a:pt x="269" y="218"/>
                    <a:pt x="274" y="223"/>
                    <a:pt x="268" y="221"/>
                  </a:cubicBezTo>
                  <a:cubicBezTo>
                    <a:pt x="268" y="221"/>
                    <a:pt x="267" y="224"/>
                    <a:pt x="272" y="224"/>
                  </a:cubicBezTo>
                  <a:cubicBezTo>
                    <a:pt x="275" y="223"/>
                    <a:pt x="269" y="221"/>
                    <a:pt x="275" y="222"/>
                  </a:cubicBezTo>
                  <a:cubicBezTo>
                    <a:pt x="270" y="222"/>
                    <a:pt x="275" y="225"/>
                    <a:pt x="277" y="226"/>
                  </a:cubicBezTo>
                  <a:lnTo>
                    <a:pt x="274" y="226"/>
                  </a:lnTo>
                  <a:cubicBezTo>
                    <a:pt x="275" y="226"/>
                    <a:pt x="274" y="228"/>
                    <a:pt x="276" y="229"/>
                  </a:cubicBezTo>
                  <a:lnTo>
                    <a:pt x="273" y="228"/>
                  </a:lnTo>
                  <a:lnTo>
                    <a:pt x="276" y="230"/>
                  </a:lnTo>
                  <a:cubicBezTo>
                    <a:pt x="277" y="232"/>
                    <a:pt x="270" y="228"/>
                    <a:pt x="270" y="231"/>
                  </a:cubicBezTo>
                  <a:lnTo>
                    <a:pt x="268" y="228"/>
                  </a:lnTo>
                  <a:cubicBezTo>
                    <a:pt x="268" y="229"/>
                    <a:pt x="264" y="228"/>
                    <a:pt x="265" y="230"/>
                  </a:cubicBezTo>
                  <a:cubicBezTo>
                    <a:pt x="268" y="231"/>
                    <a:pt x="272" y="233"/>
                    <a:pt x="275" y="234"/>
                  </a:cubicBezTo>
                  <a:cubicBezTo>
                    <a:pt x="276" y="236"/>
                    <a:pt x="271" y="234"/>
                    <a:pt x="274" y="236"/>
                  </a:cubicBezTo>
                  <a:lnTo>
                    <a:pt x="270" y="233"/>
                  </a:lnTo>
                  <a:cubicBezTo>
                    <a:pt x="269" y="233"/>
                    <a:pt x="264" y="233"/>
                    <a:pt x="264" y="234"/>
                  </a:cubicBezTo>
                  <a:cubicBezTo>
                    <a:pt x="265" y="236"/>
                    <a:pt x="269" y="239"/>
                    <a:pt x="271" y="238"/>
                  </a:cubicBezTo>
                  <a:cubicBezTo>
                    <a:pt x="271" y="239"/>
                    <a:pt x="269" y="239"/>
                    <a:pt x="266" y="238"/>
                  </a:cubicBezTo>
                  <a:cubicBezTo>
                    <a:pt x="267" y="240"/>
                    <a:pt x="270" y="239"/>
                    <a:pt x="272" y="241"/>
                  </a:cubicBezTo>
                  <a:cubicBezTo>
                    <a:pt x="269" y="241"/>
                    <a:pt x="265" y="242"/>
                    <a:pt x="262" y="242"/>
                  </a:cubicBezTo>
                  <a:lnTo>
                    <a:pt x="257" y="239"/>
                  </a:lnTo>
                  <a:lnTo>
                    <a:pt x="256" y="240"/>
                  </a:lnTo>
                  <a:cubicBezTo>
                    <a:pt x="252" y="237"/>
                    <a:pt x="252" y="240"/>
                    <a:pt x="248" y="238"/>
                  </a:cubicBezTo>
                  <a:cubicBezTo>
                    <a:pt x="247" y="238"/>
                    <a:pt x="248" y="240"/>
                    <a:pt x="249" y="241"/>
                  </a:cubicBezTo>
                  <a:cubicBezTo>
                    <a:pt x="258" y="241"/>
                    <a:pt x="259" y="246"/>
                    <a:pt x="266" y="248"/>
                  </a:cubicBezTo>
                  <a:cubicBezTo>
                    <a:pt x="267" y="251"/>
                    <a:pt x="248" y="245"/>
                    <a:pt x="258" y="251"/>
                  </a:cubicBezTo>
                  <a:cubicBezTo>
                    <a:pt x="260" y="251"/>
                    <a:pt x="265" y="254"/>
                    <a:pt x="264" y="252"/>
                  </a:cubicBezTo>
                  <a:cubicBezTo>
                    <a:pt x="262" y="253"/>
                    <a:pt x="271" y="255"/>
                    <a:pt x="267" y="257"/>
                  </a:cubicBezTo>
                  <a:cubicBezTo>
                    <a:pt x="264" y="254"/>
                    <a:pt x="259" y="256"/>
                    <a:pt x="256" y="253"/>
                  </a:cubicBezTo>
                  <a:cubicBezTo>
                    <a:pt x="258" y="254"/>
                    <a:pt x="258" y="252"/>
                    <a:pt x="257" y="251"/>
                  </a:cubicBezTo>
                  <a:cubicBezTo>
                    <a:pt x="254" y="251"/>
                    <a:pt x="250" y="249"/>
                    <a:pt x="250" y="251"/>
                  </a:cubicBezTo>
                  <a:cubicBezTo>
                    <a:pt x="250" y="253"/>
                    <a:pt x="249" y="254"/>
                    <a:pt x="253" y="255"/>
                  </a:cubicBezTo>
                  <a:cubicBezTo>
                    <a:pt x="257" y="256"/>
                    <a:pt x="253" y="253"/>
                    <a:pt x="257" y="255"/>
                  </a:cubicBezTo>
                  <a:cubicBezTo>
                    <a:pt x="258" y="258"/>
                    <a:pt x="252" y="257"/>
                    <a:pt x="259" y="260"/>
                  </a:cubicBezTo>
                  <a:cubicBezTo>
                    <a:pt x="258" y="258"/>
                    <a:pt x="263" y="259"/>
                    <a:pt x="266" y="259"/>
                  </a:cubicBezTo>
                  <a:lnTo>
                    <a:pt x="267" y="262"/>
                  </a:lnTo>
                  <a:lnTo>
                    <a:pt x="264" y="261"/>
                  </a:lnTo>
                  <a:cubicBezTo>
                    <a:pt x="262" y="263"/>
                    <a:pt x="269" y="263"/>
                    <a:pt x="268" y="265"/>
                  </a:cubicBezTo>
                  <a:lnTo>
                    <a:pt x="262" y="265"/>
                  </a:lnTo>
                  <a:cubicBezTo>
                    <a:pt x="258" y="263"/>
                    <a:pt x="265" y="262"/>
                    <a:pt x="257" y="260"/>
                  </a:cubicBezTo>
                  <a:cubicBezTo>
                    <a:pt x="257" y="262"/>
                    <a:pt x="260" y="264"/>
                    <a:pt x="258" y="265"/>
                  </a:cubicBezTo>
                  <a:lnTo>
                    <a:pt x="257" y="263"/>
                  </a:lnTo>
                  <a:cubicBezTo>
                    <a:pt x="256" y="264"/>
                    <a:pt x="246" y="262"/>
                    <a:pt x="252" y="266"/>
                  </a:cubicBezTo>
                  <a:cubicBezTo>
                    <a:pt x="254" y="268"/>
                    <a:pt x="254" y="267"/>
                    <a:pt x="257" y="268"/>
                  </a:cubicBezTo>
                  <a:cubicBezTo>
                    <a:pt x="257" y="271"/>
                    <a:pt x="260" y="273"/>
                    <a:pt x="260" y="275"/>
                  </a:cubicBezTo>
                  <a:cubicBezTo>
                    <a:pt x="255" y="273"/>
                    <a:pt x="259" y="278"/>
                    <a:pt x="254" y="274"/>
                  </a:cubicBezTo>
                  <a:cubicBezTo>
                    <a:pt x="257" y="274"/>
                    <a:pt x="258" y="270"/>
                    <a:pt x="253" y="267"/>
                  </a:cubicBezTo>
                  <a:cubicBezTo>
                    <a:pt x="246" y="267"/>
                    <a:pt x="254" y="265"/>
                    <a:pt x="247" y="263"/>
                  </a:cubicBezTo>
                  <a:cubicBezTo>
                    <a:pt x="247" y="265"/>
                    <a:pt x="240" y="264"/>
                    <a:pt x="236" y="263"/>
                  </a:cubicBezTo>
                  <a:cubicBezTo>
                    <a:pt x="236" y="264"/>
                    <a:pt x="237" y="265"/>
                    <a:pt x="238" y="265"/>
                  </a:cubicBezTo>
                  <a:cubicBezTo>
                    <a:pt x="242" y="266"/>
                    <a:pt x="242" y="266"/>
                    <a:pt x="246" y="267"/>
                  </a:cubicBezTo>
                  <a:cubicBezTo>
                    <a:pt x="244" y="269"/>
                    <a:pt x="246" y="272"/>
                    <a:pt x="250" y="275"/>
                  </a:cubicBezTo>
                  <a:cubicBezTo>
                    <a:pt x="247" y="275"/>
                    <a:pt x="244" y="274"/>
                    <a:pt x="243" y="273"/>
                  </a:cubicBezTo>
                  <a:cubicBezTo>
                    <a:pt x="244" y="276"/>
                    <a:pt x="243" y="279"/>
                    <a:pt x="241" y="282"/>
                  </a:cubicBezTo>
                  <a:cubicBezTo>
                    <a:pt x="248" y="282"/>
                    <a:pt x="242" y="286"/>
                    <a:pt x="247" y="286"/>
                  </a:cubicBezTo>
                  <a:cubicBezTo>
                    <a:pt x="249" y="284"/>
                    <a:pt x="254" y="284"/>
                    <a:pt x="257" y="286"/>
                  </a:cubicBezTo>
                  <a:cubicBezTo>
                    <a:pt x="256" y="286"/>
                    <a:pt x="254" y="285"/>
                    <a:pt x="252" y="285"/>
                  </a:cubicBezTo>
                  <a:cubicBezTo>
                    <a:pt x="256" y="287"/>
                    <a:pt x="246" y="286"/>
                    <a:pt x="252" y="288"/>
                  </a:cubicBezTo>
                  <a:cubicBezTo>
                    <a:pt x="250" y="285"/>
                    <a:pt x="244" y="286"/>
                    <a:pt x="239" y="284"/>
                  </a:cubicBezTo>
                  <a:cubicBezTo>
                    <a:pt x="241" y="287"/>
                    <a:pt x="235" y="283"/>
                    <a:pt x="235" y="285"/>
                  </a:cubicBezTo>
                  <a:cubicBezTo>
                    <a:pt x="237" y="288"/>
                    <a:pt x="239" y="291"/>
                    <a:pt x="240" y="294"/>
                  </a:cubicBezTo>
                  <a:cubicBezTo>
                    <a:pt x="234" y="296"/>
                    <a:pt x="238" y="301"/>
                    <a:pt x="238" y="304"/>
                  </a:cubicBezTo>
                  <a:cubicBezTo>
                    <a:pt x="235" y="305"/>
                    <a:pt x="229" y="303"/>
                    <a:pt x="228" y="304"/>
                  </a:cubicBezTo>
                  <a:cubicBezTo>
                    <a:pt x="228" y="306"/>
                    <a:pt x="234" y="304"/>
                    <a:pt x="231" y="306"/>
                  </a:cubicBezTo>
                  <a:lnTo>
                    <a:pt x="230" y="306"/>
                  </a:lnTo>
                  <a:cubicBezTo>
                    <a:pt x="231" y="307"/>
                    <a:pt x="225" y="310"/>
                    <a:pt x="233" y="312"/>
                  </a:cubicBezTo>
                  <a:lnTo>
                    <a:pt x="227" y="310"/>
                  </a:lnTo>
                  <a:cubicBezTo>
                    <a:pt x="226" y="310"/>
                    <a:pt x="228" y="311"/>
                    <a:pt x="228" y="312"/>
                  </a:cubicBezTo>
                  <a:cubicBezTo>
                    <a:pt x="226" y="311"/>
                    <a:pt x="224" y="312"/>
                    <a:pt x="223" y="311"/>
                  </a:cubicBezTo>
                  <a:cubicBezTo>
                    <a:pt x="218" y="311"/>
                    <a:pt x="223" y="314"/>
                    <a:pt x="223" y="316"/>
                  </a:cubicBezTo>
                  <a:lnTo>
                    <a:pt x="227" y="315"/>
                  </a:lnTo>
                  <a:cubicBezTo>
                    <a:pt x="229" y="319"/>
                    <a:pt x="225" y="320"/>
                    <a:pt x="226" y="323"/>
                  </a:cubicBezTo>
                  <a:lnTo>
                    <a:pt x="222" y="323"/>
                  </a:lnTo>
                  <a:lnTo>
                    <a:pt x="224" y="325"/>
                  </a:lnTo>
                  <a:cubicBezTo>
                    <a:pt x="221" y="324"/>
                    <a:pt x="218" y="325"/>
                    <a:pt x="221" y="326"/>
                  </a:cubicBezTo>
                  <a:lnTo>
                    <a:pt x="213" y="320"/>
                  </a:lnTo>
                  <a:cubicBezTo>
                    <a:pt x="215" y="320"/>
                    <a:pt x="217" y="323"/>
                    <a:pt x="221" y="322"/>
                  </a:cubicBezTo>
                  <a:cubicBezTo>
                    <a:pt x="224" y="322"/>
                    <a:pt x="223" y="319"/>
                    <a:pt x="220" y="318"/>
                  </a:cubicBezTo>
                  <a:cubicBezTo>
                    <a:pt x="219" y="319"/>
                    <a:pt x="220" y="319"/>
                    <a:pt x="221" y="320"/>
                  </a:cubicBezTo>
                  <a:cubicBezTo>
                    <a:pt x="216" y="320"/>
                    <a:pt x="217" y="318"/>
                    <a:pt x="213" y="317"/>
                  </a:cubicBezTo>
                  <a:cubicBezTo>
                    <a:pt x="214" y="318"/>
                    <a:pt x="212" y="318"/>
                    <a:pt x="213" y="319"/>
                  </a:cubicBezTo>
                  <a:cubicBezTo>
                    <a:pt x="211" y="317"/>
                    <a:pt x="211" y="316"/>
                    <a:pt x="211" y="314"/>
                  </a:cubicBezTo>
                  <a:cubicBezTo>
                    <a:pt x="213" y="316"/>
                    <a:pt x="215" y="314"/>
                    <a:pt x="216" y="315"/>
                  </a:cubicBezTo>
                  <a:cubicBezTo>
                    <a:pt x="211" y="314"/>
                    <a:pt x="210" y="312"/>
                    <a:pt x="212" y="310"/>
                  </a:cubicBezTo>
                  <a:cubicBezTo>
                    <a:pt x="218" y="309"/>
                    <a:pt x="210" y="305"/>
                    <a:pt x="212" y="303"/>
                  </a:cubicBezTo>
                  <a:cubicBezTo>
                    <a:pt x="216" y="305"/>
                    <a:pt x="219" y="307"/>
                    <a:pt x="221" y="308"/>
                  </a:cubicBezTo>
                  <a:cubicBezTo>
                    <a:pt x="223" y="307"/>
                    <a:pt x="221" y="307"/>
                    <a:pt x="224" y="305"/>
                  </a:cubicBezTo>
                  <a:cubicBezTo>
                    <a:pt x="220" y="304"/>
                    <a:pt x="215" y="303"/>
                    <a:pt x="214" y="300"/>
                  </a:cubicBezTo>
                  <a:lnTo>
                    <a:pt x="217" y="301"/>
                  </a:lnTo>
                  <a:cubicBezTo>
                    <a:pt x="216" y="298"/>
                    <a:pt x="211" y="297"/>
                    <a:pt x="212" y="295"/>
                  </a:cubicBezTo>
                  <a:cubicBezTo>
                    <a:pt x="215" y="291"/>
                    <a:pt x="216" y="287"/>
                    <a:pt x="217" y="284"/>
                  </a:cubicBezTo>
                  <a:lnTo>
                    <a:pt x="220" y="284"/>
                  </a:lnTo>
                  <a:cubicBezTo>
                    <a:pt x="214" y="281"/>
                    <a:pt x="219" y="278"/>
                    <a:pt x="216" y="275"/>
                  </a:cubicBezTo>
                  <a:cubicBezTo>
                    <a:pt x="220" y="271"/>
                    <a:pt x="215" y="265"/>
                    <a:pt x="221" y="264"/>
                  </a:cubicBezTo>
                  <a:cubicBezTo>
                    <a:pt x="220" y="257"/>
                    <a:pt x="218" y="249"/>
                    <a:pt x="222" y="243"/>
                  </a:cubicBezTo>
                  <a:lnTo>
                    <a:pt x="226" y="245"/>
                  </a:lnTo>
                  <a:cubicBezTo>
                    <a:pt x="223" y="243"/>
                    <a:pt x="229" y="245"/>
                    <a:pt x="229" y="244"/>
                  </a:cubicBezTo>
                  <a:cubicBezTo>
                    <a:pt x="225" y="244"/>
                    <a:pt x="225" y="240"/>
                    <a:pt x="222" y="239"/>
                  </a:cubicBezTo>
                  <a:cubicBezTo>
                    <a:pt x="227" y="237"/>
                    <a:pt x="224" y="231"/>
                    <a:pt x="222" y="227"/>
                  </a:cubicBezTo>
                  <a:lnTo>
                    <a:pt x="225" y="228"/>
                  </a:lnTo>
                  <a:cubicBezTo>
                    <a:pt x="220" y="224"/>
                    <a:pt x="226" y="222"/>
                    <a:pt x="229" y="218"/>
                  </a:cubicBezTo>
                  <a:cubicBezTo>
                    <a:pt x="230" y="218"/>
                    <a:pt x="233" y="219"/>
                    <a:pt x="233" y="217"/>
                  </a:cubicBezTo>
                  <a:cubicBezTo>
                    <a:pt x="229" y="214"/>
                    <a:pt x="229" y="213"/>
                    <a:pt x="227" y="209"/>
                  </a:cubicBezTo>
                  <a:cubicBezTo>
                    <a:pt x="228" y="207"/>
                    <a:pt x="230" y="204"/>
                    <a:pt x="233" y="203"/>
                  </a:cubicBezTo>
                  <a:cubicBezTo>
                    <a:pt x="228" y="192"/>
                    <a:pt x="235" y="186"/>
                    <a:pt x="234" y="176"/>
                  </a:cubicBezTo>
                  <a:lnTo>
                    <a:pt x="238" y="177"/>
                  </a:lnTo>
                  <a:cubicBezTo>
                    <a:pt x="232" y="166"/>
                    <a:pt x="243" y="159"/>
                    <a:pt x="242" y="151"/>
                  </a:cubicBezTo>
                  <a:lnTo>
                    <a:pt x="248" y="154"/>
                  </a:lnTo>
                  <a:cubicBezTo>
                    <a:pt x="250" y="152"/>
                    <a:pt x="248" y="148"/>
                    <a:pt x="243" y="147"/>
                  </a:cubicBezTo>
                  <a:cubicBezTo>
                    <a:pt x="246" y="146"/>
                    <a:pt x="242" y="141"/>
                    <a:pt x="248" y="141"/>
                  </a:cubicBezTo>
                  <a:cubicBezTo>
                    <a:pt x="250" y="140"/>
                    <a:pt x="246" y="138"/>
                    <a:pt x="246" y="136"/>
                  </a:cubicBezTo>
                  <a:cubicBezTo>
                    <a:pt x="250" y="132"/>
                    <a:pt x="250" y="130"/>
                    <a:pt x="251" y="126"/>
                  </a:cubicBezTo>
                  <a:lnTo>
                    <a:pt x="250" y="127"/>
                  </a:lnTo>
                  <a:cubicBezTo>
                    <a:pt x="251" y="128"/>
                    <a:pt x="254" y="129"/>
                    <a:pt x="255" y="128"/>
                  </a:cubicBezTo>
                  <a:cubicBezTo>
                    <a:pt x="253" y="126"/>
                    <a:pt x="258" y="123"/>
                    <a:pt x="250" y="122"/>
                  </a:cubicBezTo>
                  <a:cubicBezTo>
                    <a:pt x="256" y="119"/>
                    <a:pt x="251" y="110"/>
                    <a:pt x="258" y="109"/>
                  </a:cubicBezTo>
                  <a:cubicBezTo>
                    <a:pt x="256" y="108"/>
                    <a:pt x="256" y="107"/>
                    <a:pt x="255" y="106"/>
                  </a:cubicBezTo>
                  <a:cubicBezTo>
                    <a:pt x="257" y="102"/>
                    <a:pt x="262" y="100"/>
                    <a:pt x="260" y="95"/>
                  </a:cubicBezTo>
                  <a:cubicBezTo>
                    <a:pt x="261" y="95"/>
                    <a:pt x="263" y="98"/>
                    <a:pt x="264" y="96"/>
                  </a:cubicBezTo>
                  <a:cubicBezTo>
                    <a:pt x="264" y="95"/>
                    <a:pt x="261" y="95"/>
                    <a:pt x="261" y="94"/>
                  </a:cubicBezTo>
                  <a:cubicBezTo>
                    <a:pt x="260" y="86"/>
                    <a:pt x="270" y="83"/>
                    <a:pt x="271" y="77"/>
                  </a:cubicBezTo>
                  <a:cubicBezTo>
                    <a:pt x="272" y="66"/>
                    <a:pt x="279" y="57"/>
                    <a:pt x="282" y="47"/>
                  </a:cubicBezTo>
                  <a:lnTo>
                    <a:pt x="284" y="48"/>
                  </a:lnTo>
                  <a:cubicBezTo>
                    <a:pt x="280" y="42"/>
                    <a:pt x="293" y="44"/>
                    <a:pt x="286" y="37"/>
                  </a:cubicBezTo>
                  <a:cubicBezTo>
                    <a:pt x="287" y="37"/>
                    <a:pt x="288" y="35"/>
                    <a:pt x="290" y="37"/>
                  </a:cubicBezTo>
                  <a:cubicBezTo>
                    <a:pt x="287" y="32"/>
                    <a:pt x="297" y="32"/>
                    <a:pt x="294" y="26"/>
                  </a:cubicBezTo>
                  <a:lnTo>
                    <a:pt x="294" y="27"/>
                  </a:lnTo>
                  <a:cubicBezTo>
                    <a:pt x="299" y="25"/>
                    <a:pt x="296" y="20"/>
                    <a:pt x="301" y="17"/>
                  </a:cubicBezTo>
                  <a:cubicBezTo>
                    <a:pt x="301" y="18"/>
                    <a:pt x="301" y="19"/>
                    <a:pt x="303" y="20"/>
                  </a:cubicBezTo>
                  <a:cubicBezTo>
                    <a:pt x="306" y="20"/>
                    <a:pt x="298" y="13"/>
                    <a:pt x="306" y="16"/>
                  </a:cubicBezTo>
                  <a:cubicBezTo>
                    <a:pt x="306" y="15"/>
                    <a:pt x="302" y="14"/>
                    <a:pt x="302" y="14"/>
                  </a:cubicBezTo>
                  <a:lnTo>
                    <a:pt x="306" y="8"/>
                  </a:lnTo>
                  <a:lnTo>
                    <a:pt x="306" y="8"/>
                  </a:lnTo>
                  <a:lnTo>
                    <a:pt x="306" y="8"/>
                  </a:lnTo>
                  <a:lnTo>
                    <a:pt x="306" y="8"/>
                  </a:lnTo>
                  <a:lnTo>
                    <a:pt x="306" y="8"/>
                  </a:lnTo>
                  <a:lnTo>
                    <a:pt x="306" y="8"/>
                  </a:lnTo>
                  <a:lnTo>
                    <a:pt x="306" y="8"/>
                  </a:lnTo>
                  <a:cubicBezTo>
                    <a:pt x="369" y="70"/>
                    <a:pt x="324" y="25"/>
                    <a:pt x="338" y="39"/>
                  </a:cubicBezTo>
                  <a:lnTo>
                    <a:pt x="337" y="39"/>
                  </a:lnTo>
                  <a:lnTo>
                    <a:pt x="336" y="40"/>
                  </a:lnTo>
                  <a:lnTo>
                    <a:pt x="335" y="41"/>
                  </a:lnTo>
                  <a:lnTo>
                    <a:pt x="332" y="43"/>
                  </a:lnTo>
                  <a:lnTo>
                    <a:pt x="320" y="52"/>
                  </a:lnTo>
                  <a:cubicBezTo>
                    <a:pt x="312" y="51"/>
                    <a:pt x="314" y="41"/>
                    <a:pt x="312" y="48"/>
                  </a:cubicBezTo>
                  <a:cubicBezTo>
                    <a:pt x="311" y="47"/>
                    <a:pt x="313" y="51"/>
                    <a:pt x="312" y="50"/>
                  </a:cubicBezTo>
                  <a:cubicBezTo>
                    <a:pt x="311" y="52"/>
                    <a:pt x="305" y="43"/>
                    <a:pt x="306" y="47"/>
                  </a:cubicBezTo>
                  <a:cubicBezTo>
                    <a:pt x="308" y="51"/>
                    <a:pt x="306" y="50"/>
                    <a:pt x="307" y="53"/>
                  </a:cubicBezTo>
                  <a:cubicBezTo>
                    <a:pt x="302" y="52"/>
                    <a:pt x="299" y="48"/>
                    <a:pt x="298" y="53"/>
                  </a:cubicBezTo>
                  <a:lnTo>
                    <a:pt x="297" y="50"/>
                  </a:lnTo>
                  <a:cubicBezTo>
                    <a:pt x="296" y="58"/>
                    <a:pt x="290" y="56"/>
                    <a:pt x="290" y="65"/>
                  </a:cubicBezTo>
                  <a:cubicBezTo>
                    <a:pt x="270" y="75"/>
                    <a:pt x="251" y="86"/>
                    <a:pt x="230" y="92"/>
                  </a:cubicBezTo>
                  <a:cubicBezTo>
                    <a:pt x="209" y="96"/>
                    <a:pt x="188" y="103"/>
                    <a:pt x="165" y="101"/>
                  </a:cubicBezTo>
                  <a:cubicBezTo>
                    <a:pt x="159" y="94"/>
                    <a:pt x="159" y="94"/>
                    <a:pt x="153" y="97"/>
                  </a:cubicBezTo>
                  <a:lnTo>
                    <a:pt x="153" y="95"/>
                  </a:lnTo>
                  <a:cubicBezTo>
                    <a:pt x="153" y="101"/>
                    <a:pt x="149" y="96"/>
                    <a:pt x="149" y="101"/>
                  </a:cubicBezTo>
                  <a:cubicBezTo>
                    <a:pt x="140" y="100"/>
                    <a:pt x="133" y="103"/>
                    <a:pt x="124" y="102"/>
                  </a:cubicBezTo>
                  <a:cubicBezTo>
                    <a:pt x="125" y="101"/>
                    <a:pt x="126" y="97"/>
                    <a:pt x="125" y="97"/>
                  </a:cubicBezTo>
                  <a:lnTo>
                    <a:pt x="123" y="101"/>
                  </a:lnTo>
                  <a:lnTo>
                    <a:pt x="123" y="99"/>
                  </a:lnTo>
                  <a:cubicBezTo>
                    <a:pt x="121" y="100"/>
                    <a:pt x="120" y="102"/>
                    <a:pt x="121" y="104"/>
                  </a:cubicBezTo>
                  <a:cubicBezTo>
                    <a:pt x="98" y="107"/>
                    <a:pt x="78" y="94"/>
                    <a:pt x="57" y="88"/>
                  </a:cubicBezTo>
                  <a:cubicBezTo>
                    <a:pt x="53" y="84"/>
                    <a:pt x="45" y="84"/>
                    <a:pt x="39" y="83"/>
                  </a:cubicBezTo>
                  <a:cubicBezTo>
                    <a:pt x="27" y="69"/>
                    <a:pt x="17" y="57"/>
                    <a:pt x="0" y="54"/>
                  </a:cubicBezTo>
                  <a:cubicBezTo>
                    <a:pt x="0" y="54"/>
                    <a:pt x="10" y="43"/>
                    <a:pt x="17" y="4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24" name="Freeform 575">
              <a:extLst>
                <a:ext uri="{FF2B5EF4-FFF2-40B4-BE49-F238E27FC236}">
                  <a16:creationId xmlns:a16="http://schemas.microsoft.com/office/drawing/2014/main" id="{DF08F79A-4E63-EF51-752D-2552BC791076}"/>
                </a:ext>
              </a:extLst>
            </p:cNvPr>
            <p:cNvSpPr>
              <a:spLocks/>
            </p:cNvSpPr>
            <p:nvPr/>
          </p:nvSpPr>
          <p:spPr bwMode="auto">
            <a:xfrm rot="4649017" flipH="1">
              <a:off x="13055511" y="5836585"/>
              <a:ext cx="8196" cy="0"/>
            </a:xfrm>
            <a:custGeom>
              <a:avLst/>
              <a:gdLst>
                <a:gd name="T0" fmla="*/ 0 w 8"/>
                <a:gd name="T1" fmla="*/ 2 h 2"/>
                <a:gd name="T2" fmla="*/ 8 w 8"/>
                <a:gd name="T3" fmla="*/ 2 h 2"/>
                <a:gd name="T4" fmla="*/ 0 w 8"/>
                <a:gd name="T5" fmla="*/ 2 h 2"/>
              </a:gdLst>
              <a:ahLst/>
              <a:cxnLst>
                <a:cxn ang="0">
                  <a:pos x="T0" y="T1"/>
                </a:cxn>
                <a:cxn ang="0">
                  <a:pos x="T2" y="T3"/>
                </a:cxn>
                <a:cxn ang="0">
                  <a:pos x="T4" y="T5"/>
                </a:cxn>
              </a:cxnLst>
              <a:rect l="0" t="0" r="r" b="b"/>
              <a:pathLst>
                <a:path w="8" h="2">
                  <a:moveTo>
                    <a:pt x="0" y="2"/>
                  </a:moveTo>
                  <a:cubicBezTo>
                    <a:pt x="3" y="2"/>
                    <a:pt x="4" y="0"/>
                    <a:pt x="8" y="2"/>
                  </a:cubicBez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25" name="Freeform 576">
              <a:extLst>
                <a:ext uri="{FF2B5EF4-FFF2-40B4-BE49-F238E27FC236}">
                  <a16:creationId xmlns:a16="http://schemas.microsoft.com/office/drawing/2014/main" id="{C0D0266B-6C7A-9B16-9934-32F9C3E2A248}"/>
                </a:ext>
              </a:extLst>
            </p:cNvPr>
            <p:cNvSpPr>
              <a:spLocks/>
            </p:cNvSpPr>
            <p:nvPr/>
          </p:nvSpPr>
          <p:spPr bwMode="auto">
            <a:xfrm rot="4649017" flipH="1">
              <a:off x="13093424" y="5790881"/>
              <a:ext cx="2733" cy="3030"/>
            </a:xfrm>
            <a:custGeom>
              <a:avLst/>
              <a:gdLst>
                <a:gd name="T0" fmla="*/ 1 w 5"/>
                <a:gd name="T1" fmla="*/ 1 h 2"/>
                <a:gd name="T2" fmla="*/ 2 w 5"/>
                <a:gd name="T3" fmla="*/ 0 h 2"/>
                <a:gd name="T4" fmla="*/ 3 w 5"/>
                <a:gd name="T5" fmla="*/ 2 h 2"/>
                <a:gd name="T6" fmla="*/ 1 w 5"/>
                <a:gd name="T7" fmla="*/ 1 h 2"/>
              </a:gdLst>
              <a:ahLst/>
              <a:cxnLst>
                <a:cxn ang="0">
                  <a:pos x="T0" y="T1"/>
                </a:cxn>
                <a:cxn ang="0">
                  <a:pos x="T2" y="T3"/>
                </a:cxn>
                <a:cxn ang="0">
                  <a:pos x="T4" y="T5"/>
                </a:cxn>
                <a:cxn ang="0">
                  <a:pos x="T6" y="T7"/>
                </a:cxn>
              </a:cxnLst>
              <a:rect l="0" t="0" r="r" b="b"/>
              <a:pathLst>
                <a:path w="5" h="2">
                  <a:moveTo>
                    <a:pt x="1" y="1"/>
                  </a:moveTo>
                  <a:cubicBezTo>
                    <a:pt x="0" y="0"/>
                    <a:pt x="2" y="0"/>
                    <a:pt x="2" y="0"/>
                  </a:cubicBezTo>
                  <a:cubicBezTo>
                    <a:pt x="2" y="1"/>
                    <a:pt x="5" y="2"/>
                    <a:pt x="3" y="2"/>
                  </a:cubicBezTo>
                  <a:cubicBezTo>
                    <a:pt x="3" y="1"/>
                    <a:pt x="2" y="1"/>
                    <a:pt x="1"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26" name="Freeform 577">
              <a:extLst>
                <a:ext uri="{FF2B5EF4-FFF2-40B4-BE49-F238E27FC236}">
                  <a16:creationId xmlns:a16="http://schemas.microsoft.com/office/drawing/2014/main" id="{39D3F817-B9A2-1019-799B-803D96D0A647}"/>
                </a:ext>
              </a:extLst>
            </p:cNvPr>
            <p:cNvSpPr>
              <a:spLocks/>
            </p:cNvSpPr>
            <p:nvPr/>
          </p:nvSpPr>
          <p:spPr bwMode="auto">
            <a:xfrm rot="4649017" flipH="1">
              <a:off x="13101521" y="5783068"/>
              <a:ext cx="5464" cy="6058"/>
            </a:xfrm>
            <a:custGeom>
              <a:avLst/>
              <a:gdLst>
                <a:gd name="T0" fmla="*/ 0 w 3"/>
                <a:gd name="T1" fmla="*/ 0 h 5"/>
                <a:gd name="T2" fmla="*/ 3 w 3"/>
                <a:gd name="T3" fmla="*/ 5 h 5"/>
                <a:gd name="T4" fmla="*/ 0 w 3"/>
                <a:gd name="T5" fmla="*/ 0 h 5"/>
              </a:gdLst>
              <a:ahLst/>
              <a:cxnLst>
                <a:cxn ang="0">
                  <a:pos x="T0" y="T1"/>
                </a:cxn>
                <a:cxn ang="0">
                  <a:pos x="T2" y="T3"/>
                </a:cxn>
                <a:cxn ang="0">
                  <a:pos x="T4" y="T5"/>
                </a:cxn>
              </a:cxnLst>
              <a:rect l="0" t="0" r="r" b="b"/>
              <a:pathLst>
                <a:path w="3" h="5">
                  <a:moveTo>
                    <a:pt x="0" y="0"/>
                  </a:moveTo>
                  <a:cubicBezTo>
                    <a:pt x="2" y="1"/>
                    <a:pt x="3" y="3"/>
                    <a:pt x="3" y="5"/>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27" name="Freeform 578">
              <a:extLst>
                <a:ext uri="{FF2B5EF4-FFF2-40B4-BE49-F238E27FC236}">
                  <a16:creationId xmlns:a16="http://schemas.microsoft.com/office/drawing/2014/main" id="{93B72DB7-EB7F-D038-D8BF-E05B746B27E6}"/>
                </a:ext>
              </a:extLst>
            </p:cNvPr>
            <p:cNvSpPr>
              <a:spLocks/>
            </p:cNvSpPr>
            <p:nvPr/>
          </p:nvSpPr>
          <p:spPr bwMode="auto">
            <a:xfrm rot="4649017" flipH="1">
              <a:off x="13112053" y="5771470"/>
              <a:ext cx="2733" cy="0"/>
            </a:xfrm>
            <a:custGeom>
              <a:avLst/>
              <a:gdLst>
                <a:gd name="T0" fmla="*/ 0 w 4"/>
                <a:gd name="T1" fmla="*/ 0 h 1"/>
                <a:gd name="T2" fmla="*/ 3 w 4"/>
                <a:gd name="T3" fmla="*/ 1 h 1"/>
                <a:gd name="T4" fmla="*/ 0 w 4"/>
                <a:gd name="T5" fmla="*/ 0 h 1"/>
              </a:gdLst>
              <a:ahLst/>
              <a:cxnLst>
                <a:cxn ang="0">
                  <a:pos x="T0" y="T1"/>
                </a:cxn>
                <a:cxn ang="0">
                  <a:pos x="T2" y="T3"/>
                </a:cxn>
                <a:cxn ang="0">
                  <a:pos x="T4" y="T5"/>
                </a:cxn>
              </a:cxnLst>
              <a:rect l="0" t="0" r="r" b="b"/>
              <a:pathLst>
                <a:path w="4" h="1">
                  <a:moveTo>
                    <a:pt x="0" y="0"/>
                  </a:moveTo>
                  <a:cubicBezTo>
                    <a:pt x="3" y="0"/>
                    <a:pt x="4" y="0"/>
                    <a:pt x="3" y="1"/>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28" name="Freeform 579">
              <a:extLst>
                <a:ext uri="{FF2B5EF4-FFF2-40B4-BE49-F238E27FC236}">
                  <a16:creationId xmlns:a16="http://schemas.microsoft.com/office/drawing/2014/main" id="{D945F7B7-67B1-C7F9-22C1-79A4B54F9CDC}"/>
                </a:ext>
              </a:extLst>
            </p:cNvPr>
            <p:cNvSpPr>
              <a:spLocks/>
            </p:cNvSpPr>
            <p:nvPr/>
          </p:nvSpPr>
          <p:spPr bwMode="auto">
            <a:xfrm rot="4649017" flipH="1">
              <a:off x="13116194" y="5773119"/>
              <a:ext cx="2733" cy="6058"/>
            </a:xfrm>
            <a:custGeom>
              <a:avLst/>
              <a:gdLst>
                <a:gd name="T0" fmla="*/ 0 w 4"/>
                <a:gd name="T1" fmla="*/ 2 h 3"/>
                <a:gd name="T2" fmla="*/ 3 w 4"/>
                <a:gd name="T3" fmla="*/ 1 h 3"/>
                <a:gd name="T4" fmla="*/ 0 w 4"/>
                <a:gd name="T5" fmla="*/ 2 h 3"/>
              </a:gdLst>
              <a:ahLst/>
              <a:cxnLst>
                <a:cxn ang="0">
                  <a:pos x="T0" y="T1"/>
                </a:cxn>
                <a:cxn ang="0">
                  <a:pos x="T2" y="T3"/>
                </a:cxn>
                <a:cxn ang="0">
                  <a:pos x="T4" y="T5"/>
                </a:cxn>
              </a:cxnLst>
              <a:rect l="0" t="0" r="r" b="b"/>
              <a:pathLst>
                <a:path w="4" h="3">
                  <a:moveTo>
                    <a:pt x="0" y="2"/>
                  </a:moveTo>
                  <a:cubicBezTo>
                    <a:pt x="0" y="1"/>
                    <a:pt x="2" y="1"/>
                    <a:pt x="3" y="1"/>
                  </a:cubicBezTo>
                  <a:cubicBezTo>
                    <a:pt x="1" y="0"/>
                    <a:pt x="4" y="3"/>
                    <a:pt x="0"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29" name="Freeform 580">
              <a:extLst>
                <a:ext uri="{FF2B5EF4-FFF2-40B4-BE49-F238E27FC236}">
                  <a16:creationId xmlns:a16="http://schemas.microsoft.com/office/drawing/2014/main" id="{19728690-C2E7-EF80-57AA-C87270D21178}"/>
                </a:ext>
              </a:extLst>
            </p:cNvPr>
            <p:cNvSpPr>
              <a:spLocks/>
            </p:cNvSpPr>
            <p:nvPr/>
          </p:nvSpPr>
          <p:spPr bwMode="auto">
            <a:xfrm rot="4649017" flipH="1">
              <a:off x="13134342" y="5757709"/>
              <a:ext cx="5464" cy="3030"/>
            </a:xfrm>
            <a:custGeom>
              <a:avLst/>
              <a:gdLst>
                <a:gd name="T0" fmla="*/ 2 w 5"/>
                <a:gd name="T1" fmla="*/ 2 h 3"/>
                <a:gd name="T2" fmla="*/ 3 w 5"/>
                <a:gd name="T3" fmla="*/ 0 h 3"/>
                <a:gd name="T4" fmla="*/ 2 w 5"/>
                <a:gd name="T5" fmla="*/ 2 h 3"/>
              </a:gdLst>
              <a:ahLst/>
              <a:cxnLst>
                <a:cxn ang="0">
                  <a:pos x="T0" y="T1"/>
                </a:cxn>
                <a:cxn ang="0">
                  <a:pos x="T2" y="T3"/>
                </a:cxn>
                <a:cxn ang="0">
                  <a:pos x="T4" y="T5"/>
                </a:cxn>
              </a:cxnLst>
              <a:rect l="0" t="0" r="r" b="b"/>
              <a:pathLst>
                <a:path w="5" h="3">
                  <a:moveTo>
                    <a:pt x="2" y="2"/>
                  </a:moveTo>
                  <a:cubicBezTo>
                    <a:pt x="2" y="1"/>
                    <a:pt x="0" y="0"/>
                    <a:pt x="3" y="0"/>
                  </a:cubicBezTo>
                  <a:cubicBezTo>
                    <a:pt x="1" y="0"/>
                    <a:pt x="5" y="3"/>
                    <a:pt x="2"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30" name="Freeform 581">
              <a:extLst>
                <a:ext uri="{FF2B5EF4-FFF2-40B4-BE49-F238E27FC236}">
                  <a16:creationId xmlns:a16="http://schemas.microsoft.com/office/drawing/2014/main" id="{2B72D663-8E4C-74AA-746B-363265F97BE6}"/>
                </a:ext>
              </a:extLst>
            </p:cNvPr>
            <p:cNvSpPr>
              <a:spLocks/>
            </p:cNvSpPr>
            <p:nvPr/>
          </p:nvSpPr>
          <p:spPr bwMode="auto">
            <a:xfrm rot="4649017" flipH="1">
              <a:off x="13148719" y="5754935"/>
              <a:ext cx="2733" cy="0"/>
            </a:xfrm>
            <a:custGeom>
              <a:avLst/>
              <a:gdLst>
                <a:gd name="T0" fmla="*/ 0 w 3"/>
                <a:gd name="T1" fmla="*/ 1 h 1"/>
                <a:gd name="T2" fmla="*/ 0 w 3"/>
                <a:gd name="T3" fmla="*/ 0 h 1"/>
                <a:gd name="T4" fmla="*/ 3 w 3"/>
                <a:gd name="T5" fmla="*/ 1 h 1"/>
                <a:gd name="T6" fmla="*/ 0 w 3"/>
                <a:gd name="T7" fmla="*/ 1 h 1"/>
              </a:gdLst>
              <a:ahLst/>
              <a:cxnLst>
                <a:cxn ang="0">
                  <a:pos x="T0" y="T1"/>
                </a:cxn>
                <a:cxn ang="0">
                  <a:pos x="T2" y="T3"/>
                </a:cxn>
                <a:cxn ang="0">
                  <a:pos x="T4" y="T5"/>
                </a:cxn>
                <a:cxn ang="0">
                  <a:pos x="T6" y="T7"/>
                </a:cxn>
              </a:cxnLst>
              <a:rect l="0" t="0" r="r" b="b"/>
              <a:pathLst>
                <a:path w="3" h="1">
                  <a:moveTo>
                    <a:pt x="0" y="1"/>
                  </a:moveTo>
                  <a:lnTo>
                    <a:pt x="0" y="0"/>
                  </a:lnTo>
                  <a:cubicBezTo>
                    <a:pt x="1" y="0"/>
                    <a:pt x="3" y="1"/>
                    <a:pt x="3" y="1"/>
                  </a:cubicBezTo>
                  <a:lnTo>
                    <a:pt x="0" y="1"/>
                  </a:ln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31" name="Freeform 582">
              <a:extLst>
                <a:ext uri="{FF2B5EF4-FFF2-40B4-BE49-F238E27FC236}">
                  <a16:creationId xmlns:a16="http://schemas.microsoft.com/office/drawing/2014/main" id="{B2A2CBF7-4D21-43A2-87AB-8FA4AEBF5391}"/>
                </a:ext>
              </a:extLst>
            </p:cNvPr>
            <p:cNvSpPr>
              <a:spLocks/>
            </p:cNvSpPr>
            <p:nvPr/>
          </p:nvSpPr>
          <p:spPr bwMode="auto">
            <a:xfrm rot="4649017" flipH="1">
              <a:off x="13343585" y="5645798"/>
              <a:ext cx="2733" cy="3030"/>
            </a:xfrm>
            <a:custGeom>
              <a:avLst/>
              <a:gdLst>
                <a:gd name="T0" fmla="*/ 2 w 2"/>
                <a:gd name="T1" fmla="*/ 0 h 2"/>
                <a:gd name="T2" fmla="*/ 2 w 2"/>
                <a:gd name="T3" fmla="*/ 2 h 2"/>
                <a:gd name="T4" fmla="*/ 0 w 2"/>
                <a:gd name="T5" fmla="*/ 1 h 2"/>
                <a:gd name="T6" fmla="*/ 2 w 2"/>
                <a:gd name="T7" fmla="*/ 0 h 2"/>
              </a:gdLst>
              <a:ahLst/>
              <a:cxnLst>
                <a:cxn ang="0">
                  <a:pos x="T0" y="T1"/>
                </a:cxn>
                <a:cxn ang="0">
                  <a:pos x="T2" y="T3"/>
                </a:cxn>
                <a:cxn ang="0">
                  <a:pos x="T4" y="T5"/>
                </a:cxn>
                <a:cxn ang="0">
                  <a:pos x="T6" y="T7"/>
                </a:cxn>
              </a:cxnLst>
              <a:rect l="0" t="0" r="r" b="b"/>
              <a:pathLst>
                <a:path w="2" h="2">
                  <a:moveTo>
                    <a:pt x="2" y="0"/>
                  </a:moveTo>
                  <a:lnTo>
                    <a:pt x="2" y="2"/>
                  </a:lnTo>
                  <a:lnTo>
                    <a:pt x="0" y="1"/>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32" name="Freeform 583">
              <a:extLst>
                <a:ext uri="{FF2B5EF4-FFF2-40B4-BE49-F238E27FC236}">
                  <a16:creationId xmlns:a16="http://schemas.microsoft.com/office/drawing/2014/main" id="{8370565A-E734-8725-6A49-C3B52FA3F7CD}"/>
                </a:ext>
              </a:extLst>
            </p:cNvPr>
            <p:cNvSpPr>
              <a:spLocks/>
            </p:cNvSpPr>
            <p:nvPr/>
          </p:nvSpPr>
          <p:spPr bwMode="auto">
            <a:xfrm rot="4649017" flipH="1">
              <a:off x="13389436" y="5704064"/>
              <a:ext cx="2733" cy="6058"/>
            </a:xfrm>
            <a:custGeom>
              <a:avLst/>
              <a:gdLst>
                <a:gd name="T0" fmla="*/ 2 w 2"/>
                <a:gd name="T1" fmla="*/ 3 h 5"/>
                <a:gd name="T2" fmla="*/ 0 w 2"/>
                <a:gd name="T3" fmla="*/ 1 h 5"/>
                <a:gd name="T4" fmla="*/ 2 w 2"/>
                <a:gd name="T5" fmla="*/ 3 h 5"/>
              </a:gdLst>
              <a:ahLst/>
              <a:cxnLst>
                <a:cxn ang="0">
                  <a:pos x="T0" y="T1"/>
                </a:cxn>
                <a:cxn ang="0">
                  <a:pos x="T2" y="T3"/>
                </a:cxn>
                <a:cxn ang="0">
                  <a:pos x="T4" y="T5"/>
                </a:cxn>
              </a:cxnLst>
              <a:rect l="0" t="0" r="r" b="b"/>
              <a:pathLst>
                <a:path w="2" h="5">
                  <a:moveTo>
                    <a:pt x="2" y="3"/>
                  </a:moveTo>
                  <a:cubicBezTo>
                    <a:pt x="2" y="5"/>
                    <a:pt x="1" y="1"/>
                    <a:pt x="0" y="1"/>
                  </a:cubicBezTo>
                  <a:cubicBezTo>
                    <a:pt x="1" y="0"/>
                    <a:pt x="1" y="4"/>
                    <a:pt x="2"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sp>
          <p:nvSpPr>
            <p:cNvPr id="11433" name="Freeform 584">
              <a:extLst>
                <a:ext uri="{FF2B5EF4-FFF2-40B4-BE49-F238E27FC236}">
                  <a16:creationId xmlns:a16="http://schemas.microsoft.com/office/drawing/2014/main" id="{2D5E751C-9954-3B52-318C-B6FE071BC21E}"/>
                </a:ext>
              </a:extLst>
            </p:cNvPr>
            <p:cNvSpPr>
              <a:spLocks/>
            </p:cNvSpPr>
            <p:nvPr/>
          </p:nvSpPr>
          <p:spPr bwMode="auto">
            <a:xfrm rot="4649017" flipH="1">
              <a:off x="13368745" y="5750634"/>
              <a:ext cx="2733" cy="6058"/>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lnTo>
                    <a:pt x="0" y="0"/>
                  </a:lnTo>
                  <a:lnTo>
                    <a:pt x="2" y="5"/>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0000"/>
                </a:solidFill>
                <a:effectLst/>
                <a:uLnTx/>
                <a:uFillTx/>
                <a:latin typeface="Arial" panose="020B0604020202020204"/>
                <a:ea typeface="+mn-ea"/>
                <a:cs typeface="+mn-cs"/>
              </a:endParaRPr>
            </a:p>
          </p:txBody>
        </p:sp>
      </p:grpSp>
      <p:pic>
        <p:nvPicPr>
          <p:cNvPr id="11434" name="Picture 11433">
            <a:extLst>
              <a:ext uri="{FF2B5EF4-FFF2-40B4-BE49-F238E27FC236}">
                <a16:creationId xmlns:a16="http://schemas.microsoft.com/office/drawing/2014/main" id="{5BBCF8DE-47C1-A459-32B6-0E4D883B13A6}"/>
              </a:ext>
            </a:extLst>
          </p:cNvPr>
          <p:cNvPicPr>
            <a:picLocks/>
          </p:cNvPicPr>
          <p:nvPr/>
        </p:nvPicPr>
        <p:blipFill>
          <a:blip r:embed="rId9"/>
          <a:stretch>
            <a:fillRect/>
          </a:stretch>
        </p:blipFill>
        <p:spPr>
          <a:xfrm>
            <a:off x="1037574" y="2173868"/>
            <a:ext cx="2063953" cy="1053933"/>
          </a:xfrm>
          <a:prstGeom prst="rect">
            <a:avLst/>
          </a:prstGeom>
        </p:spPr>
      </p:pic>
      <p:grpSp>
        <p:nvGrpSpPr>
          <p:cNvPr id="10688" name="Group 10687">
            <a:extLst>
              <a:ext uri="{FF2B5EF4-FFF2-40B4-BE49-F238E27FC236}">
                <a16:creationId xmlns:a16="http://schemas.microsoft.com/office/drawing/2014/main" id="{3D7BC3F6-C393-8626-EE9D-1FF9F2EC5CBF}"/>
              </a:ext>
            </a:extLst>
          </p:cNvPr>
          <p:cNvGrpSpPr/>
          <p:nvPr/>
        </p:nvGrpSpPr>
        <p:grpSpPr>
          <a:xfrm>
            <a:off x="5641977" y="2897032"/>
            <a:ext cx="364804" cy="272940"/>
            <a:chOff x="7204514" y="5278735"/>
            <a:chExt cx="334523" cy="250284"/>
          </a:xfrm>
        </p:grpSpPr>
        <p:grpSp>
          <p:nvGrpSpPr>
            <p:cNvPr id="10690" name="Graphic 641">
              <a:extLst>
                <a:ext uri="{FF2B5EF4-FFF2-40B4-BE49-F238E27FC236}">
                  <a16:creationId xmlns:a16="http://schemas.microsoft.com/office/drawing/2014/main" id="{009FE302-C69D-7024-0C6B-D1FB621F5203}"/>
                </a:ext>
              </a:extLst>
            </p:cNvPr>
            <p:cNvGrpSpPr/>
            <p:nvPr/>
          </p:nvGrpSpPr>
          <p:grpSpPr>
            <a:xfrm>
              <a:off x="7204514" y="5314066"/>
              <a:ext cx="188167" cy="129348"/>
              <a:chOff x="2892480" y="4028747"/>
              <a:chExt cx="152940" cy="99442"/>
            </a:xfrm>
            <a:gradFill flip="none" rotWithShape="1">
              <a:gsLst>
                <a:gs pos="100000">
                  <a:srgbClr val="008896"/>
                </a:gs>
                <a:gs pos="0">
                  <a:srgbClr val="005A64"/>
                </a:gs>
              </a:gsLst>
              <a:lin ang="0" scaled="1"/>
              <a:tileRect/>
            </a:gradFill>
          </p:grpSpPr>
          <p:sp>
            <p:nvSpPr>
              <p:cNvPr id="10698" name="Freeform: Shape 10697">
                <a:extLst>
                  <a:ext uri="{FF2B5EF4-FFF2-40B4-BE49-F238E27FC236}">
                    <a16:creationId xmlns:a16="http://schemas.microsoft.com/office/drawing/2014/main" id="{6C62763B-C7B1-1356-B7FF-F7D6802C20DD}"/>
                  </a:ext>
                </a:extLst>
              </p:cNvPr>
              <p:cNvSpPr/>
              <p:nvPr/>
            </p:nvSpPr>
            <p:spPr>
              <a:xfrm>
                <a:off x="2892480" y="4028747"/>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99" name="Graphic 641">
                <a:extLst>
                  <a:ext uri="{FF2B5EF4-FFF2-40B4-BE49-F238E27FC236}">
                    <a16:creationId xmlns:a16="http://schemas.microsoft.com/office/drawing/2014/main" id="{F58D8142-15B7-A309-9077-49BBBE213481}"/>
                  </a:ext>
                </a:extLst>
              </p:cNvPr>
              <p:cNvGrpSpPr/>
              <p:nvPr/>
            </p:nvGrpSpPr>
            <p:grpSpPr>
              <a:xfrm>
                <a:off x="2892480" y="4028747"/>
                <a:ext cx="152940" cy="99438"/>
                <a:chOff x="2892480" y="4028747"/>
                <a:chExt cx="152940" cy="99438"/>
              </a:xfrm>
              <a:grpFill/>
            </p:grpSpPr>
            <p:sp>
              <p:nvSpPr>
                <p:cNvPr id="10700" name="Freeform: Shape 10699">
                  <a:extLst>
                    <a:ext uri="{FF2B5EF4-FFF2-40B4-BE49-F238E27FC236}">
                      <a16:creationId xmlns:a16="http://schemas.microsoft.com/office/drawing/2014/main" id="{3BAB8596-7AFA-D2AB-CC5A-D8DD60684635}"/>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701" name="Freeform: Shape 10700">
                  <a:extLst>
                    <a:ext uri="{FF2B5EF4-FFF2-40B4-BE49-F238E27FC236}">
                      <a16:creationId xmlns:a16="http://schemas.microsoft.com/office/drawing/2014/main" id="{8F531DF4-1C8C-5BF5-7485-FCF382D139F7}"/>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691" name="Graphic 641">
              <a:extLst>
                <a:ext uri="{FF2B5EF4-FFF2-40B4-BE49-F238E27FC236}">
                  <a16:creationId xmlns:a16="http://schemas.microsoft.com/office/drawing/2014/main" id="{20BA1582-E830-DF44-E71C-A12A9D0B37CC}"/>
                </a:ext>
              </a:extLst>
            </p:cNvPr>
            <p:cNvGrpSpPr/>
            <p:nvPr/>
          </p:nvGrpSpPr>
          <p:grpSpPr>
            <a:xfrm>
              <a:off x="7350870" y="5399676"/>
              <a:ext cx="188167" cy="129343"/>
              <a:chOff x="3011437" y="4094564"/>
              <a:chExt cx="152940" cy="99438"/>
            </a:xfrm>
            <a:gradFill flip="none" rotWithShape="1">
              <a:gsLst>
                <a:gs pos="100000">
                  <a:srgbClr val="008896"/>
                </a:gs>
                <a:gs pos="0">
                  <a:srgbClr val="005A64"/>
                </a:gs>
              </a:gsLst>
              <a:lin ang="0" scaled="1"/>
              <a:tileRect/>
            </a:gradFill>
          </p:grpSpPr>
          <p:sp>
            <p:nvSpPr>
              <p:cNvPr id="10694" name="Freeform: Shape 10693">
                <a:extLst>
                  <a:ext uri="{FF2B5EF4-FFF2-40B4-BE49-F238E27FC236}">
                    <a16:creationId xmlns:a16="http://schemas.microsoft.com/office/drawing/2014/main" id="{8EC0D0CE-057A-B5F2-4A18-16ED0B298403}"/>
                  </a:ext>
                </a:extLst>
              </p:cNvPr>
              <p:cNvSpPr/>
              <p:nvPr/>
            </p:nvSpPr>
            <p:spPr>
              <a:xfrm>
                <a:off x="3011437" y="4094564"/>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695" name="Graphic 641">
                <a:extLst>
                  <a:ext uri="{FF2B5EF4-FFF2-40B4-BE49-F238E27FC236}">
                    <a16:creationId xmlns:a16="http://schemas.microsoft.com/office/drawing/2014/main" id="{F88272CB-CD19-3FE8-7679-7A26DD37EFBE}"/>
                  </a:ext>
                </a:extLst>
              </p:cNvPr>
              <p:cNvGrpSpPr/>
              <p:nvPr/>
            </p:nvGrpSpPr>
            <p:grpSpPr>
              <a:xfrm>
                <a:off x="3011437" y="4094564"/>
                <a:ext cx="152940" cy="99438"/>
                <a:chOff x="3011437" y="4094564"/>
                <a:chExt cx="152940" cy="99438"/>
              </a:xfrm>
              <a:grpFill/>
            </p:grpSpPr>
            <p:sp>
              <p:nvSpPr>
                <p:cNvPr id="10696" name="Freeform: Shape 10695">
                  <a:extLst>
                    <a:ext uri="{FF2B5EF4-FFF2-40B4-BE49-F238E27FC236}">
                      <a16:creationId xmlns:a16="http://schemas.microsoft.com/office/drawing/2014/main" id="{3FB3A23C-9ED2-6056-23BE-F46128C88909}"/>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97" name="Freeform: Shape 10696">
                  <a:extLst>
                    <a:ext uri="{FF2B5EF4-FFF2-40B4-BE49-F238E27FC236}">
                      <a16:creationId xmlns:a16="http://schemas.microsoft.com/office/drawing/2014/main" id="{3B1933F3-ED41-72FE-F597-EC6F40D7B44A}"/>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692" name="Freeform: Shape 10691">
              <a:extLst>
                <a:ext uri="{FF2B5EF4-FFF2-40B4-BE49-F238E27FC236}">
                  <a16:creationId xmlns:a16="http://schemas.microsoft.com/office/drawing/2014/main" id="{C7BA4765-446A-860C-7230-75A02AD7B44C}"/>
                </a:ext>
              </a:extLst>
            </p:cNvPr>
            <p:cNvSpPr/>
            <p:nvPr/>
          </p:nvSpPr>
          <p:spPr>
            <a:xfrm>
              <a:off x="7204833" y="5278735"/>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693" name="Freeform: Shape 10692">
              <a:extLst>
                <a:ext uri="{FF2B5EF4-FFF2-40B4-BE49-F238E27FC236}">
                  <a16:creationId xmlns:a16="http://schemas.microsoft.com/office/drawing/2014/main" id="{8998DA9A-7691-DB24-F4A2-F7CC4F947E73}"/>
                </a:ext>
              </a:extLst>
            </p:cNvPr>
            <p:cNvSpPr/>
            <p:nvPr/>
          </p:nvSpPr>
          <p:spPr>
            <a:xfrm>
              <a:off x="7351167" y="5364344"/>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0530" name="Graphic 641">
            <a:extLst>
              <a:ext uri="{FF2B5EF4-FFF2-40B4-BE49-F238E27FC236}">
                <a16:creationId xmlns:a16="http://schemas.microsoft.com/office/drawing/2014/main" id="{04E17867-75EC-FCF6-DDC1-2B90D3349686}"/>
              </a:ext>
            </a:extLst>
          </p:cNvPr>
          <p:cNvGrpSpPr/>
          <p:nvPr/>
        </p:nvGrpSpPr>
        <p:grpSpPr>
          <a:xfrm>
            <a:off x="5185885" y="3359804"/>
            <a:ext cx="205185" cy="141043"/>
            <a:chOff x="3083621" y="3984620"/>
            <a:chExt cx="152929" cy="99432"/>
          </a:xfrm>
          <a:gradFill flip="none" rotWithShape="1">
            <a:gsLst>
              <a:gs pos="100000">
                <a:srgbClr val="008896"/>
              </a:gs>
              <a:gs pos="0">
                <a:srgbClr val="005A64"/>
              </a:gs>
            </a:gsLst>
            <a:lin ang="0" scaled="1"/>
            <a:tileRect/>
          </a:gradFill>
        </p:grpSpPr>
        <p:sp>
          <p:nvSpPr>
            <p:cNvPr id="10571" name="Freeform: Shape 10570">
              <a:extLst>
                <a:ext uri="{FF2B5EF4-FFF2-40B4-BE49-F238E27FC236}">
                  <a16:creationId xmlns:a16="http://schemas.microsoft.com/office/drawing/2014/main" id="{FEE41339-0D8F-468C-8ED3-4CEA32ED6FBD}"/>
                </a:ext>
              </a:extLst>
            </p:cNvPr>
            <p:cNvSpPr/>
            <p:nvPr/>
          </p:nvSpPr>
          <p:spPr>
            <a:xfrm>
              <a:off x="3083621" y="3984620"/>
              <a:ext cx="152929" cy="99432"/>
            </a:xfrm>
            <a:custGeom>
              <a:avLst/>
              <a:gdLst>
                <a:gd name="connsiteX0" fmla="*/ 153074 w 152929"/>
                <a:gd name="connsiteY0" fmla="*/ 494 h 99432"/>
                <a:gd name="connsiteX1" fmla="*/ 152814 w 152929"/>
                <a:gd name="connsiteY1" fmla="*/ 72316 h 99432"/>
                <a:gd name="connsiteX2" fmla="*/ 118209 w 152929"/>
                <a:gd name="connsiteY2" fmla="*/ 95137 h 99432"/>
                <a:gd name="connsiteX3" fmla="*/ 12505 w 152929"/>
                <a:gd name="connsiteY3" fmla="*/ 86825 h 99432"/>
                <a:gd name="connsiteX4" fmla="*/ 144 w 152929"/>
                <a:gd name="connsiteY4" fmla="*/ 71841 h 99432"/>
                <a:gd name="connsiteX5" fmla="*/ 382 w 152929"/>
                <a:gd name="connsiteY5" fmla="*/ 30 h 99432"/>
                <a:gd name="connsiteX6" fmla="*/ 12754 w 152929"/>
                <a:gd name="connsiteY6" fmla="*/ 15014 h 99432"/>
                <a:gd name="connsiteX7" fmla="*/ 118457 w 152929"/>
                <a:gd name="connsiteY7" fmla="*/ 23337 h 99432"/>
                <a:gd name="connsiteX8" fmla="*/ 153074 w 152929"/>
                <a:gd name="connsiteY8" fmla="*/ 494 h 9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32">
                  <a:moveTo>
                    <a:pt x="153074" y="494"/>
                  </a:moveTo>
                  <a:lnTo>
                    <a:pt x="152814" y="72316"/>
                  </a:lnTo>
                  <a:cubicBezTo>
                    <a:pt x="152802" y="81250"/>
                    <a:pt x="140600" y="89969"/>
                    <a:pt x="118209" y="95137"/>
                  </a:cubicBezTo>
                  <a:cubicBezTo>
                    <a:pt x="82869" y="103291"/>
                    <a:pt x="35541" y="99582"/>
                    <a:pt x="12505" y="86825"/>
                  </a:cubicBezTo>
                  <a:cubicBezTo>
                    <a:pt x="4125" y="82189"/>
                    <a:pt x="122" y="76998"/>
                    <a:pt x="144" y="71841"/>
                  </a:cubicBezTo>
                  <a:lnTo>
                    <a:pt x="382" y="30"/>
                  </a:lnTo>
                  <a:cubicBezTo>
                    <a:pt x="382" y="5164"/>
                    <a:pt x="4351" y="10378"/>
                    <a:pt x="12754" y="15014"/>
                  </a:cubicBezTo>
                  <a:cubicBezTo>
                    <a:pt x="35779" y="27759"/>
                    <a:pt x="83129" y="31491"/>
                    <a:pt x="118457" y="23337"/>
                  </a:cubicBezTo>
                  <a:cubicBezTo>
                    <a:pt x="140838" y="18147"/>
                    <a:pt x="153040" y="9439"/>
                    <a:pt x="153074" y="494"/>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72" name="Graphic 641">
              <a:extLst>
                <a:ext uri="{FF2B5EF4-FFF2-40B4-BE49-F238E27FC236}">
                  <a16:creationId xmlns:a16="http://schemas.microsoft.com/office/drawing/2014/main" id="{9279BF39-247C-9ACF-DAAF-CBAD1FE1108C}"/>
                </a:ext>
              </a:extLst>
            </p:cNvPr>
            <p:cNvGrpSpPr/>
            <p:nvPr/>
          </p:nvGrpSpPr>
          <p:grpSpPr>
            <a:xfrm>
              <a:off x="3083622" y="3984620"/>
              <a:ext cx="152929" cy="99427"/>
              <a:chOff x="3083622" y="3984620"/>
              <a:chExt cx="152929" cy="99427"/>
            </a:xfrm>
            <a:grpFill/>
          </p:grpSpPr>
          <p:sp>
            <p:nvSpPr>
              <p:cNvPr id="10573" name="Freeform: Shape 10572">
                <a:extLst>
                  <a:ext uri="{FF2B5EF4-FFF2-40B4-BE49-F238E27FC236}">
                    <a16:creationId xmlns:a16="http://schemas.microsoft.com/office/drawing/2014/main" id="{A71DB461-E781-98D9-E714-B6962E2A0768}"/>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74" name="Freeform: Shape 10573">
                <a:extLst>
                  <a:ext uri="{FF2B5EF4-FFF2-40B4-BE49-F238E27FC236}">
                    <a16:creationId xmlns:a16="http://schemas.microsoft.com/office/drawing/2014/main" id="{B13F1A7B-83F9-E0E9-BDB3-511EBB99857C}"/>
                  </a:ext>
                </a:extLst>
              </p:cNvPr>
              <p:cNvSpPr/>
              <p:nvPr/>
            </p:nvSpPr>
            <p:spPr>
              <a:xfrm>
                <a:off x="3083622" y="3984620"/>
                <a:ext cx="152929" cy="99427"/>
              </a:xfrm>
              <a:custGeom>
                <a:avLst/>
                <a:gdLst>
                  <a:gd name="connsiteX0" fmla="*/ 144 w 152929"/>
                  <a:gd name="connsiteY0" fmla="*/ 30 h 99427"/>
                  <a:gd name="connsiteX1" fmla="*/ 153074 w 152929"/>
                  <a:gd name="connsiteY1" fmla="*/ 30 h 99427"/>
                  <a:gd name="connsiteX2" fmla="*/ 153074 w 152929"/>
                  <a:gd name="connsiteY2" fmla="*/ 99457 h 99427"/>
                  <a:gd name="connsiteX3" fmla="*/ 144 w 152929"/>
                  <a:gd name="connsiteY3" fmla="*/ 99457 h 99427"/>
                </a:gdLst>
                <a:ahLst/>
                <a:cxnLst>
                  <a:cxn ang="0">
                    <a:pos x="connsiteX0" y="connsiteY0"/>
                  </a:cxn>
                  <a:cxn ang="0">
                    <a:pos x="connsiteX1" y="connsiteY1"/>
                  </a:cxn>
                  <a:cxn ang="0">
                    <a:pos x="connsiteX2" y="connsiteY2"/>
                  </a:cxn>
                  <a:cxn ang="0">
                    <a:pos x="connsiteX3" y="connsiteY3"/>
                  </a:cxn>
                </a:cxnLst>
                <a:rect l="l" t="t" r="r" b="b"/>
                <a:pathLst>
                  <a:path w="152929" h="99427">
                    <a:moveTo>
                      <a:pt x="144" y="30"/>
                    </a:moveTo>
                    <a:lnTo>
                      <a:pt x="153074" y="30"/>
                    </a:lnTo>
                    <a:lnTo>
                      <a:pt x="153074" y="99457"/>
                    </a:lnTo>
                    <a:lnTo>
                      <a:pt x="144" y="99457"/>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0531" name="Graphic 641">
            <a:extLst>
              <a:ext uri="{FF2B5EF4-FFF2-40B4-BE49-F238E27FC236}">
                <a16:creationId xmlns:a16="http://schemas.microsoft.com/office/drawing/2014/main" id="{A534B8CE-A775-C9E0-09D0-1BEEEE481CB9}"/>
              </a:ext>
            </a:extLst>
          </p:cNvPr>
          <p:cNvGrpSpPr/>
          <p:nvPr/>
        </p:nvGrpSpPr>
        <p:grpSpPr>
          <a:xfrm>
            <a:off x="5345475" y="3453149"/>
            <a:ext cx="205185" cy="141067"/>
            <a:chOff x="3202567" y="4050426"/>
            <a:chExt cx="152929" cy="99449"/>
          </a:xfrm>
          <a:gradFill flip="none" rotWithShape="1">
            <a:gsLst>
              <a:gs pos="100000">
                <a:srgbClr val="008896"/>
              </a:gs>
              <a:gs pos="0">
                <a:srgbClr val="005A64"/>
              </a:gs>
            </a:gsLst>
            <a:lin ang="0" scaled="1"/>
            <a:tileRect/>
          </a:gradFill>
        </p:grpSpPr>
        <p:sp>
          <p:nvSpPr>
            <p:cNvPr id="10567" name="Freeform: Shape 10566">
              <a:extLst>
                <a:ext uri="{FF2B5EF4-FFF2-40B4-BE49-F238E27FC236}">
                  <a16:creationId xmlns:a16="http://schemas.microsoft.com/office/drawing/2014/main" id="{6207119E-6FBD-B590-0BD9-97A340959CBB}"/>
                </a:ext>
              </a:extLst>
            </p:cNvPr>
            <p:cNvSpPr/>
            <p:nvPr/>
          </p:nvSpPr>
          <p:spPr>
            <a:xfrm>
              <a:off x="3202567" y="4050426"/>
              <a:ext cx="152929" cy="99449"/>
            </a:xfrm>
            <a:custGeom>
              <a:avLst/>
              <a:gdLst>
                <a:gd name="connsiteX0" fmla="*/ 153107 w 152929"/>
                <a:gd name="connsiteY0" fmla="*/ 535 h 99449"/>
                <a:gd name="connsiteX1" fmla="*/ 152870 w 152929"/>
                <a:gd name="connsiteY1" fmla="*/ 72346 h 99449"/>
                <a:gd name="connsiteX2" fmla="*/ 118219 w 152929"/>
                <a:gd name="connsiteY2" fmla="*/ 95178 h 99449"/>
                <a:gd name="connsiteX3" fmla="*/ 12572 w 152929"/>
                <a:gd name="connsiteY3" fmla="*/ 86866 h 99449"/>
                <a:gd name="connsiteX4" fmla="*/ 178 w 152929"/>
                <a:gd name="connsiteY4" fmla="*/ 71871 h 99449"/>
                <a:gd name="connsiteX5" fmla="*/ 427 w 152929"/>
                <a:gd name="connsiteY5" fmla="*/ 48 h 99449"/>
                <a:gd name="connsiteX6" fmla="*/ 12832 w 152929"/>
                <a:gd name="connsiteY6" fmla="*/ 15055 h 99449"/>
                <a:gd name="connsiteX7" fmla="*/ 118479 w 152929"/>
                <a:gd name="connsiteY7" fmla="*/ 23356 h 99449"/>
                <a:gd name="connsiteX8" fmla="*/ 153107 w 152929"/>
                <a:gd name="connsiteY8" fmla="*/ 535 h 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9">
                  <a:moveTo>
                    <a:pt x="153107" y="535"/>
                  </a:moveTo>
                  <a:lnTo>
                    <a:pt x="152870" y="72346"/>
                  </a:lnTo>
                  <a:cubicBezTo>
                    <a:pt x="152824" y="81291"/>
                    <a:pt x="140622" y="90010"/>
                    <a:pt x="118219" y="95178"/>
                  </a:cubicBezTo>
                  <a:cubicBezTo>
                    <a:pt x="82891" y="103321"/>
                    <a:pt x="35597" y="99623"/>
                    <a:pt x="12572" y="86866"/>
                  </a:cubicBezTo>
                  <a:cubicBezTo>
                    <a:pt x="4170" y="82241"/>
                    <a:pt x="144" y="77028"/>
                    <a:pt x="178" y="71871"/>
                  </a:cubicBezTo>
                  <a:lnTo>
                    <a:pt x="427" y="48"/>
                  </a:lnTo>
                  <a:cubicBezTo>
                    <a:pt x="415" y="5205"/>
                    <a:pt x="4419" y="10407"/>
                    <a:pt x="12832" y="15055"/>
                  </a:cubicBezTo>
                  <a:cubicBezTo>
                    <a:pt x="35857" y="27812"/>
                    <a:pt x="83139" y="31510"/>
                    <a:pt x="118479" y="23356"/>
                  </a:cubicBezTo>
                  <a:cubicBezTo>
                    <a:pt x="140860" y="18188"/>
                    <a:pt x="153096" y="9469"/>
                    <a:pt x="153107" y="535"/>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568" name="Graphic 641">
              <a:extLst>
                <a:ext uri="{FF2B5EF4-FFF2-40B4-BE49-F238E27FC236}">
                  <a16:creationId xmlns:a16="http://schemas.microsoft.com/office/drawing/2014/main" id="{8DFB0F17-886C-16B3-CDF7-55C9031A3BF2}"/>
                </a:ext>
              </a:extLst>
            </p:cNvPr>
            <p:cNvGrpSpPr/>
            <p:nvPr/>
          </p:nvGrpSpPr>
          <p:grpSpPr>
            <a:xfrm>
              <a:off x="3202568" y="4050426"/>
              <a:ext cx="152929" cy="99449"/>
              <a:chOff x="3202568" y="4050426"/>
              <a:chExt cx="152929" cy="99449"/>
            </a:xfrm>
            <a:grpFill/>
          </p:grpSpPr>
          <p:sp>
            <p:nvSpPr>
              <p:cNvPr id="10569" name="Freeform: Shape 10568">
                <a:extLst>
                  <a:ext uri="{FF2B5EF4-FFF2-40B4-BE49-F238E27FC236}">
                    <a16:creationId xmlns:a16="http://schemas.microsoft.com/office/drawing/2014/main" id="{F0E74AC4-CDDD-4FE9-7778-8C7AC3FACBB3}"/>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70" name="Freeform: Shape 10569">
                <a:extLst>
                  <a:ext uri="{FF2B5EF4-FFF2-40B4-BE49-F238E27FC236}">
                    <a16:creationId xmlns:a16="http://schemas.microsoft.com/office/drawing/2014/main" id="{F5ED6A8C-226E-4065-F07E-CADACF0525DA}"/>
                  </a:ext>
                </a:extLst>
              </p:cNvPr>
              <p:cNvSpPr/>
              <p:nvPr/>
            </p:nvSpPr>
            <p:spPr>
              <a:xfrm>
                <a:off x="3202568" y="4050426"/>
                <a:ext cx="152929" cy="99449"/>
              </a:xfrm>
              <a:custGeom>
                <a:avLst/>
                <a:gdLst>
                  <a:gd name="connsiteX0" fmla="*/ 178 w 152929"/>
                  <a:gd name="connsiteY0" fmla="*/ 48 h 99449"/>
                  <a:gd name="connsiteX1" fmla="*/ 153107 w 152929"/>
                  <a:gd name="connsiteY1" fmla="*/ 48 h 99449"/>
                  <a:gd name="connsiteX2" fmla="*/ 153107 w 152929"/>
                  <a:gd name="connsiteY2" fmla="*/ 99498 h 99449"/>
                  <a:gd name="connsiteX3" fmla="*/ 178 w 152929"/>
                  <a:gd name="connsiteY3" fmla="*/ 99498 h 99449"/>
                </a:gdLst>
                <a:ahLst/>
                <a:cxnLst>
                  <a:cxn ang="0">
                    <a:pos x="connsiteX0" y="connsiteY0"/>
                  </a:cxn>
                  <a:cxn ang="0">
                    <a:pos x="connsiteX1" y="connsiteY1"/>
                  </a:cxn>
                  <a:cxn ang="0">
                    <a:pos x="connsiteX2" y="connsiteY2"/>
                  </a:cxn>
                  <a:cxn ang="0">
                    <a:pos x="connsiteX3" y="connsiteY3"/>
                  </a:cxn>
                </a:cxnLst>
                <a:rect l="l" t="t" r="r" b="b"/>
                <a:pathLst>
                  <a:path w="152929" h="99449">
                    <a:moveTo>
                      <a:pt x="178" y="48"/>
                    </a:moveTo>
                    <a:lnTo>
                      <a:pt x="153107" y="48"/>
                    </a:lnTo>
                    <a:lnTo>
                      <a:pt x="153107" y="99498"/>
                    </a:lnTo>
                    <a:lnTo>
                      <a:pt x="178" y="99498"/>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0534" name="Freeform: Shape 10533">
            <a:extLst>
              <a:ext uri="{FF2B5EF4-FFF2-40B4-BE49-F238E27FC236}">
                <a16:creationId xmlns:a16="http://schemas.microsoft.com/office/drawing/2014/main" id="{9D3EBCFF-A8B8-B037-3466-DB99F18CF925}"/>
              </a:ext>
            </a:extLst>
          </p:cNvPr>
          <p:cNvSpPr/>
          <p:nvPr/>
        </p:nvSpPr>
        <p:spPr>
          <a:xfrm>
            <a:off x="5186207" y="3321280"/>
            <a:ext cx="204853" cy="77712"/>
          </a:xfrm>
          <a:custGeom>
            <a:avLst/>
            <a:gdLst>
              <a:gd name="connsiteX0" fmla="*/ 34826 w 152682"/>
              <a:gd name="connsiteY0" fmla="*/ 4331 h 54785"/>
              <a:gd name="connsiteX1" fmla="*/ 140417 w 152682"/>
              <a:gd name="connsiteY1" fmla="*/ 12632 h 54785"/>
              <a:gd name="connsiteX2" fmla="*/ 118218 w 152682"/>
              <a:gd name="connsiteY2" fmla="*/ 50482 h 54785"/>
              <a:gd name="connsiteX3" fmla="*/ 12514 w 152682"/>
              <a:gd name="connsiteY3" fmla="*/ 42159 h 54785"/>
              <a:gd name="connsiteX4" fmla="*/ 34826 w 152682"/>
              <a:gd name="connsiteY4" fmla="*/ 4331 h 5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5">
                <a:moveTo>
                  <a:pt x="34826" y="4331"/>
                </a:moveTo>
                <a:cubicBezTo>
                  <a:pt x="70110" y="-3811"/>
                  <a:pt x="117437" y="-91"/>
                  <a:pt x="140417" y="12632"/>
                </a:cubicBezTo>
                <a:cubicBezTo>
                  <a:pt x="163453" y="25377"/>
                  <a:pt x="153490" y="42329"/>
                  <a:pt x="118218" y="50482"/>
                </a:cubicBezTo>
                <a:cubicBezTo>
                  <a:pt x="82889" y="58636"/>
                  <a:pt x="35539" y="54904"/>
                  <a:pt x="12514" y="42159"/>
                </a:cubicBezTo>
                <a:cubicBezTo>
                  <a:pt x="-10477" y="29425"/>
                  <a:pt x="-502" y="12473"/>
                  <a:pt x="34826" y="4331"/>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536" name="Freeform: Shape 10535">
            <a:extLst>
              <a:ext uri="{FF2B5EF4-FFF2-40B4-BE49-F238E27FC236}">
                <a16:creationId xmlns:a16="http://schemas.microsoft.com/office/drawing/2014/main" id="{CA1703F0-95E1-A2CC-E913-A93A038BC5E5}"/>
              </a:ext>
            </a:extLst>
          </p:cNvPr>
          <p:cNvSpPr/>
          <p:nvPr/>
        </p:nvSpPr>
        <p:spPr>
          <a:xfrm>
            <a:off x="5345799" y="3414627"/>
            <a:ext cx="204870" cy="77722"/>
          </a:xfrm>
          <a:custGeom>
            <a:avLst/>
            <a:gdLst>
              <a:gd name="connsiteX0" fmla="*/ 34848 w 152694"/>
              <a:gd name="connsiteY0" fmla="*/ 4349 h 54793"/>
              <a:gd name="connsiteX1" fmla="*/ 140495 w 152694"/>
              <a:gd name="connsiteY1" fmla="*/ 12672 h 54793"/>
              <a:gd name="connsiteX2" fmla="*/ 118239 w 152694"/>
              <a:gd name="connsiteY2" fmla="*/ 50500 h 54793"/>
              <a:gd name="connsiteX3" fmla="*/ 12592 w 152694"/>
              <a:gd name="connsiteY3" fmla="*/ 42199 h 54793"/>
              <a:gd name="connsiteX4" fmla="*/ 34848 w 152694"/>
              <a:gd name="connsiteY4" fmla="*/ 4349 h 54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4" h="54793">
                <a:moveTo>
                  <a:pt x="34848" y="4349"/>
                </a:moveTo>
                <a:cubicBezTo>
                  <a:pt x="70109" y="-3794"/>
                  <a:pt x="117459" y="-73"/>
                  <a:pt x="140495" y="12672"/>
                </a:cubicBezTo>
                <a:cubicBezTo>
                  <a:pt x="163497" y="25428"/>
                  <a:pt x="153512" y="42357"/>
                  <a:pt x="118239" y="50500"/>
                </a:cubicBezTo>
                <a:cubicBezTo>
                  <a:pt x="82899" y="58653"/>
                  <a:pt x="35617" y="54955"/>
                  <a:pt x="12592" y="42199"/>
                </a:cubicBezTo>
                <a:cubicBezTo>
                  <a:pt x="-10455" y="29465"/>
                  <a:pt x="-492" y="12513"/>
                  <a:pt x="34848" y="4349"/>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57" name="Graphic 641">
            <a:extLst>
              <a:ext uri="{FF2B5EF4-FFF2-40B4-BE49-F238E27FC236}">
                <a16:creationId xmlns:a16="http://schemas.microsoft.com/office/drawing/2014/main" id="{0A7A581D-1CE1-F028-749D-B61942AD155D}"/>
              </a:ext>
            </a:extLst>
          </p:cNvPr>
          <p:cNvGrpSpPr/>
          <p:nvPr/>
        </p:nvGrpSpPr>
        <p:grpSpPr>
          <a:xfrm>
            <a:off x="5431156" y="4243170"/>
            <a:ext cx="205185" cy="141055"/>
            <a:chOff x="2718222" y="4068972"/>
            <a:chExt cx="152929" cy="99440"/>
          </a:xfrm>
          <a:gradFill flip="none" rotWithShape="1">
            <a:gsLst>
              <a:gs pos="100000">
                <a:srgbClr val="008896"/>
              </a:gs>
              <a:gs pos="0">
                <a:srgbClr val="005A64"/>
              </a:gs>
            </a:gsLst>
            <a:lin ang="0" scaled="1"/>
            <a:tileRect/>
          </a:gradFill>
        </p:grpSpPr>
        <p:sp>
          <p:nvSpPr>
            <p:cNvPr id="10283" name="Freeform: Shape 10282">
              <a:extLst>
                <a:ext uri="{FF2B5EF4-FFF2-40B4-BE49-F238E27FC236}">
                  <a16:creationId xmlns:a16="http://schemas.microsoft.com/office/drawing/2014/main" id="{117AE421-F058-144E-FA5B-3E2F0B3CA7EF}"/>
                </a:ext>
              </a:extLst>
            </p:cNvPr>
            <p:cNvSpPr/>
            <p:nvPr/>
          </p:nvSpPr>
          <p:spPr>
            <a:xfrm>
              <a:off x="2718222" y="4068972"/>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0284" name="Graphic 641">
              <a:extLst>
                <a:ext uri="{FF2B5EF4-FFF2-40B4-BE49-F238E27FC236}">
                  <a16:creationId xmlns:a16="http://schemas.microsoft.com/office/drawing/2014/main" id="{3403C559-978B-A6B6-CCAF-315B89D6689A}"/>
                </a:ext>
              </a:extLst>
            </p:cNvPr>
            <p:cNvGrpSpPr/>
            <p:nvPr/>
          </p:nvGrpSpPr>
          <p:grpSpPr>
            <a:xfrm>
              <a:off x="2718222" y="4068972"/>
              <a:ext cx="152929" cy="99438"/>
              <a:chOff x="2718222" y="4068972"/>
              <a:chExt cx="152929" cy="99438"/>
            </a:xfrm>
            <a:grpFill/>
          </p:grpSpPr>
          <p:sp>
            <p:nvSpPr>
              <p:cNvPr id="10285" name="Freeform: Shape 10284">
                <a:extLst>
                  <a:ext uri="{FF2B5EF4-FFF2-40B4-BE49-F238E27FC236}">
                    <a16:creationId xmlns:a16="http://schemas.microsoft.com/office/drawing/2014/main" id="{73C61888-AB4E-309F-1812-FF0CF83CD031}"/>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286" name="Freeform: Shape 10285">
                <a:extLst>
                  <a:ext uri="{FF2B5EF4-FFF2-40B4-BE49-F238E27FC236}">
                    <a16:creationId xmlns:a16="http://schemas.microsoft.com/office/drawing/2014/main" id="{9D1BC928-8638-7CC8-1462-2E28BD530C43}"/>
                  </a:ext>
                </a:extLst>
              </p:cNvPr>
              <p:cNvSpPr/>
              <p:nvPr/>
            </p:nvSpPr>
            <p:spPr>
              <a:xfrm>
                <a:off x="2718222" y="4068972"/>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458" name="Graphic 641">
            <a:extLst>
              <a:ext uri="{FF2B5EF4-FFF2-40B4-BE49-F238E27FC236}">
                <a16:creationId xmlns:a16="http://schemas.microsoft.com/office/drawing/2014/main" id="{1A73A91B-A333-70DA-F5F6-7D3B858B4C18}"/>
              </a:ext>
            </a:extLst>
          </p:cNvPr>
          <p:cNvGrpSpPr/>
          <p:nvPr/>
        </p:nvGrpSpPr>
        <p:grpSpPr>
          <a:xfrm>
            <a:off x="5590746" y="4336515"/>
            <a:ext cx="205214" cy="141085"/>
            <a:chOff x="2837168" y="4134778"/>
            <a:chExt cx="152951" cy="99461"/>
          </a:xfrm>
          <a:gradFill flip="none" rotWithShape="1">
            <a:gsLst>
              <a:gs pos="100000">
                <a:srgbClr val="008896"/>
              </a:gs>
              <a:gs pos="0">
                <a:srgbClr val="005A64"/>
              </a:gs>
            </a:gsLst>
            <a:lin ang="0" scaled="1"/>
            <a:tileRect/>
          </a:gradFill>
        </p:grpSpPr>
        <p:sp>
          <p:nvSpPr>
            <p:cNvPr id="4794" name="Freeform: Shape 4793">
              <a:extLst>
                <a:ext uri="{FF2B5EF4-FFF2-40B4-BE49-F238E27FC236}">
                  <a16:creationId xmlns:a16="http://schemas.microsoft.com/office/drawing/2014/main" id="{05C27DA3-7519-F144-2A6D-82ED9D4AFA53}"/>
                </a:ext>
              </a:extLst>
            </p:cNvPr>
            <p:cNvSpPr/>
            <p:nvPr/>
          </p:nvSpPr>
          <p:spPr>
            <a:xfrm>
              <a:off x="2837168" y="4134778"/>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795" name="Graphic 641">
              <a:extLst>
                <a:ext uri="{FF2B5EF4-FFF2-40B4-BE49-F238E27FC236}">
                  <a16:creationId xmlns:a16="http://schemas.microsoft.com/office/drawing/2014/main" id="{07202CBE-5056-CE36-DD83-25244700BC05}"/>
                </a:ext>
              </a:extLst>
            </p:cNvPr>
            <p:cNvGrpSpPr/>
            <p:nvPr/>
          </p:nvGrpSpPr>
          <p:grpSpPr>
            <a:xfrm>
              <a:off x="2837168" y="4134778"/>
              <a:ext cx="152951" cy="99461"/>
              <a:chOff x="2837168" y="4134778"/>
              <a:chExt cx="152951" cy="99461"/>
            </a:xfrm>
            <a:grpFill/>
          </p:grpSpPr>
          <p:sp>
            <p:nvSpPr>
              <p:cNvPr id="10281" name="Freeform: Shape 10280">
                <a:extLst>
                  <a:ext uri="{FF2B5EF4-FFF2-40B4-BE49-F238E27FC236}">
                    <a16:creationId xmlns:a16="http://schemas.microsoft.com/office/drawing/2014/main" id="{F9B5C64C-B606-E45A-604D-B4E71B82A168}"/>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282" name="Freeform: Shape 10281">
                <a:extLst>
                  <a:ext uri="{FF2B5EF4-FFF2-40B4-BE49-F238E27FC236}">
                    <a16:creationId xmlns:a16="http://schemas.microsoft.com/office/drawing/2014/main" id="{763B9853-FC45-BFAD-115B-D8B278413B3D}"/>
                  </a:ext>
                </a:extLst>
              </p:cNvPr>
              <p:cNvSpPr/>
              <p:nvPr/>
            </p:nvSpPr>
            <p:spPr>
              <a:xfrm>
                <a:off x="2837168" y="4134778"/>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459" name="Freeform: Shape 458">
            <a:extLst>
              <a:ext uri="{FF2B5EF4-FFF2-40B4-BE49-F238E27FC236}">
                <a16:creationId xmlns:a16="http://schemas.microsoft.com/office/drawing/2014/main" id="{60ABF484-F5F4-87D5-551A-EBCB79A28D24}"/>
              </a:ext>
            </a:extLst>
          </p:cNvPr>
          <p:cNvSpPr/>
          <p:nvPr/>
        </p:nvSpPr>
        <p:spPr>
          <a:xfrm>
            <a:off x="5431498" y="4204646"/>
            <a:ext cx="204853" cy="7770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52" name="Freeform: Shape 3651">
            <a:extLst>
              <a:ext uri="{FF2B5EF4-FFF2-40B4-BE49-F238E27FC236}">
                <a16:creationId xmlns:a16="http://schemas.microsoft.com/office/drawing/2014/main" id="{8F81E663-985A-DDFF-A817-C4582E23E858}"/>
              </a:ext>
            </a:extLst>
          </p:cNvPr>
          <p:cNvSpPr/>
          <p:nvPr/>
        </p:nvSpPr>
        <p:spPr>
          <a:xfrm>
            <a:off x="5591079" y="4298002"/>
            <a:ext cx="204886" cy="77720"/>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735" name="Graphic 648">
            <a:extLst>
              <a:ext uri="{FF2B5EF4-FFF2-40B4-BE49-F238E27FC236}">
                <a16:creationId xmlns:a16="http://schemas.microsoft.com/office/drawing/2014/main" id="{02013F6F-CE72-C50D-57F7-14AF820892C2}"/>
              </a:ext>
            </a:extLst>
          </p:cNvPr>
          <p:cNvGrpSpPr/>
          <p:nvPr/>
        </p:nvGrpSpPr>
        <p:grpSpPr>
          <a:xfrm>
            <a:off x="5513414" y="4857247"/>
            <a:ext cx="205185" cy="141055"/>
            <a:chOff x="4536641" y="4266169"/>
            <a:chExt cx="152929" cy="99440"/>
          </a:xfrm>
          <a:gradFill>
            <a:gsLst>
              <a:gs pos="100000">
                <a:srgbClr val="D0DB67"/>
              </a:gs>
              <a:gs pos="0">
                <a:srgbClr val="BECE33"/>
              </a:gs>
            </a:gsLst>
            <a:lin ang="0" scaled="1"/>
          </a:gradFill>
        </p:grpSpPr>
        <p:sp>
          <p:nvSpPr>
            <p:cNvPr id="9751" name="Freeform: Shape 9750">
              <a:extLst>
                <a:ext uri="{FF2B5EF4-FFF2-40B4-BE49-F238E27FC236}">
                  <a16:creationId xmlns:a16="http://schemas.microsoft.com/office/drawing/2014/main" id="{4A5D61F6-76CC-B379-5384-9A9FAA2BB675}"/>
                </a:ext>
              </a:extLst>
            </p:cNvPr>
            <p:cNvSpPr/>
            <p:nvPr/>
          </p:nvSpPr>
          <p:spPr>
            <a:xfrm>
              <a:off x="4536641" y="4266169"/>
              <a:ext cx="152929" cy="99440"/>
            </a:xfrm>
            <a:custGeom>
              <a:avLst/>
              <a:gdLst>
                <a:gd name="connsiteX0" fmla="*/ 152971 w 152929"/>
                <a:gd name="connsiteY0" fmla="*/ 517 h 99440"/>
                <a:gd name="connsiteX1" fmla="*/ 152734 w 152929"/>
                <a:gd name="connsiteY1" fmla="*/ 72340 h 99440"/>
                <a:gd name="connsiteX2" fmla="*/ 118117 w 152929"/>
                <a:gd name="connsiteY2" fmla="*/ 95183 h 99440"/>
                <a:gd name="connsiteX3" fmla="*/ 12425 w 152929"/>
                <a:gd name="connsiteY3" fmla="*/ 86860 h 99440"/>
                <a:gd name="connsiteX4" fmla="*/ 42 w 152929"/>
                <a:gd name="connsiteY4" fmla="*/ 71865 h 99440"/>
                <a:gd name="connsiteX5" fmla="*/ 291 w 152929"/>
                <a:gd name="connsiteY5" fmla="*/ 54 h 99440"/>
                <a:gd name="connsiteX6" fmla="*/ 12674 w 152929"/>
                <a:gd name="connsiteY6" fmla="*/ 15038 h 99440"/>
                <a:gd name="connsiteX7" fmla="*/ 118378 w 152929"/>
                <a:gd name="connsiteY7" fmla="*/ 23361 h 99440"/>
                <a:gd name="connsiteX8" fmla="*/ 152971 w 152929"/>
                <a:gd name="connsiteY8" fmla="*/ 517 h 9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29" h="99440">
                  <a:moveTo>
                    <a:pt x="152971" y="517"/>
                  </a:moveTo>
                  <a:lnTo>
                    <a:pt x="152734" y="72340"/>
                  </a:lnTo>
                  <a:cubicBezTo>
                    <a:pt x="152700" y="81274"/>
                    <a:pt x="140498" y="90004"/>
                    <a:pt x="118117" y="95183"/>
                  </a:cubicBezTo>
                  <a:cubicBezTo>
                    <a:pt x="82800" y="103326"/>
                    <a:pt x="35461" y="99594"/>
                    <a:pt x="12425" y="86860"/>
                  </a:cubicBezTo>
                  <a:cubicBezTo>
                    <a:pt x="4034" y="82212"/>
                    <a:pt x="31" y="77010"/>
                    <a:pt x="42" y="71865"/>
                  </a:cubicBezTo>
                  <a:lnTo>
                    <a:pt x="291" y="54"/>
                  </a:lnTo>
                  <a:cubicBezTo>
                    <a:pt x="291" y="5210"/>
                    <a:pt x="4272" y="10390"/>
                    <a:pt x="12674" y="15038"/>
                  </a:cubicBezTo>
                  <a:cubicBezTo>
                    <a:pt x="35699" y="27794"/>
                    <a:pt x="83026" y="31503"/>
                    <a:pt x="118378" y="23361"/>
                  </a:cubicBezTo>
                  <a:cubicBezTo>
                    <a:pt x="140746" y="18182"/>
                    <a:pt x="152949" y="9463"/>
                    <a:pt x="15297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752" name="Graphic 648">
              <a:extLst>
                <a:ext uri="{FF2B5EF4-FFF2-40B4-BE49-F238E27FC236}">
                  <a16:creationId xmlns:a16="http://schemas.microsoft.com/office/drawing/2014/main" id="{3A03502E-0CBC-F451-34CD-AFC10803DA9B}"/>
                </a:ext>
              </a:extLst>
            </p:cNvPr>
            <p:cNvGrpSpPr/>
            <p:nvPr/>
          </p:nvGrpSpPr>
          <p:grpSpPr>
            <a:xfrm>
              <a:off x="4536641" y="4266169"/>
              <a:ext cx="152929" cy="99438"/>
              <a:chOff x="4536641" y="4266169"/>
              <a:chExt cx="152929" cy="99438"/>
            </a:xfrm>
            <a:grpFill/>
          </p:grpSpPr>
          <p:sp>
            <p:nvSpPr>
              <p:cNvPr id="9753" name="Freeform: Shape 9752">
                <a:extLst>
                  <a:ext uri="{FF2B5EF4-FFF2-40B4-BE49-F238E27FC236}">
                    <a16:creationId xmlns:a16="http://schemas.microsoft.com/office/drawing/2014/main" id="{C9F4003D-0771-FDCF-F361-5FC1528519D5}"/>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54" name="Freeform: Shape 9753">
                <a:extLst>
                  <a:ext uri="{FF2B5EF4-FFF2-40B4-BE49-F238E27FC236}">
                    <a16:creationId xmlns:a16="http://schemas.microsoft.com/office/drawing/2014/main" id="{3351C449-173B-41ED-A59E-3A4C9899782E}"/>
                  </a:ext>
                </a:extLst>
              </p:cNvPr>
              <p:cNvSpPr/>
              <p:nvPr/>
            </p:nvSpPr>
            <p:spPr>
              <a:xfrm>
                <a:off x="4536641" y="4266169"/>
                <a:ext cx="152929" cy="99438"/>
              </a:xfrm>
              <a:custGeom>
                <a:avLst/>
                <a:gdLst>
                  <a:gd name="connsiteX0" fmla="*/ 42 w 152929"/>
                  <a:gd name="connsiteY0" fmla="*/ 54 h 99438"/>
                  <a:gd name="connsiteX1" fmla="*/ 152971 w 152929"/>
                  <a:gd name="connsiteY1" fmla="*/ 54 h 99438"/>
                  <a:gd name="connsiteX2" fmla="*/ 152971 w 152929"/>
                  <a:gd name="connsiteY2" fmla="*/ 99492 h 99438"/>
                  <a:gd name="connsiteX3" fmla="*/ 42 w 152929"/>
                  <a:gd name="connsiteY3" fmla="*/ 99492 h 99438"/>
                </a:gdLst>
                <a:ahLst/>
                <a:cxnLst>
                  <a:cxn ang="0">
                    <a:pos x="connsiteX0" y="connsiteY0"/>
                  </a:cxn>
                  <a:cxn ang="0">
                    <a:pos x="connsiteX1" y="connsiteY1"/>
                  </a:cxn>
                  <a:cxn ang="0">
                    <a:pos x="connsiteX2" y="connsiteY2"/>
                  </a:cxn>
                  <a:cxn ang="0">
                    <a:pos x="connsiteX3" y="connsiteY3"/>
                  </a:cxn>
                </a:cxnLst>
                <a:rect l="l" t="t" r="r" b="b"/>
                <a:pathLst>
                  <a:path w="152929" h="99438">
                    <a:moveTo>
                      <a:pt x="42" y="54"/>
                    </a:moveTo>
                    <a:lnTo>
                      <a:pt x="152971" y="54"/>
                    </a:lnTo>
                    <a:lnTo>
                      <a:pt x="152971" y="99492"/>
                    </a:lnTo>
                    <a:lnTo>
                      <a:pt x="42" y="99492"/>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9736" name="Graphic 648">
            <a:extLst>
              <a:ext uri="{FF2B5EF4-FFF2-40B4-BE49-F238E27FC236}">
                <a16:creationId xmlns:a16="http://schemas.microsoft.com/office/drawing/2014/main" id="{86EB46A3-2264-F50C-9632-0A08CC004D63}"/>
              </a:ext>
            </a:extLst>
          </p:cNvPr>
          <p:cNvGrpSpPr/>
          <p:nvPr/>
        </p:nvGrpSpPr>
        <p:grpSpPr>
          <a:xfrm>
            <a:off x="5673004" y="4950593"/>
            <a:ext cx="205214" cy="141084"/>
            <a:chOff x="4655587" y="4331975"/>
            <a:chExt cx="152951" cy="99461"/>
          </a:xfrm>
          <a:gradFill>
            <a:gsLst>
              <a:gs pos="100000">
                <a:srgbClr val="D0DB67"/>
              </a:gs>
              <a:gs pos="0">
                <a:srgbClr val="BECE33"/>
              </a:gs>
            </a:gsLst>
            <a:lin ang="0" scaled="1"/>
          </a:gradFill>
        </p:grpSpPr>
        <p:sp>
          <p:nvSpPr>
            <p:cNvPr id="9747" name="Freeform: Shape 9746">
              <a:extLst>
                <a:ext uri="{FF2B5EF4-FFF2-40B4-BE49-F238E27FC236}">
                  <a16:creationId xmlns:a16="http://schemas.microsoft.com/office/drawing/2014/main" id="{0A786FC8-B65F-882C-395A-3B0D8E5B7C85}"/>
                </a:ext>
              </a:extLst>
            </p:cNvPr>
            <p:cNvSpPr/>
            <p:nvPr/>
          </p:nvSpPr>
          <p:spPr>
            <a:xfrm>
              <a:off x="4655587" y="4331975"/>
              <a:ext cx="152951" cy="99458"/>
            </a:xfrm>
            <a:custGeom>
              <a:avLst/>
              <a:gdLst>
                <a:gd name="connsiteX0" fmla="*/ 153027 w 152951"/>
                <a:gd name="connsiteY0" fmla="*/ 558 h 99458"/>
                <a:gd name="connsiteX1" fmla="*/ 152767 w 152951"/>
                <a:gd name="connsiteY1" fmla="*/ 72369 h 99458"/>
                <a:gd name="connsiteX2" fmla="*/ 118139 w 152951"/>
                <a:gd name="connsiteY2" fmla="*/ 95213 h 99458"/>
                <a:gd name="connsiteX3" fmla="*/ 12470 w 152951"/>
                <a:gd name="connsiteY3" fmla="*/ 86901 h 99458"/>
                <a:gd name="connsiteX4" fmla="*/ 75 w 152951"/>
                <a:gd name="connsiteY4" fmla="*/ 71894 h 99458"/>
                <a:gd name="connsiteX5" fmla="*/ 336 w 152951"/>
                <a:gd name="connsiteY5" fmla="*/ 72 h 99458"/>
                <a:gd name="connsiteX6" fmla="*/ 12719 w 152951"/>
                <a:gd name="connsiteY6" fmla="*/ 15090 h 99458"/>
                <a:gd name="connsiteX7" fmla="*/ 118388 w 152951"/>
                <a:gd name="connsiteY7" fmla="*/ 23380 h 99458"/>
                <a:gd name="connsiteX8" fmla="*/ 153027 w 152951"/>
                <a:gd name="connsiteY8" fmla="*/ 558 h 9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51" h="99458">
                  <a:moveTo>
                    <a:pt x="153027" y="558"/>
                  </a:moveTo>
                  <a:lnTo>
                    <a:pt x="152767" y="72369"/>
                  </a:lnTo>
                  <a:cubicBezTo>
                    <a:pt x="152756" y="81315"/>
                    <a:pt x="140531" y="90034"/>
                    <a:pt x="118139" y="95213"/>
                  </a:cubicBezTo>
                  <a:cubicBezTo>
                    <a:pt x="82811" y="103356"/>
                    <a:pt x="35506" y="99646"/>
                    <a:pt x="12470" y="86901"/>
                  </a:cubicBezTo>
                  <a:cubicBezTo>
                    <a:pt x="4067" y="82265"/>
                    <a:pt x="64" y="77051"/>
                    <a:pt x="75" y="71894"/>
                  </a:cubicBezTo>
                  <a:lnTo>
                    <a:pt x="336" y="72"/>
                  </a:lnTo>
                  <a:cubicBezTo>
                    <a:pt x="302" y="5229"/>
                    <a:pt x="4328" y="10431"/>
                    <a:pt x="12719" y="15090"/>
                  </a:cubicBezTo>
                  <a:cubicBezTo>
                    <a:pt x="35766" y="27847"/>
                    <a:pt x="83071" y="31533"/>
                    <a:pt x="118388" y="23380"/>
                  </a:cubicBezTo>
                  <a:cubicBezTo>
                    <a:pt x="140780" y="18211"/>
                    <a:pt x="152993" y="9492"/>
                    <a:pt x="153027" y="558"/>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748" name="Graphic 648">
              <a:extLst>
                <a:ext uri="{FF2B5EF4-FFF2-40B4-BE49-F238E27FC236}">
                  <a16:creationId xmlns:a16="http://schemas.microsoft.com/office/drawing/2014/main" id="{4874FDE3-5F60-8DC1-01EF-5692CD03D3C9}"/>
                </a:ext>
              </a:extLst>
            </p:cNvPr>
            <p:cNvGrpSpPr/>
            <p:nvPr/>
          </p:nvGrpSpPr>
          <p:grpSpPr>
            <a:xfrm>
              <a:off x="4655587" y="4331975"/>
              <a:ext cx="152951" cy="99461"/>
              <a:chOff x="4655587" y="4331975"/>
              <a:chExt cx="152951" cy="99461"/>
            </a:xfrm>
            <a:grpFill/>
          </p:grpSpPr>
          <p:sp>
            <p:nvSpPr>
              <p:cNvPr id="9749" name="Freeform: Shape 9748">
                <a:extLst>
                  <a:ext uri="{FF2B5EF4-FFF2-40B4-BE49-F238E27FC236}">
                    <a16:creationId xmlns:a16="http://schemas.microsoft.com/office/drawing/2014/main" id="{A200A3AA-9011-9FF3-2A2E-DDC452E94377}"/>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50" name="Freeform: Shape 9749">
                <a:extLst>
                  <a:ext uri="{FF2B5EF4-FFF2-40B4-BE49-F238E27FC236}">
                    <a16:creationId xmlns:a16="http://schemas.microsoft.com/office/drawing/2014/main" id="{ECB77C89-2A5F-2970-A041-3FEB96DD69EF}"/>
                  </a:ext>
                </a:extLst>
              </p:cNvPr>
              <p:cNvSpPr/>
              <p:nvPr/>
            </p:nvSpPr>
            <p:spPr>
              <a:xfrm>
                <a:off x="4655587" y="4331975"/>
                <a:ext cx="152951" cy="99461"/>
              </a:xfrm>
              <a:custGeom>
                <a:avLst/>
                <a:gdLst>
                  <a:gd name="connsiteX0" fmla="*/ 75 w 152951"/>
                  <a:gd name="connsiteY0" fmla="*/ 72 h 99461"/>
                  <a:gd name="connsiteX1" fmla="*/ 153027 w 152951"/>
                  <a:gd name="connsiteY1" fmla="*/ 72 h 99461"/>
                  <a:gd name="connsiteX2" fmla="*/ 153027 w 152951"/>
                  <a:gd name="connsiteY2" fmla="*/ 99533 h 99461"/>
                  <a:gd name="connsiteX3" fmla="*/ 75 w 152951"/>
                  <a:gd name="connsiteY3" fmla="*/ 99533 h 99461"/>
                </a:gdLst>
                <a:ahLst/>
                <a:cxnLst>
                  <a:cxn ang="0">
                    <a:pos x="connsiteX0" y="connsiteY0"/>
                  </a:cxn>
                  <a:cxn ang="0">
                    <a:pos x="connsiteX1" y="connsiteY1"/>
                  </a:cxn>
                  <a:cxn ang="0">
                    <a:pos x="connsiteX2" y="connsiteY2"/>
                  </a:cxn>
                  <a:cxn ang="0">
                    <a:pos x="connsiteX3" y="connsiteY3"/>
                  </a:cxn>
                </a:cxnLst>
                <a:rect l="l" t="t" r="r" b="b"/>
                <a:pathLst>
                  <a:path w="152951" h="99461">
                    <a:moveTo>
                      <a:pt x="75" y="72"/>
                    </a:moveTo>
                    <a:lnTo>
                      <a:pt x="153027" y="72"/>
                    </a:lnTo>
                    <a:lnTo>
                      <a:pt x="153027" y="99533"/>
                    </a:lnTo>
                    <a:lnTo>
                      <a:pt x="75" y="99533"/>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9739" name="Freeform: Shape 9738">
            <a:extLst>
              <a:ext uri="{FF2B5EF4-FFF2-40B4-BE49-F238E27FC236}">
                <a16:creationId xmlns:a16="http://schemas.microsoft.com/office/drawing/2014/main" id="{B52F84EA-DD18-C3CC-3D2F-86F7DFBB8114}"/>
              </a:ext>
            </a:extLst>
          </p:cNvPr>
          <p:cNvSpPr/>
          <p:nvPr/>
        </p:nvSpPr>
        <p:spPr>
          <a:xfrm>
            <a:off x="5513756" y="4818724"/>
            <a:ext cx="204853" cy="77707"/>
          </a:xfrm>
          <a:custGeom>
            <a:avLst/>
            <a:gdLst>
              <a:gd name="connsiteX0" fmla="*/ 34732 w 152682"/>
              <a:gd name="connsiteY0" fmla="*/ 4355 h 54782"/>
              <a:gd name="connsiteX1" fmla="*/ 140322 w 152682"/>
              <a:gd name="connsiteY1" fmla="*/ 12655 h 54782"/>
              <a:gd name="connsiteX2" fmla="*/ 118123 w 152682"/>
              <a:gd name="connsiteY2" fmla="*/ 50506 h 54782"/>
              <a:gd name="connsiteX3" fmla="*/ 12420 w 152682"/>
              <a:gd name="connsiteY3" fmla="*/ 42183 h 54782"/>
              <a:gd name="connsiteX4" fmla="*/ 34732 w 152682"/>
              <a:gd name="connsiteY4" fmla="*/ 435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2" h="54782">
                <a:moveTo>
                  <a:pt x="34732" y="4355"/>
                </a:moveTo>
                <a:cubicBezTo>
                  <a:pt x="69982" y="-3788"/>
                  <a:pt x="117332" y="-67"/>
                  <a:pt x="140322" y="12655"/>
                </a:cubicBezTo>
                <a:cubicBezTo>
                  <a:pt x="163347" y="25389"/>
                  <a:pt x="153384" y="42364"/>
                  <a:pt x="118123" y="50506"/>
                </a:cubicBezTo>
                <a:cubicBezTo>
                  <a:pt x="82772" y="58648"/>
                  <a:pt x="35444" y="54939"/>
                  <a:pt x="12420" y="42183"/>
                </a:cubicBezTo>
                <a:cubicBezTo>
                  <a:pt x="-10582" y="29472"/>
                  <a:pt x="-608" y="12508"/>
                  <a:pt x="34732" y="4355"/>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41" name="Freeform: Shape 9740">
            <a:extLst>
              <a:ext uri="{FF2B5EF4-FFF2-40B4-BE49-F238E27FC236}">
                <a16:creationId xmlns:a16="http://schemas.microsoft.com/office/drawing/2014/main" id="{D6A46744-FFA0-A67B-9B8A-C6290B31BF04}"/>
              </a:ext>
            </a:extLst>
          </p:cNvPr>
          <p:cNvSpPr/>
          <p:nvPr/>
        </p:nvSpPr>
        <p:spPr>
          <a:xfrm>
            <a:off x="5673337" y="4912080"/>
            <a:ext cx="204886" cy="77719"/>
          </a:xfrm>
          <a:custGeom>
            <a:avLst/>
            <a:gdLst>
              <a:gd name="connsiteX0" fmla="*/ 34738 w 152706"/>
              <a:gd name="connsiteY0" fmla="*/ 4366 h 54790"/>
              <a:gd name="connsiteX1" fmla="*/ 140408 w 152706"/>
              <a:gd name="connsiteY1" fmla="*/ 12701 h 54790"/>
              <a:gd name="connsiteX2" fmla="*/ 118141 w 152706"/>
              <a:gd name="connsiteY2" fmla="*/ 50517 h 54790"/>
              <a:gd name="connsiteX3" fmla="*/ 12471 w 152706"/>
              <a:gd name="connsiteY3" fmla="*/ 42228 h 54790"/>
              <a:gd name="connsiteX4" fmla="*/ 34738 w 152706"/>
              <a:gd name="connsiteY4" fmla="*/ 4366 h 54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06" h="54790">
                <a:moveTo>
                  <a:pt x="34738" y="4366"/>
                </a:moveTo>
                <a:cubicBezTo>
                  <a:pt x="70022" y="-3776"/>
                  <a:pt x="117360" y="-33"/>
                  <a:pt x="140408" y="12701"/>
                </a:cubicBezTo>
                <a:cubicBezTo>
                  <a:pt x="163410" y="25434"/>
                  <a:pt x="153413" y="42375"/>
                  <a:pt x="118141" y="50517"/>
                </a:cubicBezTo>
                <a:cubicBezTo>
                  <a:pt x="82823" y="58671"/>
                  <a:pt x="35518" y="54984"/>
                  <a:pt x="12471" y="42228"/>
                </a:cubicBezTo>
                <a:cubicBezTo>
                  <a:pt x="-10554" y="29494"/>
                  <a:pt x="-579" y="12542"/>
                  <a:pt x="34738" y="4366"/>
                </a:cubicBezTo>
                <a:close/>
              </a:path>
            </a:pathLst>
          </a:custGeom>
          <a:solidFill>
            <a:srgbClr val="D0DB67"/>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90" name="Group 11189">
            <a:extLst>
              <a:ext uri="{FF2B5EF4-FFF2-40B4-BE49-F238E27FC236}">
                <a16:creationId xmlns:a16="http://schemas.microsoft.com/office/drawing/2014/main" id="{8BBF658B-545C-B50A-DEF4-97389EF74E4E}"/>
              </a:ext>
            </a:extLst>
          </p:cNvPr>
          <p:cNvGrpSpPr/>
          <p:nvPr/>
        </p:nvGrpSpPr>
        <p:grpSpPr>
          <a:xfrm>
            <a:off x="2759434" y="4301917"/>
            <a:ext cx="364804" cy="272940"/>
            <a:chOff x="7204514" y="5278735"/>
            <a:chExt cx="334523" cy="250284"/>
          </a:xfrm>
        </p:grpSpPr>
        <p:grpSp>
          <p:nvGrpSpPr>
            <p:cNvPr id="11192" name="Graphic 641">
              <a:extLst>
                <a:ext uri="{FF2B5EF4-FFF2-40B4-BE49-F238E27FC236}">
                  <a16:creationId xmlns:a16="http://schemas.microsoft.com/office/drawing/2014/main" id="{0A990CC6-7897-A358-F658-8A25713A281D}"/>
                </a:ext>
              </a:extLst>
            </p:cNvPr>
            <p:cNvGrpSpPr/>
            <p:nvPr/>
          </p:nvGrpSpPr>
          <p:grpSpPr>
            <a:xfrm>
              <a:off x="7204514" y="5314066"/>
              <a:ext cx="188167" cy="129348"/>
              <a:chOff x="2892480" y="4028747"/>
              <a:chExt cx="152940" cy="99442"/>
            </a:xfrm>
            <a:gradFill flip="none" rotWithShape="1">
              <a:gsLst>
                <a:gs pos="100000">
                  <a:srgbClr val="008896"/>
                </a:gs>
                <a:gs pos="0">
                  <a:srgbClr val="005A64"/>
                </a:gs>
              </a:gsLst>
              <a:lin ang="0" scaled="1"/>
              <a:tileRect/>
            </a:gradFill>
          </p:grpSpPr>
          <p:sp>
            <p:nvSpPr>
              <p:cNvPr id="11200" name="Freeform: Shape 11199">
                <a:extLst>
                  <a:ext uri="{FF2B5EF4-FFF2-40B4-BE49-F238E27FC236}">
                    <a16:creationId xmlns:a16="http://schemas.microsoft.com/office/drawing/2014/main" id="{AE722EC8-B914-40FA-31AA-07F16470C810}"/>
                  </a:ext>
                </a:extLst>
              </p:cNvPr>
              <p:cNvSpPr/>
              <p:nvPr/>
            </p:nvSpPr>
            <p:spPr>
              <a:xfrm>
                <a:off x="2892480" y="4028747"/>
                <a:ext cx="152940" cy="99442"/>
              </a:xfrm>
              <a:custGeom>
                <a:avLst/>
                <a:gdLst>
                  <a:gd name="connsiteX0" fmla="*/ 153031 w 152940"/>
                  <a:gd name="connsiteY0" fmla="*/ 517 h 99442"/>
                  <a:gd name="connsiteX1" fmla="*/ 152783 w 152940"/>
                  <a:gd name="connsiteY1" fmla="*/ 72328 h 99442"/>
                  <a:gd name="connsiteX2" fmla="*/ 118178 w 152940"/>
                  <a:gd name="connsiteY2" fmla="*/ 95161 h 99442"/>
                  <a:gd name="connsiteX3" fmla="*/ 12451 w 152940"/>
                  <a:gd name="connsiteY3" fmla="*/ 86849 h 99442"/>
                  <a:gd name="connsiteX4" fmla="*/ 91 w 152940"/>
                  <a:gd name="connsiteY4" fmla="*/ 71865 h 99442"/>
                  <a:gd name="connsiteX5" fmla="*/ 340 w 152940"/>
                  <a:gd name="connsiteY5" fmla="*/ 42 h 99442"/>
                  <a:gd name="connsiteX6" fmla="*/ 12712 w 152940"/>
                  <a:gd name="connsiteY6" fmla="*/ 15038 h 99442"/>
                  <a:gd name="connsiteX7" fmla="*/ 118404 w 152940"/>
                  <a:gd name="connsiteY7" fmla="*/ 23327 h 99442"/>
                  <a:gd name="connsiteX8" fmla="*/ 153031 w 152940"/>
                  <a:gd name="connsiteY8" fmla="*/ 517 h 9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42">
                    <a:moveTo>
                      <a:pt x="153031" y="517"/>
                    </a:moveTo>
                    <a:lnTo>
                      <a:pt x="152783" y="72328"/>
                    </a:lnTo>
                    <a:cubicBezTo>
                      <a:pt x="152749" y="81274"/>
                      <a:pt x="140558" y="89993"/>
                      <a:pt x="118178" y="95161"/>
                    </a:cubicBezTo>
                    <a:cubicBezTo>
                      <a:pt x="82838" y="103326"/>
                      <a:pt x="35499" y="99583"/>
                      <a:pt x="12451" y="86849"/>
                    </a:cubicBezTo>
                    <a:cubicBezTo>
                      <a:pt x="4083" y="82201"/>
                      <a:pt x="68" y="77010"/>
                      <a:pt x="91" y="71865"/>
                    </a:cubicBezTo>
                    <a:lnTo>
                      <a:pt x="340" y="42"/>
                    </a:lnTo>
                    <a:cubicBezTo>
                      <a:pt x="328" y="5188"/>
                      <a:pt x="4332" y="10390"/>
                      <a:pt x="12712" y="15038"/>
                    </a:cubicBezTo>
                    <a:cubicBezTo>
                      <a:pt x="35736" y="27772"/>
                      <a:pt x="83086" y="31504"/>
                      <a:pt x="118404" y="23327"/>
                    </a:cubicBezTo>
                    <a:cubicBezTo>
                      <a:pt x="140795" y="18170"/>
                      <a:pt x="153009" y="9451"/>
                      <a:pt x="153031" y="517"/>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201" name="Graphic 641">
                <a:extLst>
                  <a:ext uri="{FF2B5EF4-FFF2-40B4-BE49-F238E27FC236}">
                    <a16:creationId xmlns:a16="http://schemas.microsoft.com/office/drawing/2014/main" id="{494F83F1-8E78-C886-5E08-5C602992A2C3}"/>
                  </a:ext>
                </a:extLst>
              </p:cNvPr>
              <p:cNvGrpSpPr/>
              <p:nvPr/>
            </p:nvGrpSpPr>
            <p:grpSpPr>
              <a:xfrm>
                <a:off x="2892480" y="4028747"/>
                <a:ext cx="152940" cy="99438"/>
                <a:chOff x="2892480" y="4028747"/>
                <a:chExt cx="152940" cy="99438"/>
              </a:xfrm>
              <a:grpFill/>
            </p:grpSpPr>
            <p:sp>
              <p:nvSpPr>
                <p:cNvPr id="11202" name="Freeform: Shape 11201">
                  <a:extLst>
                    <a:ext uri="{FF2B5EF4-FFF2-40B4-BE49-F238E27FC236}">
                      <a16:creationId xmlns:a16="http://schemas.microsoft.com/office/drawing/2014/main" id="{E05B4530-8D7E-616F-C9C5-5466080AD1BD}"/>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203" name="Freeform: Shape 11202">
                  <a:extLst>
                    <a:ext uri="{FF2B5EF4-FFF2-40B4-BE49-F238E27FC236}">
                      <a16:creationId xmlns:a16="http://schemas.microsoft.com/office/drawing/2014/main" id="{86E2C4C3-31A7-B875-F44E-84AA067C3A3C}"/>
                    </a:ext>
                  </a:extLst>
                </p:cNvPr>
                <p:cNvSpPr/>
                <p:nvPr/>
              </p:nvSpPr>
              <p:spPr>
                <a:xfrm>
                  <a:off x="2892480" y="4028747"/>
                  <a:ext cx="152940" cy="99438"/>
                </a:xfrm>
                <a:custGeom>
                  <a:avLst/>
                  <a:gdLst>
                    <a:gd name="connsiteX0" fmla="*/ 91 w 152940"/>
                    <a:gd name="connsiteY0" fmla="*/ 42 h 99438"/>
                    <a:gd name="connsiteX1" fmla="*/ 153031 w 152940"/>
                    <a:gd name="connsiteY1" fmla="*/ 42 h 99438"/>
                    <a:gd name="connsiteX2" fmla="*/ 153031 w 152940"/>
                    <a:gd name="connsiteY2" fmla="*/ 99481 h 99438"/>
                    <a:gd name="connsiteX3" fmla="*/ 91 w 152940"/>
                    <a:gd name="connsiteY3" fmla="*/ 99481 h 99438"/>
                  </a:gdLst>
                  <a:ahLst/>
                  <a:cxnLst>
                    <a:cxn ang="0">
                      <a:pos x="connsiteX0" y="connsiteY0"/>
                    </a:cxn>
                    <a:cxn ang="0">
                      <a:pos x="connsiteX1" y="connsiteY1"/>
                    </a:cxn>
                    <a:cxn ang="0">
                      <a:pos x="connsiteX2" y="connsiteY2"/>
                    </a:cxn>
                    <a:cxn ang="0">
                      <a:pos x="connsiteX3" y="connsiteY3"/>
                    </a:cxn>
                  </a:cxnLst>
                  <a:rect l="l" t="t" r="r" b="b"/>
                  <a:pathLst>
                    <a:path w="152940" h="99438">
                      <a:moveTo>
                        <a:pt x="91" y="42"/>
                      </a:moveTo>
                      <a:lnTo>
                        <a:pt x="153031" y="42"/>
                      </a:lnTo>
                      <a:lnTo>
                        <a:pt x="153031" y="99481"/>
                      </a:lnTo>
                      <a:lnTo>
                        <a:pt x="91" y="99481"/>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grpSp>
          <p:nvGrpSpPr>
            <p:cNvPr id="11193" name="Graphic 641">
              <a:extLst>
                <a:ext uri="{FF2B5EF4-FFF2-40B4-BE49-F238E27FC236}">
                  <a16:creationId xmlns:a16="http://schemas.microsoft.com/office/drawing/2014/main" id="{8E5B2437-20E1-F6B9-EDC6-363D0ADA6D85}"/>
                </a:ext>
              </a:extLst>
            </p:cNvPr>
            <p:cNvGrpSpPr/>
            <p:nvPr/>
          </p:nvGrpSpPr>
          <p:grpSpPr>
            <a:xfrm>
              <a:off x="7350870" y="5399676"/>
              <a:ext cx="188167" cy="129343"/>
              <a:chOff x="3011437" y="4094564"/>
              <a:chExt cx="152940" cy="99438"/>
            </a:xfrm>
            <a:gradFill flip="none" rotWithShape="1">
              <a:gsLst>
                <a:gs pos="100000">
                  <a:srgbClr val="008896"/>
                </a:gs>
                <a:gs pos="0">
                  <a:srgbClr val="005A64"/>
                </a:gs>
              </a:gsLst>
              <a:lin ang="0" scaled="1"/>
              <a:tileRect/>
            </a:gradFill>
          </p:grpSpPr>
          <p:sp>
            <p:nvSpPr>
              <p:cNvPr id="11196" name="Freeform: Shape 11195">
                <a:extLst>
                  <a:ext uri="{FF2B5EF4-FFF2-40B4-BE49-F238E27FC236}">
                    <a16:creationId xmlns:a16="http://schemas.microsoft.com/office/drawing/2014/main" id="{4DD8E9CD-8368-F8EA-41E0-663BE0014291}"/>
                  </a:ext>
                </a:extLst>
              </p:cNvPr>
              <p:cNvSpPr/>
              <p:nvPr/>
            </p:nvSpPr>
            <p:spPr>
              <a:xfrm>
                <a:off x="3011437" y="4094564"/>
                <a:ext cx="152940" cy="99438"/>
              </a:xfrm>
              <a:custGeom>
                <a:avLst/>
                <a:gdLst>
                  <a:gd name="connsiteX0" fmla="*/ 153065 w 152940"/>
                  <a:gd name="connsiteY0" fmla="*/ 536 h 99438"/>
                  <a:gd name="connsiteX1" fmla="*/ 152793 w 152940"/>
                  <a:gd name="connsiteY1" fmla="*/ 72358 h 99438"/>
                  <a:gd name="connsiteX2" fmla="*/ 118177 w 152940"/>
                  <a:gd name="connsiteY2" fmla="*/ 95168 h 99438"/>
                  <a:gd name="connsiteX3" fmla="*/ 12519 w 152940"/>
                  <a:gd name="connsiteY3" fmla="*/ 86890 h 99438"/>
                  <a:gd name="connsiteX4" fmla="*/ 124 w 152940"/>
                  <a:gd name="connsiteY4" fmla="*/ 71872 h 99438"/>
                  <a:gd name="connsiteX5" fmla="*/ 373 w 152940"/>
                  <a:gd name="connsiteY5" fmla="*/ 61 h 99438"/>
                  <a:gd name="connsiteX6" fmla="*/ 12779 w 152940"/>
                  <a:gd name="connsiteY6" fmla="*/ 15068 h 99438"/>
                  <a:gd name="connsiteX7" fmla="*/ 118426 w 152940"/>
                  <a:gd name="connsiteY7" fmla="*/ 23357 h 99438"/>
                  <a:gd name="connsiteX8" fmla="*/ 153065 w 152940"/>
                  <a:gd name="connsiteY8" fmla="*/ 536 h 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40" h="99438">
                    <a:moveTo>
                      <a:pt x="153065" y="536"/>
                    </a:moveTo>
                    <a:lnTo>
                      <a:pt x="152793" y="72358"/>
                    </a:lnTo>
                    <a:cubicBezTo>
                      <a:pt x="152782" y="81281"/>
                      <a:pt x="140591" y="90000"/>
                      <a:pt x="118177" y="95168"/>
                    </a:cubicBezTo>
                    <a:cubicBezTo>
                      <a:pt x="82848" y="103333"/>
                      <a:pt x="35555" y="99612"/>
                      <a:pt x="12519" y="86890"/>
                    </a:cubicBezTo>
                    <a:cubicBezTo>
                      <a:pt x="4105" y="82219"/>
                      <a:pt x="113" y="77017"/>
                      <a:pt x="124" y="71872"/>
                    </a:cubicBezTo>
                    <a:lnTo>
                      <a:pt x="373" y="61"/>
                    </a:lnTo>
                    <a:cubicBezTo>
                      <a:pt x="339" y="5184"/>
                      <a:pt x="4354" y="10408"/>
                      <a:pt x="12779" y="15068"/>
                    </a:cubicBezTo>
                    <a:cubicBezTo>
                      <a:pt x="35792" y="27813"/>
                      <a:pt x="83097" y="31511"/>
                      <a:pt x="118426" y="23357"/>
                    </a:cubicBezTo>
                    <a:cubicBezTo>
                      <a:pt x="140817" y="18189"/>
                      <a:pt x="153042" y="9458"/>
                      <a:pt x="153065" y="536"/>
                    </a:cubicBez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1197" name="Graphic 641">
                <a:extLst>
                  <a:ext uri="{FF2B5EF4-FFF2-40B4-BE49-F238E27FC236}">
                    <a16:creationId xmlns:a16="http://schemas.microsoft.com/office/drawing/2014/main" id="{198E4A8C-A8D6-6FCF-004E-D11CF127FAF2}"/>
                  </a:ext>
                </a:extLst>
              </p:cNvPr>
              <p:cNvGrpSpPr/>
              <p:nvPr/>
            </p:nvGrpSpPr>
            <p:grpSpPr>
              <a:xfrm>
                <a:off x="3011437" y="4094564"/>
                <a:ext cx="152940" cy="99438"/>
                <a:chOff x="3011437" y="4094564"/>
                <a:chExt cx="152940" cy="99438"/>
              </a:xfrm>
              <a:grpFill/>
            </p:grpSpPr>
            <p:sp>
              <p:nvSpPr>
                <p:cNvPr id="11198" name="Freeform: Shape 11197">
                  <a:extLst>
                    <a:ext uri="{FF2B5EF4-FFF2-40B4-BE49-F238E27FC236}">
                      <a16:creationId xmlns:a16="http://schemas.microsoft.com/office/drawing/2014/main" id="{E399903E-46E8-A317-3C09-E585CE056CF3}"/>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99" name="Freeform: Shape 11198">
                  <a:extLst>
                    <a:ext uri="{FF2B5EF4-FFF2-40B4-BE49-F238E27FC236}">
                      <a16:creationId xmlns:a16="http://schemas.microsoft.com/office/drawing/2014/main" id="{9F251999-1DBE-BC5B-6C4F-CB30BAE0ACED}"/>
                    </a:ext>
                  </a:extLst>
                </p:cNvPr>
                <p:cNvSpPr/>
                <p:nvPr/>
              </p:nvSpPr>
              <p:spPr>
                <a:xfrm>
                  <a:off x="3011437" y="4094564"/>
                  <a:ext cx="152940" cy="99438"/>
                </a:xfrm>
                <a:custGeom>
                  <a:avLst/>
                  <a:gdLst>
                    <a:gd name="connsiteX0" fmla="*/ 124 w 152940"/>
                    <a:gd name="connsiteY0" fmla="*/ 61 h 99438"/>
                    <a:gd name="connsiteX1" fmla="*/ 153065 w 152940"/>
                    <a:gd name="connsiteY1" fmla="*/ 61 h 99438"/>
                    <a:gd name="connsiteX2" fmla="*/ 153065 w 152940"/>
                    <a:gd name="connsiteY2" fmla="*/ 99499 h 99438"/>
                    <a:gd name="connsiteX3" fmla="*/ 124 w 152940"/>
                    <a:gd name="connsiteY3" fmla="*/ 99499 h 99438"/>
                  </a:gdLst>
                  <a:ahLst/>
                  <a:cxnLst>
                    <a:cxn ang="0">
                      <a:pos x="connsiteX0" y="connsiteY0"/>
                    </a:cxn>
                    <a:cxn ang="0">
                      <a:pos x="connsiteX1" y="connsiteY1"/>
                    </a:cxn>
                    <a:cxn ang="0">
                      <a:pos x="connsiteX2" y="connsiteY2"/>
                    </a:cxn>
                    <a:cxn ang="0">
                      <a:pos x="connsiteX3" y="connsiteY3"/>
                    </a:cxn>
                  </a:cxnLst>
                  <a:rect l="l" t="t" r="r" b="b"/>
                  <a:pathLst>
                    <a:path w="152940" h="99438">
                      <a:moveTo>
                        <a:pt x="124" y="61"/>
                      </a:moveTo>
                      <a:lnTo>
                        <a:pt x="153065" y="61"/>
                      </a:lnTo>
                      <a:lnTo>
                        <a:pt x="153065" y="99499"/>
                      </a:lnTo>
                      <a:lnTo>
                        <a:pt x="124" y="99499"/>
                      </a:lnTo>
                      <a:close/>
                    </a:path>
                  </a:pathLst>
                </a:custGeom>
                <a:grp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sp>
          <p:nvSpPr>
            <p:cNvPr id="11194" name="Freeform: Shape 11193">
              <a:extLst>
                <a:ext uri="{FF2B5EF4-FFF2-40B4-BE49-F238E27FC236}">
                  <a16:creationId xmlns:a16="http://schemas.microsoft.com/office/drawing/2014/main" id="{3D0B2917-B85F-CCF7-F1EF-B9833DDF12A2}"/>
                </a:ext>
              </a:extLst>
            </p:cNvPr>
            <p:cNvSpPr/>
            <p:nvPr/>
          </p:nvSpPr>
          <p:spPr>
            <a:xfrm>
              <a:off x="7204833" y="5278735"/>
              <a:ext cx="187844" cy="71257"/>
            </a:xfrm>
            <a:custGeom>
              <a:avLst/>
              <a:gdLst>
                <a:gd name="connsiteX0" fmla="*/ 34765 w 152678"/>
                <a:gd name="connsiteY0" fmla="*/ 4335 h 54782"/>
                <a:gd name="connsiteX1" fmla="*/ 140356 w 152678"/>
                <a:gd name="connsiteY1" fmla="*/ 12647 h 54782"/>
                <a:gd name="connsiteX2" fmla="*/ 118145 w 152678"/>
                <a:gd name="connsiteY2" fmla="*/ 50475 h 54782"/>
                <a:gd name="connsiteX3" fmla="*/ 12453 w 152678"/>
                <a:gd name="connsiteY3" fmla="*/ 42186 h 54782"/>
                <a:gd name="connsiteX4" fmla="*/ 34765 w 152678"/>
                <a:gd name="connsiteY4" fmla="*/ 4335 h 5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78" h="54782">
                  <a:moveTo>
                    <a:pt x="34765" y="4335"/>
                  </a:moveTo>
                  <a:cubicBezTo>
                    <a:pt x="70037" y="-3796"/>
                    <a:pt x="117376" y="-75"/>
                    <a:pt x="140356" y="12647"/>
                  </a:cubicBezTo>
                  <a:cubicBezTo>
                    <a:pt x="163403" y="25381"/>
                    <a:pt x="153429" y="42344"/>
                    <a:pt x="118145" y="50475"/>
                  </a:cubicBezTo>
                  <a:cubicBezTo>
                    <a:pt x="82828" y="58651"/>
                    <a:pt x="35478" y="54920"/>
                    <a:pt x="12453" y="42186"/>
                  </a:cubicBezTo>
                  <a:cubicBezTo>
                    <a:pt x="-10527" y="29463"/>
                    <a:pt x="-552" y="12500"/>
                    <a:pt x="34765" y="4335"/>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195" name="Freeform: Shape 11194">
              <a:extLst>
                <a:ext uri="{FF2B5EF4-FFF2-40B4-BE49-F238E27FC236}">
                  <a16:creationId xmlns:a16="http://schemas.microsoft.com/office/drawing/2014/main" id="{A177F6E6-D4BC-8C4D-DFE0-7234A503E375}"/>
                </a:ext>
              </a:extLst>
            </p:cNvPr>
            <p:cNvSpPr/>
            <p:nvPr/>
          </p:nvSpPr>
          <p:spPr>
            <a:xfrm>
              <a:off x="7351167" y="5364344"/>
              <a:ext cx="187863" cy="71264"/>
            </a:xfrm>
            <a:custGeom>
              <a:avLst/>
              <a:gdLst>
                <a:gd name="connsiteX0" fmla="*/ 34794 w 152693"/>
                <a:gd name="connsiteY0" fmla="*/ 4366 h 54787"/>
                <a:gd name="connsiteX1" fmla="*/ 140418 w 152693"/>
                <a:gd name="connsiteY1" fmla="*/ 12689 h 54787"/>
                <a:gd name="connsiteX2" fmla="*/ 118185 w 152693"/>
                <a:gd name="connsiteY2" fmla="*/ 50506 h 54787"/>
                <a:gd name="connsiteX3" fmla="*/ 12538 w 152693"/>
                <a:gd name="connsiteY3" fmla="*/ 42216 h 54787"/>
                <a:gd name="connsiteX4" fmla="*/ 34794 w 152693"/>
                <a:gd name="connsiteY4" fmla="*/ 4366 h 54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93" h="54787">
                  <a:moveTo>
                    <a:pt x="34794" y="4366"/>
                  </a:moveTo>
                  <a:cubicBezTo>
                    <a:pt x="70077" y="-3788"/>
                    <a:pt x="117416" y="-56"/>
                    <a:pt x="140418" y="12689"/>
                  </a:cubicBezTo>
                  <a:cubicBezTo>
                    <a:pt x="163454" y="25434"/>
                    <a:pt x="153457" y="42364"/>
                    <a:pt x="118185" y="50506"/>
                  </a:cubicBezTo>
                  <a:cubicBezTo>
                    <a:pt x="82856" y="58660"/>
                    <a:pt x="35552" y="54962"/>
                    <a:pt x="12538" y="42216"/>
                  </a:cubicBezTo>
                  <a:cubicBezTo>
                    <a:pt x="-10521" y="29460"/>
                    <a:pt x="-524" y="12520"/>
                    <a:pt x="34794" y="4366"/>
                  </a:cubicBezTo>
                  <a:close/>
                </a:path>
              </a:pathLst>
            </a:custGeom>
            <a:solidFill>
              <a:srgbClr val="008896"/>
            </a:solidFill>
            <a:ln w="11275" cap="flat">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9" name="Title 3">
            <a:extLst>
              <a:ext uri="{FF2B5EF4-FFF2-40B4-BE49-F238E27FC236}">
                <a16:creationId xmlns:a16="http://schemas.microsoft.com/office/drawing/2014/main" id="{2B5C54FC-2394-04D9-97C2-91298161D20D}"/>
              </a:ext>
            </a:extLst>
          </p:cNvPr>
          <p:cNvSpPr>
            <a:spLocks noGrp="1"/>
          </p:cNvSpPr>
          <p:nvPr>
            <p:ph type="title"/>
          </p:nvPr>
        </p:nvSpPr>
        <p:spPr>
          <a:xfrm>
            <a:off x="554736" y="202989"/>
            <a:ext cx="7918704" cy="73866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dirty="0"/>
              <a:t>Capabilities are “building-blocks” that span platforms and can be flexibly applied to differing use cases </a:t>
            </a:r>
          </a:p>
        </p:txBody>
      </p:sp>
    </p:spTree>
    <p:extLst>
      <p:ext uri="{BB962C8B-B14F-4D97-AF65-F5344CB8AC3E}">
        <p14:creationId xmlns:p14="http://schemas.microsoft.com/office/powerpoint/2010/main" val="21240658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15F84D-C954-3C4D-7EF4-923965CEB51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1315F84D-C954-3C4D-7EF4-923965CEB51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8" name="Picture 7" descr="A close up of a green eye&#10;&#10;Description automatically generated">
            <a:extLst>
              <a:ext uri="{FF2B5EF4-FFF2-40B4-BE49-F238E27FC236}">
                <a16:creationId xmlns:a16="http://schemas.microsoft.com/office/drawing/2014/main" id="{295960A4-CF95-0C33-02BF-43715AEAE297}"/>
              </a:ext>
            </a:extLst>
          </p:cNvPr>
          <p:cNvPicPr>
            <a:picLocks noChangeAspect="1"/>
          </p:cNvPicPr>
          <p:nvPr/>
        </p:nvPicPr>
        <p:blipFill rotWithShape="1">
          <a:blip r:embed="rId6"/>
          <a:srcRect t="25509" r="23818"/>
          <a:stretch/>
        </p:blipFill>
        <p:spPr>
          <a:xfrm>
            <a:off x="3810000" y="8899"/>
            <a:ext cx="8382000" cy="4615013"/>
          </a:xfrm>
          <a:prstGeom prst="rect">
            <a:avLst/>
          </a:prstGeom>
        </p:spPr>
      </p:pic>
      <p:sp>
        <p:nvSpPr>
          <p:cNvPr id="5" name="Titel 4">
            <a:extLst>
              <a:ext uri="{FF2B5EF4-FFF2-40B4-BE49-F238E27FC236}">
                <a16:creationId xmlns:a16="http://schemas.microsoft.com/office/drawing/2014/main" id="{7036F4DE-F607-3FB2-01BB-BA54873B34C6}"/>
              </a:ext>
            </a:extLst>
          </p:cNvPr>
          <p:cNvSpPr>
            <a:spLocks noGrp="1"/>
          </p:cNvSpPr>
          <p:nvPr>
            <p:ph type="title"/>
          </p:nvPr>
        </p:nvSpPr>
        <p:spPr>
          <a:xfrm>
            <a:off x="411163" y="2423513"/>
            <a:ext cx="9288000" cy="2585323"/>
          </a:xfrm>
        </p:spPr>
        <p:txBody>
          <a:bodyPr vert="horz"/>
          <a:lstStyle/>
          <a:p>
            <a:r>
              <a:rPr lang="en-US" sz="2400" b="1" noProof="0"/>
              <a:t>ACHEMA 2024 </a:t>
            </a:r>
            <a:br>
              <a:rPr lang="en-US" sz="5400" b="1" noProof="0"/>
            </a:br>
            <a:r>
              <a:rPr lang="en-US" sz="4800" b="1"/>
              <a:t>Transforming the </a:t>
            </a:r>
            <a:br>
              <a:rPr lang="en-US" sz="4800" b="1"/>
            </a:br>
            <a:r>
              <a:rPr lang="en-US" sz="4800" b="1"/>
              <a:t>process industries </a:t>
            </a:r>
            <a:br>
              <a:rPr lang="en-US" sz="4800" b="1"/>
            </a:br>
            <a:r>
              <a:rPr lang="en-US" sz="4800" b="1"/>
              <a:t>for a </a:t>
            </a:r>
            <a:r>
              <a:rPr lang="en-US" sz="4800" b="1">
                <a:solidFill>
                  <a:srgbClr val="00C1B6"/>
                </a:solidFill>
              </a:rPr>
              <a:t>sustainable tomorrow</a:t>
            </a:r>
            <a:endParaRPr lang="en-US" sz="5400" b="1">
              <a:solidFill>
                <a:srgbClr val="00C1B6"/>
              </a:solidFill>
            </a:endParaRPr>
          </a:p>
        </p:txBody>
      </p:sp>
    </p:spTree>
    <p:extLst>
      <p:ext uri="{BB962C8B-B14F-4D97-AF65-F5344CB8AC3E}">
        <p14:creationId xmlns:p14="http://schemas.microsoft.com/office/powerpoint/2010/main" val="96564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920153-49DE-18D2-3063-74ED69ED1602}"/>
              </a:ext>
            </a:extLst>
          </p:cNvPr>
          <p:cNvSpPr>
            <a:spLocks noGrp="1"/>
          </p:cNvSpPr>
          <p:nvPr>
            <p:ph type="title"/>
          </p:nvPr>
        </p:nvSpPr>
        <p:spPr>
          <a:xfrm>
            <a:off x="1164001" y="489801"/>
            <a:ext cx="9863997" cy="576000"/>
          </a:xfrm>
        </p:spPr>
        <p:txBody>
          <a:bodyPr/>
          <a:lstStyle/>
          <a:p>
            <a:pPr algn="ctr"/>
            <a:r>
              <a:rPr lang="de-DE"/>
              <a:t>Welcome </a:t>
            </a:r>
            <a:r>
              <a:rPr lang="de-DE" err="1"/>
              <a:t>to</a:t>
            </a:r>
            <a:r>
              <a:rPr lang="de-DE"/>
              <a:t> </a:t>
            </a:r>
            <a:r>
              <a:rPr lang="de-DE" err="1"/>
              <a:t>the</a:t>
            </a:r>
            <a:r>
              <a:rPr lang="de-DE"/>
              <a:t> Siemens Press Conference @ ACHEMA 2024</a:t>
            </a:r>
          </a:p>
        </p:txBody>
      </p:sp>
      <p:pic>
        <p:nvPicPr>
          <p:cNvPr id="5" name="Grafik 4">
            <a:extLst>
              <a:ext uri="{FF2B5EF4-FFF2-40B4-BE49-F238E27FC236}">
                <a16:creationId xmlns:a16="http://schemas.microsoft.com/office/drawing/2014/main" id="{42F23FF1-8909-DE06-A1C8-29729C36472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285861" y="1485862"/>
            <a:ext cx="3620278" cy="3620278"/>
          </a:xfrm>
          <a:prstGeom prst="rect">
            <a:avLst/>
          </a:prstGeom>
        </p:spPr>
      </p:pic>
      <p:sp>
        <p:nvSpPr>
          <p:cNvPr id="6" name="Textfeld 5">
            <a:extLst>
              <a:ext uri="{FF2B5EF4-FFF2-40B4-BE49-F238E27FC236}">
                <a16:creationId xmlns:a16="http://schemas.microsoft.com/office/drawing/2014/main" id="{ADE535BD-011B-45AA-0323-34A8E3F10037}"/>
              </a:ext>
            </a:extLst>
          </p:cNvPr>
          <p:cNvSpPr txBox="1"/>
          <p:nvPr/>
        </p:nvSpPr>
        <p:spPr>
          <a:xfrm>
            <a:off x="2769116" y="5526201"/>
            <a:ext cx="6653766"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kumimoji="0" lang="de-DE" sz="1800" b="0" i="0" u="none" strike="noStrike" kern="0" cap="none" spc="0" normalizeH="0" baseline="0" noProof="0">
                <a:ln>
                  <a:noFill/>
                </a:ln>
                <a:solidFill>
                  <a:prstClr val="white"/>
                </a:solidFill>
                <a:effectLst/>
                <a:uLnTx/>
                <a:uFillTx/>
                <a:latin typeface="Arial"/>
                <a:ea typeface="+mn-ea"/>
                <a:cs typeface="+mn-cs"/>
              </a:rPr>
              <a:t>Press kit: </a:t>
            </a:r>
            <a:r>
              <a:rPr kumimoji="0" lang="de-DE" sz="1800" b="0" i="0" u="none" strike="noStrike" kern="0" cap="none" spc="0" normalizeH="0" baseline="0" noProof="0" err="1">
                <a:ln>
                  <a:noFill/>
                </a:ln>
                <a:solidFill>
                  <a:prstClr val="white"/>
                </a:solidFill>
                <a:effectLst/>
                <a:uLnTx/>
                <a:uFillTx/>
                <a:latin typeface="Arial"/>
                <a:ea typeface="+mn-ea"/>
                <a:cs typeface="+mn-cs"/>
              </a:rPr>
              <a:t>scan</a:t>
            </a:r>
            <a:r>
              <a:rPr kumimoji="0" lang="de-DE" sz="1800" b="0" i="0" u="none" strike="noStrike" kern="0" cap="none" spc="0" normalizeH="0" baseline="0" noProof="0">
                <a:ln>
                  <a:noFill/>
                </a:ln>
                <a:solidFill>
                  <a:prstClr val="white"/>
                </a:solidFill>
                <a:effectLst/>
                <a:uLnTx/>
                <a:uFillTx/>
                <a:latin typeface="Arial"/>
                <a:ea typeface="+mn-ea"/>
                <a:cs typeface="+mn-cs"/>
              </a:rPr>
              <a:t> </a:t>
            </a:r>
            <a:r>
              <a:rPr kumimoji="0" lang="de-DE" sz="1800" b="0" i="0" u="none" strike="noStrike" kern="0" cap="none" spc="0" normalizeH="0" baseline="0" noProof="0" err="1">
                <a:ln>
                  <a:noFill/>
                </a:ln>
                <a:solidFill>
                  <a:prstClr val="white"/>
                </a:solidFill>
                <a:effectLst/>
                <a:uLnTx/>
                <a:uFillTx/>
                <a:latin typeface="Arial"/>
                <a:ea typeface="+mn-ea"/>
                <a:cs typeface="+mn-cs"/>
              </a:rPr>
              <a:t>the</a:t>
            </a:r>
            <a:r>
              <a:rPr kumimoji="0" lang="de-DE" sz="1800" b="0" i="0" u="none" strike="noStrike" kern="0" cap="none" spc="0" normalizeH="0" baseline="0" noProof="0">
                <a:ln>
                  <a:noFill/>
                </a:ln>
                <a:solidFill>
                  <a:prstClr val="white"/>
                </a:solidFill>
                <a:effectLst/>
                <a:uLnTx/>
                <a:uFillTx/>
                <a:latin typeface="Arial"/>
                <a:ea typeface="+mn-ea"/>
                <a:cs typeface="+mn-cs"/>
              </a:rPr>
              <a:t> QR code </a:t>
            </a:r>
            <a:r>
              <a:rPr kumimoji="0" lang="de-DE" sz="1800" b="0" i="0" u="none" strike="noStrike" kern="0" cap="none" spc="0" normalizeH="0" baseline="0" noProof="0" err="1">
                <a:ln>
                  <a:noFill/>
                </a:ln>
                <a:solidFill>
                  <a:prstClr val="white"/>
                </a:solidFill>
                <a:effectLst/>
                <a:uLnTx/>
                <a:uFillTx/>
                <a:latin typeface="Arial"/>
                <a:ea typeface="+mn-ea"/>
                <a:cs typeface="+mn-cs"/>
              </a:rPr>
              <a:t>or</a:t>
            </a:r>
            <a:r>
              <a:rPr kumimoji="0" lang="de-DE" sz="1800" b="0" i="0" u="none" strike="noStrike" kern="0" cap="none" spc="0" normalizeH="0" baseline="0" noProof="0">
                <a:ln>
                  <a:noFill/>
                </a:ln>
                <a:solidFill>
                  <a:prstClr val="white"/>
                </a:solidFill>
                <a:effectLst/>
                <a:uLnTx/>
                <a:uFillTx/>
                <a:latin typeface="Arial"/>
                <a:ea typeface="+mn-ea"/>
                <a:cs typeface="+mn-cs"/>
              </a:rPr>
              <a:t> </a:t>
            </a:r>
            <a:r>
              <a:rPr kumimoji="0" lang="de-DE" sz="1800" b="0" i="0" u="none" strike="noStrike" kern="0" cap="none" spc="0" normalizeH="0" baseline="0" noProof="0" err="1">
                <a:ln>
                  <a:noFill/>
                </a:ln>
                <a:solidFill>
                  <a:prstClr val="white"/>
                </a:solidFill>
                <a:effectLst/>
                <a:uLnTx/>
                <a:uFillTx/>
                <a:latin typeface="Arial"/>
                <a:ea typeface="+mn-ea"/>
                <a:cs typeface="+mn-cs"/>
              </a:rPr>
              <a:t>access</a:t>
            </a:r>
            <a:r>
              <a:rPr kumimoji="0" lang="de-DE" sz="1800" b="0" i="0" u="none" strike="noStrike" kern="0" cap="none" spc="0" normalizeH="0" baseline="0" noProof="0">
                <a:ln>
                  <a:noFill/>
                </a:ln>
                <a:solidFill>
                  <a:prstClr val="white"/>
                </a:solidFill>
                <a:effectLst/>
                <a:uLnTx/>
                <a:uFillTx/>
                <a:latin typeface="Arial"/>
                <a:ea typeface="+mn-ea"/>
                <a:cs typeface="+mn-cs"/>
              </a:rPr>
              <a:t> via</a:t>
            </a:r>
          </a:p>
          <a:p>
            <a:pPr marL="0" marR="0" lvl="0" indent="0" algn="ctr" defTabSz="914400" rtl="0" eaLnBrk="1" fontAlgn="auto" latinLnBrk="0" hangingPunct="1">
              <a:lnSpc>
                <a:spcPct val="100000"/>
              </a:lnSpc>
              <a:spcBef>
                <a:spcPts val="0"/>
              </a:spcBef>
              <a:spcAft>
                <a:spcPts val="0"/>
              </a:spcAft>
              <a:buClr>
                <a:srgbClr val="009999"/>
              </a:buClr>
              <a:buSzTx/>
              <a:buFontTx/>
              <a:buNone/>
              <a:tabLst/>
              <a:defRPr/>
            </a:pPr>
            <a:r>
              <a:rPr kumimoji="0" lang="de-DE" sz="1800" b="1" i="0" u="none" strike="noStrike" kern="0" cap="none" spc="0" normalizeH="0" baseline="0" noProof="0">
                <a:ln>
                  <a:noFill/>
                </a:ln>
                <a:solidFill>
                  <a:srgbClr val="00C1B6"/>
                </a:solidFill>
                <a:effectLst/>
                <a:uLnTx/>
                <a:uFillTx/>
                <a:latin typeface="-apple-system"/>
                <a:ea typeface="+mn-ea"/>
                <a:cs typeface="+mn-cs"/>
              </a:rPr>
              <a:t>siemens.com/press/achema24 </a:t>
            </a:r>
            <a:endParaRPr kumimoji="0" lang="de-DE" sz="1800" b="1"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73435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23000">
              <a:schemeClr val="accent6"/>
            </a:gs>
            <a:gs pos="100000">
              <a:schemeClr val="accent1"/>
            </a:gs>
          </a:gsLst>
          <a:path path="rect">
            <a:fillToRect r="100000" b="100000"/>
          </a:path>
          <a:tileRect l="-100000" t="-100000"/>
        </a:gra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B5079E6-2756-0C18-2600-2B78CAE3BC66}"/>
              </a:ext>
            </a:extLst>
          </p:cNvPr>
          <p:cNvGraphicFramePr>
            <a:graphicFrameLocks noChangeAspect="1"/>
          </p:cNvGraphicFramePr>
          <p:nvPr>
            <p:custDataLst>
              <p:tags r:id="rId1"/>
            </p:custDataLst>
            <p:extLst>
              <p:ext uri="{D42A27DB-BD31-4B8C-83A1-F6EECF244321}">
                <p14:modId xmlns:p14="http://schemas.microsoft.com/office/powerpoint/2010/main" val="5332936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3B5079E6-2756-0C18-2600-2B78CAE3BC6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8" name="Title 57">
            <a:extLst>
              <a:ext uri="{FF2B5EF4-FFF2-40B4-BE49-F238E27FC236}">
                <a16:creationId xmlns:a16="http://schemas.microsoft.com/office/drawing/2014/main" id="{6CA26D9B-2DEA-0801-DAD3-7F8A5673C752}"/>
              </a:ext>
            </a:extLst>
          </p:cNvPr>
          <p:cNvSpPr>
            <a:spLocks noGrp="1"/>
          </p:cNvSpPr>
          <p:nvPr>
            <p:ph type="title"/>
          </p:nvPr>
        </p:nvSpPr>
        <p:spPr/>
        <p:txBody>
          <a:bodyPr vert="horz"/>
          <a:lstStyle/>
          <a:p>
            <a:r>
              <a:rPr lang="en-US"/>
              <a:t>Challenges for the process industries grow at an extreme rate</a:t>
            </a:r>
          </a:p>
        </p:txBody>
      </p:sp>
      <p:grpSp>
        <p:nvGrpSpPr>
          <p:cNvPr id="21" name="Group 20">
            <a:extLst>
              <a:ext uri="{FF2B5EF4-FFF2-40B4-BE49-F238E27FC236}">
                <a16:creationId xmlns:a16="http://schemas.microsoft.com/office/drawing/2014/main" id="{87835D61-258A-B016-036E-9547077DE42C}"/>
              </a:ext>
            </a:extLst>
          </p:cNvPr>
          <p:cNvGrpSpPr/>
          <p:nvPr/>
        </p:nvGrpSpPr>
        <p:grpSpPr>
          <a:xfrm>
            <a:off x="1275569" y="1630761"/>
            <a:ext cx="9640863" cy="3605756"/>
            <a:chOff x="1275569" y="1630761"/>
            <a:chExt cx="9640863" cy="3605756"/>
          </a:xfrm>
        </p:grpSpPr>
        <p:sp>
          <p:nvSpPr>
            <p:cNvPr id="9" name="!!!onflict">
              <a:extLst>
                <a:ext uri="{FF2B5EF4-FFF2-40B4-BE49-F238E27FC236}">
                  <a16:creationId xmlns:a16="http://schemas.microsoft.com/office/drawing/2014/main" id="{6A914F7B-0690-16C2-53E5-455C22C4E3FD}"/>
                </a:ext>
              </a:extLst>
            </p:cNvPr>
            <p:cNvSpPr txBox="1"/>
            <p:nvPr/>
          </p:nvSpPr>
          <p:spPr>
            <a:xfrm>
              <a:off x="4580611" y="2271758"/>
              <a:ext cx="2762180" cy="443198"/>
            </a:xfrm>
            <a:prstGeom prst="rect">
              <a:avLst/>
            </a:prstGeom>
            <a:noFill/>
            <a:effectLst>
              <a:outerShdw blurRad="254000" algn="ctr" rotWithShape="0">
                <a:schemeClr val="accent6">
                  <a:alpha val="40000"/>
                </a:schemeClr>
              </a:outerShdw>
            </a:effectLst>
          </p:spPr>
          <p:txBody>
            <a:bodyPr wrap="squar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360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Adaptability</a:t>
              </a:r>
            </a:p>
          </p:txBody>
        </p:sp>
        <p:sp>
          <p:nvSpPr>
            <p:cNvPr id="59" name="!!!onflict">
              <a:extLst>
                <a:ext uri="{FF2B5EF4-FFF2-40B4-BE49-F238E27FC236}">
                  <a16:creationId xmlns:a16="http://schemas.microsoft.com/office/drawing/2014/main" id="{E4A66C49-4A79-DDFB-2169-0747B6CB05D9}"/>
                </a:ext>
              </a:extLst>
            </p:cNvPr>
            <p:cNvSpPr txBox="1"/>
            <p:nvPr/>
          </p:nvSpPr>
          <p:spPr>
            <a:xfrm>
              <a:off x="2774621" y="2816153"/>
              <a:ext cx="5403723" cy="797782"/>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648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Sustainability</a:t>
              </a:r>
            </a:p>
          </p:txBody>
        </p:sp>
        <p:sp>
          <p:nvSpPr>
            <p:cNvPr id="60" name="!!!onflict">
              <a:extLst>
                <a:ext uri="{FF2B5EF4-FFF2-40B4-BE49-F238E27FC236}">
                  <a16:creationId xmlns:a16="http://schemas.microsoft.com/office/drawing/2014/main" id="{EED203BF-E0EE-03EB-20A8-3EFAD4673E8F}"/>
                </a:ext>
              </a:extLst>
            </p:cNvPr>
            <p:cNvSpPr txBox="1"/>
            <p:nvPr/>
          </p:nvSpPr>
          <p:spPr>
            <a:xfrm>
              <a:off x="8772746" y="4003591"/>
              <a:ext cx="1962077" cy="664797"/>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54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Safety</a:t>
              </a:r>
            </a:p>
          </p:txBody>
        </p:sp>
        <p:sp>
          <p:nvSpPr>
            <p:cNvPr id="61" name="!!!onflict">
              <a:extLst>
                <a:ext uri="{FF2B5EF4-FFF2-40B4-BE49-F238E27FC236}">
                  <a16:creationId xmlns:a16="http://schemas.microsoft.com/office/drawing/2014/main" id="{7A1FF6EA-B3BA-FBB2-78D5-A5E8ECDAC6D8}"/>
                </a:ext>
              </a:extLst>
            </p:cNvPr>
            <p:cNvSpPr txBox="1"/>
            <p:nvPr/>
          </p:nvSpPr>
          <p:spPr>
            <a:xfrm>
              <a:off x="4691525" y="3689370"/>
              <a:ext cx="3322543" cy="478631"/>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432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Cybersecurity</a:t>
              </a:r>
            </a:p>
          </p:txBody>
        </p:sp>
        <p:sp>
          <p:nvSpPr>
            <p:cNvPr id="62" name="!!!onflict">
              <a:extLst>
                <a:ext uri="{FF2B5EF4-FFF2-40B4-BE49-F238E27FC236}">
                  <a16:creationId xmlns:a16="http://schemas.microsoft.com/office/drawing/2014/main" id="{F66E3093-C7ED-75C8-6F05-4B99A3668305}"/>
                </a:ext>
              </a:extLst>
            </p:cNvPr>
            <p:cNvSpPr txBox="1"/>
            <p:nvPr/>
          </p:nvSpPr>
          <p:spPr>
            <a:xfrm>
              <a:off x="2638987" y="2306001"/>
              <a:ext cx="1660711" cy="344710"/>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Resilience</a:t>
              </a:r>
            </a:p>
          </p:txBody>
        </p:sp>
        <p:sp>
          <p:nvSpPr>
            <p:cNvPr id="63" name="!!!onflict">
              <a:extLst>
                <a:ext uri="{FF2B5EF4-FFF2-40B4-BE49-F238E27FC236}">
                  <a16:creationId xmlns:a16="http://schemas.microsoft.com/office/drawing/2014/main" id="{B1362378-D655-380D-81D2-3A80E5B06A45}"/>
                </a:ext>
              </a:extLst>
            </p:cNvPr>
            <p:cNvSpPr txBox="1"/>
            <p:nvPr/>
          </p:nvSpPr>
          <p:spPr>
            <a:xfrm>
              <a:off x="1275569" y="4638200"/>
              <a:ext cx="2873863" cy="598317"/>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540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Flexibility</a:t>
              </a:r>
            </a:p>
          </p:txBody>
        </p:sp>
        <p:sp>
          <p:nvSpPr>
            <p:cNvPr id="65" name="!!!onflict">
              <a:extLst>
                <a:ext uri="{FF2B5EF4-FFF2-40B4-BE49-F238E27FC236}">
                  <a16:creationId xmlns:a16="http://schemas.microsoft.com/office/drawing/2014/main" id="{6741C3E6-F298-3A66-5B5C-18EE19DBDDBA}"/>
                </a:ext>
              </a:extLst>
            </p:cNvPr>
            <p:cNvSpPr txBox="1"/>
            <p:nvPr/>
          </p:nvSpPr>
          <p:spPr>
            <a:xfrm rot="16200000">
              <a:off x="4226446" y="4580785"/>
              <a:ext cx="934551" cy="310213"/>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52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Health</a:t>
              </a:r>
            </a:p>
          </p:txBody>
        </p:sp>
        <p:sp>
          <p:nvSpPr>
            <p:cNvPr id="66" name="!!!onflict">
              <a:extLst>
                <a:ext uri="{FF2B5EF4-FFF2-40B4-BE49-F238E27FC236}">
                  <a16:creationId xmlns:a16="http://schemas.microsoft.com/office/drawing/2014/main" id="{DE1C0029-8FE7-1B10-555A-D2ABF8704391}"/>
                </a:ext>
              </a:extLst>
            </p:cNvPr>
            <p:cNvSpPr txBox="1"/>
            <p:nvPr/>
          </p:nvSpPr>
          <p:spPr>
            <a:xfrm>
              <a:off x="1644546" y="4153632"/>
              <a:ext cx="2605520" cy="319126"/>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88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Individualization</a:t>
              </a:r>
            </a:p>
          </p:txBody>
        </p:sp>
        <p:sp>
          <p:nvSpPr>
            <p:cNvPr id="67" name="!!!onflict">
              <a:extLst>
                <a:ext uri="{FF2B5EF4-FFF2-40B4-BE49-F238E27FC236}">
                  <a16:creationId xmlns:a16="http://schemas.microsoft.com/office/drawing/2014/main" id="{88C88A7C-EC64-923C-0F9F-3D59638C926C}"/>
                </a:ext>
              </a:extLst>
            </p:cNvPr>
            <p:cNvSpPr txBox="1"/>
            <p:nvPr/>
          </p:nvSpPr>
          <p:spPr>
            <a:xfrm rot="5400000">
              <a:off x="7698830" y="3549774"/>
              <a:ext cx="1566775" cy="279192"/>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52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Complexity</a:t>
              </a:r>
            </a:p>
          </p:txBody>
        </p:sp>
        <p:sp>
          <p:nvSpPr>
            <p:cNvPr id="68" name="!!!onflict">
              <a:extLst>
                <a:ext uri="{FF2B5EF4-FFF2-40B4-BE49-F238E27FC236}">
                  <a16:creationId xmlns:a16="http://schemas.microsoft.com/office/drawing/2014/main" id="{68D5BFB2-AEE0-BF3E-C899-CDCAB67EBFB8}"/>
                </a:ext>
              </a:extLst>
            </p:cNvPr>
            <p:cNvSpPr txBox="1"/>
            <p:nvPr/>
          </p:nvSpPr>
          <p:spPr>
            <a:xfrm>
              <a:off x="5371619" y="4853393"/>
              <a:ext cx="1719701" cy="319126"/>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88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Integration</a:t>
              </a:r>
            </a:p>
          </p:txBody>
        </p:sp>
        <p:sp>
          <p:nvSpPr>
            <p:cNvPr id="69" name="!!!onflict">
              <a:extLst>
                <a:ext uri="{FF2B5EF4-FFF2-40B4-BE49-F238E27FC236}">
                  <a16:creationId xmlns:a16="http://schemas.microsoft.com/office/drawing/2014/main" id="{6A23E949-5141-24F4-43A7-1EA06A0AC546}"/>
                </a:ext>
              </a:extLst>
            </p:cNvPr>
            <p:cNvSpPr txBox="1"/>
            <p:nvPr/>
          </p:nvSpPr>
          <p:spPr>
            <a:xfrm>
              <a:off x="7319054" y="1716337"/>
              <a:ext cx="2605520" cy="541687"/>
            </a:xfrm>
            <a:prstGeom prst="rect">
              <a:avLst/>
            </a:prstGeom>
            <a:noFill/>
            <a:effectLst>
              <a:outerShdw blurRad="254000" algn="ctr" rotWithShape="0">
                <a:schemeClr val="accent6">
                  <a:alpha val="40000"/>
                </a:schemeClr>
              </a:outerShdw>
            </a:effectLst>
          </p:spPr>
          <p:txBody>
            <a:bodyPr wrap="squar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440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Quality</a:t>
              </a:r>
            </a:p>
          </p:txBody>
        </p:sp>
        <p:sp>
          <p:nvSpPr>
            <p:cNvPr id="7" name="!!!onflict">
              <a:extLst>
                <a:ext uri="{FF2B5EF4-FFF2-40B4-BE49-F238E27FC236}">
                  <a16:creationId xmlns:a16="http://schemas.microsoft.com/office/drawing/2014/main" id="{368EA0E7-CF70-BC65-D1CA-A1DC164079D7}"/>
                </a:ext>
              </a:extLst>
            </p:cNvPr>
            <p:cNvSpPr txBox="1"/>
            <p:nvPr/>
          </p:nvSpPr>
          <p:spPr>
            <a:xfrm>
              <a:off x="7697200" y="4803072"/>
              <a:ext cx="2462214" cy="354584"/>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88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Cost pressure </a:t>
              </a:r>
            </a:p>
          </p:txBody>
        </p:sp>
        <p:sp>
          <p:nvSpPr>
            <p:cNvPr id="8" name="!!!onflict">
              <a:extLst>
                <a:ext uri="{FF2B5EF4-FFF2-40B4-BE49-F238E27FC236}">
                  <a16:creationId xmlns:a16="http://schemas.microsoft.com/office/drawing/2014/main" id="{A68C984D-106F-4FDD-DE74-534202DBAEEA}"/>
                </a:ext>
              </a:extLst>
            </p:cNvPr>
            <p:cNvSpPr txBox="1"/>
            <p:nvPr/>
          </p:nvSpPr>
          <p:spPr>
            <a:xfrm>
              <a:off x="4406239" y="1799711"/>
              <a:ext cx="2912815" cy="239316"/>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16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Faster innovation cycles</a:t>
              </a:r>
            </a:p>
          </p:txBody>
        </p:sp>
        <p:sp>
          <p:nvSpPr>
            <p:cNvPr id="11" name="!!!onflict">
              <a:extLst>
                <a:ext uri="{FF2B5EF4-FFF2-40B4-BE49-F238E27FC236}">
                  <a16:creationId xmlns:a16="http://schemas.microsoft.com/office/drawing/2014/main" id="{C712CA3D-43D0-6984-1000-D12CCCCFEE35}"/>
                </a:ext>
              </a:extLst>
            </p:cNvPr>
            <p:cNvSpPr txBox="1"/>
            <p:nvPr/>
          </p:nvSpPr>
          <p:spPr>
            <a:xfrm>
              <a:off x="2063949" y="3625866"/>
              <a:ext cx="2143856" cy="319126"/>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88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Lack of talent</a:t>
              </a:r>
            </a:p>
          </p:txBody>
        </p:sp>
        <p:sp>
          <p:nvSpPr>
            <p:cNvPr id="13" name="!!!onflict">
              <a:extLst>
                <a:ext uri="{FF2B5EF4-FFF2-40B4-BE49-F238E27FC236}">
                  <a16:creationId xmlns:a16="http://schemas.microsoft.com/office/drawing/2014/main" id="{91B3DE33-17EF-6736-11A4-4D6B7715E936}"/>
                </a:ext>
              </a:extLst>
            </p:cNvPr>
            <p:cNvSpPr txBox="1"/>
            <p:nvPr/>
          </p:nvSpPr>
          <p:spPr>
            <a:xfrm>
              <a:off x="8932715" y="3053789"/>
              <a:ext cx="1983717" cy="239316"/>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16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Ageing societies</a:t>
              </a:r>
            </a:p>
          </p:txBody>
        </p:sp>
        <p:sp>
          <p:nvSpPr>
            <p:cNvPr id="55" name="!!!onflict">
              <a:extLst>
                <a:ext uri="{FF2B5EF4-FFF2-40B4-BE49-F238E27FC236}">
                  <a16:creationId xmlns:a16="http://schemas.microsoft.com/office/drawing/2014/main" id="{C7AD7365-2E06-04FE-1F1D-08DA47C7C643}"/>
                </a:ext>
              </a:extLst>
            </p:cNvPr>
            <p:cNvSpPr txBox="1"/>
            <p:nvPr/>
          </p:nvSpPr>
          <p:spPr>
            <a:xfrm rot="16200000">
              <a:off x="1469655" y="2439220"/>
              <a:ext cx="1912383" cy="295466"/>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40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Glocalization</a:t>
              </a:r>
              <a:endParaRPr kumimoji="0" lang="en-US" sz="216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6" name="!!!onflict">
              <a:extLst>
                <a:ext uri="{FF2B5EF4-FFF2-40B4-BE49-F238E27FC236}">
                  <a16:creationId xmlns:a16="http://schemas.microsoft.com/office/drawing/2014/main" id="{D1D30A45-9EBC-4D42-EE63-EFF27801B872}"/>
                </a:ext>
              </a:extLst>
            </p:cNvPr>
            <p:cNvSpPr txBox="1"/>
            <p:nvPr/>
          </p:nvSpPr>
          <p:spPr>
            <a:xfrm>
              <a:off x="7623705" y="2439214"/>
              <a:ext cx="2996012" cy="265907"/>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16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Supply chain disruptions</a:t>
              </a:r>
            </a:p>
          </p:txBody>
        </p:sp>
        <p:sp>
          <p:nvSpPr>
            <p:cNvPr id="57" name="!!!onflict">
              <a:extLst>
                <a:ext uri="{FF2B5EF4-FFF2-40B4-BE49-F238E27FC236}">
                  <a16:creationId xmlns:a16="http://schemas.microsoft.com/office/drawing/2014/main" id="{2A7C2168-EE31-4A45-F531-486BF0605A2A}"/>
                </a:ext>
              </a:extLst>
            </p:cNvPr>
            <p:cNvSpPr txBox="1"/>
            <p:nvPr/>
          </p:nvSpPr>
          <p:spPr>
            <a:xfrm>
              <a:off x="4949462" y="4355028"/>
              <a:ext cx="2870979" cy="354584"/>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88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Circular economy</a:t>
              </a:r>
            </a:p>
          </p:txBody>
        </p:sp>
        <p:sp>
          <p:nvSpPr>
            <p:cNvPr id="70" name="!!!onflict">
              <a:extLst>
                <a:ext uri="{FF2B5EF4-FFF2-40B4-BE49-F238E27FC236}">
                  <a16:creationId xmlns:a16="http://schemas.microsoft.com/office/drawing/2014/main" id="{D07CD76F-45C9-B6C9-57E8-A5857531E356}"/>
                </a:ext>
              </a:extLst>
            </p:cNvPr>
            <p:cNvSpPr txBox="1"/>
            <p:nvPr/>
          </p:nvSpPr>
          <p:spPr>
            <a:xfrm>
              <a:off x="8928307" y="3569213"/>
              <a:ext cx="1242327" cy="265907"/>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16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Scalability</a:t>
              </a:r>
            </a:p>
          </p:txBody>
        </p:sp>
        <p:sp>
          <p:nvSpPr>
            <p:cNvPr id="5" name="!!!onflict">
              <a:extLst>
                <a:ext uri="{FF2B5EF4-FFF2-40B4-BE49-F238E27FC236}">
                  <a16:creationId xmlns:a16="http://schemas.microsoft.com/office/drawing/2014/main" id="{89C8C170-4908-321A-AB83-894B3055C206}"/>
                </a:ext>
              </a:extLst>
            </p:cNvPr>
            <p:cNvSpPr txBox="1"/>
            <p:nvPr/>
          </p:nvSpPr>
          <p:spPr>
            <a:xfrm>
              <a:off x="2947306" y="1853445"/>
              <a:ext cx="1098058" cy="246221"/>
            </a:xfrm>
            <a:prstGeom prst="rect">
              <a:avLst/>
            </a:prstGeom>
            <a:noFill/>
            <a:effectLst>
              <a:outerShdw blurRad="254000" algn="ctr" rotWithShape="0">
                <a:schemeClr val="accent6">
                  <a:alpha val="40000"/>
                </a:schemeClr>
              </a:outerShdw>
            </a:effectLst>
          </p:spPr>
          <p:txBody>
            <a:bodyPr wrap="none" lIns="0" tIns="0" rIns="0" bIns="0" anchor="ctr" anchorCtr="0">
              <a:spAutoFit/>
            </a:bodyPr>
            <a:lstStyle>
              <a:defPPr>
                <a:defRPr lang="en-US"/>
              </a:defPPr>
              <a:lvl1pPr algn="l" defTabSz="913943" fontAlgn="base">
                <a:lnSpc>
                  <a:spcPct val="80000"/>
                </a:lnSpc>
                <a:buClr>
                  <a:srgbClr val="00D7A0"/>
                </a:buClr>
                <a:defRPr sz="11100" b="1">
                  <a:solidFill>
                    <a:schemeClr val="tx1"/>
                  </a:solidFill>
                  <a:latin typeface="Arial" panose="020B0604020202020204" pitchFamily="34" charset="0"/>
                  <a:cs typeface="Arial" panose="020B0604020202020204" pitchFamily="34" charset="0"/>
                </a:defRPr>
              </a:lvl1pPr>
            </a:lstStyle>
            <a:p>
              <a:pPr marL="0" marR="0" lvl="0" indent="0" algn="ctr" defTabSz="913943" eaLnBrk="1" fontAlgn="base" latinLnBrk="0" hangingPunct="1">
                <a:lnSpc>
                  <a:spcPct val="80000"/>
                </a:lnSpc>
                <a:spcBef>
                  <a:spcPts val="0"/>
                </a:spcBef>
                <a:spcAft>
                  <a:spcPts val="0"/>
                </a:spcAft>
                <a:buClr>
                  <a:srgbClr val="00D7A0"/>
                </a:buClr>
                <a:buSzTx/>
                <a:buFontTx/>
                <a:buNone/>
                <a:tabLst/>
                <a:defRPr/>
              </a:pPr>
              <a:r>
                <a:rPr kumimoji="0" lang="en-US" sz="20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Efficiency</a:t>
              </a:r>
            </a:p>
          </p:txBody>
        </p:sp>
      </p:grpSp>
    </p:spTree>
    <p:extLst>
      <p:ext uri="{BB962C8B-B14F-4D97-AF65-F5344CB8AC3E}">
        <p14:creationId xmlns:p14="http://schemas.microsoft.com/office/powerpoint/2010/main" val="322325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Title 96">
            <a:extLst>
              <a:ext uri="{FF2B5EF4-FFF2-40B4-BE49-F238E27FC236}">
                <a16:creationId xmlns:a16="http://schemas.microsoft.com/office/drawing/2014/main" id="{BBA25EE8-A628-A585-350F-DA251DA58292}"/>
              </a:ext>
            </a:extLst>
          </p:cNvPr>
          <p:cNvSpPr>
            <a:spLocks noGrp="1"/>
          </p:cNvSpPr>
          <p:nvPr>
            <p:ph type="title"/>
          </p:nvPr>
        </p:nvSpPr>
        <p:spPr>
          <a:xfrm>
            <a:off x="986400" y="1161000"/>
            <a:ext cx="3996000" cy="4536000"/>
          </a:xfrm>
        </p:spPr>
        <p:txBody>
          <a:bodyPr anchor="ctr"/>
          <a:lstStyle/>
          <a:p>
            <a:pPr>
              <a:lnSpc>
                <a:spcPct val="100000"/>
              </a:lnSpc>
              <a:spcAft>
                <a:spcPts val="1200"/>
              </a:spcAft>
            </a:pPr>
            <a:r>
              <a:rPr lang="en-US" sz="1800" b="1" cap="all" spc="100">
                <a:solidFill>
                  <a:srgbClr val="00C1B6"/>
                </a:solidFill>
                <a:latin typeface="Arial" panose="020B0604020202020204" pitchFamily="34" charset="0"/>
              </a:rPr>
              <a:t>The Gamechanger</a:t>
            </a:r>
            <a:br>
              <a:rPr lang="en-US" sz="1800" b="1" cap="all">
                <a:solidFill>
                  <a:srgbClr val="00FFB9"/>
                </a:solidFill>
                <a:latin typeface="Arial" panose="020B0604020202020204" pitchFamily="34" charset="0"/>
              </a:rPr>
            </a:br>
            <a:br>
              <a:rPr lang="en-US" sz="400" b="1" cap="all">
                <a:solidFill>
                  <a:srgbClr val="00FFB9"/>
                </a:solidFill>
                <a:latin typeface="Arial" panose="020B0604020202020204" pitchFamily="34" charset="0"/>
              </a:rPr>
            </a:br>
            <a:r>
              <a:rPr lang="en-US" sz="3600" b="1">
                <a:solidFill>
                  <a:schemeClr val="tx1"/>
                </a:solidFill>
                <a:latin typeface="Arial" panose="020B0604020202020204" pitchFamily="34" charset="0"/>
              </a:rPr>
              <a:t>Combining </a:t>
            </a:r>
            <a:br>
              <a:rPr lang="en-US" sz="3600" b="1">
                <a:solidFill>
                  <a:schemeClr val="tx1"/>
                </a:solidFill>
                <a:latin typeface="Arial" panose="020B0604020202020204" pitchFamily="34" charset="0"/>
              </a:rPr>
            </a:br>
            <a:r>
              <a:rPr lang="en-US" sz="3600" b="1">
                <a:solidFill>
                  <a:schemeClr val="tx1"/>
                </a:solidFill>
                <a:latin typeface="Arial" panose="020B0604020202020204" pitchFamily="34" charset="0"/>
              </a:rPr>
              <a:t>the real and digital worlds</a:t>
            </a:r>
            <a:endParaRPr lang="en-US" sz="3600" b="0">
              <a:solidFill>
                <a:srgbClr val="FFFFFF"/>
              </a:solidFill>
              <a:latin typeface="Arial" panose="020B0604020202020204" pitchFamily="34" charset="0"/>
            </a:endParaRPr>
          </a:p>
        </p:txBody>
      </p:sp>
      <p:pic>
        <p:nvPicPr>
          <p:cNvPr id="7" name="Picture 6">
            <a:extLst>
              <a:ext uri="{FF2B5EF4-FFF2-40B4-BE49-F238E27FC236}">
                <a16:creationId xmlns:a16="http://schemas.microsoft.com/office/drawing/2014/main" id="{A181C665-97D0-4A81-0A9D-28DC9E8AAE52}"/>
              </a:ext>
            </a:extLst>
          </p:cNvPr>
          <p:cNvPicPr>
            <a:picLocks noChangeAspect="1"/>
          </p:cNvPicPr>
          <p:nvPr/>
        </p:nvPicPr>
        <p:blipFill>
          <a:blip r:embed="rId3"/>
          <a:stretch>
            <a:fillRect/>
          </a:stretch>
        </p:blipFill>
        <p:spPr>
          <a:xfrm>
            <a:off x="4871864" y="1989000"/>
            <a:ext cx="6650362" cy="2880000"/>
          </a:xfrm>
          <a:prstGeom prst="rect">
            <a:avLst/>
          </a:prstGeom>
        </p:spPr>
      </p:pic>
    </p:spTree>
    <p:extLst>
      <p:ext uri="{BB962C8B-B14F-4D97-AF65-F5344CB8AC3E}">
        <p14:creationId xmlns:p14="http://schemas.microsoft.com/office/powerpoint/2010/main" val="245846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73C5972C-4C13-BB75-5E89-5A70A6BFF23A}"/>
              </a:ext>
            </a:extLst>
          </p:cNvPr>
          <p:cNvPicPr>
            <a:picLocks noChangeAspect="1"/>
          </p:cNvPicPr>
          <p:nvPr/>
        </p:nvPicPr>
        <p:blipFill rotWithShape="1">
          <a:blip r:embed="rId3"/>
          <a:srcRect l="5647" t="4250"/>
          <a:stretch/>
        </p:blipFill>
        <p:spPr>
          <a:xfrm>
            <a:off x="410398" y="1406790"/>
            <a:ext cx="3815618" cy="2095050"/>
          </a:xfrm>
          <a:prstGeom prst="rect">
            <a:avLst/>
          </a:prstGeom>
        </p:spPr>
      </p:pic>
      <p:pic>
        <p:nvPicPr>
          <p:cNvPr id="3" name="Picture 2">
            <a:extLst>
              <a:ext uri="{FF2B5EF4-FFF2-40B4-BE49-F238E27FC236}">
                <a16:creationId xmlns:a16="http://schemas.microsoft.com/office/drawing/2014/main" id="{DA0A6834-CE4E-F3AE-CD35-1BA8E310B04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9545" t="25647" r="6575" b="16522"/>
          <a:stretch/>
        </p:blipFill>
        <p:spPr bwMode="auto">
          <a:xfrm>
            <a:off x="4342988" y="1408347"/>
            <a:ext cx="3712967" cy="2094271"/>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3AA9827E-ABA2-70DC-DD8F-5CE1E0EBA945}"/>
              </a:ext>
            </a:extLst>
          </p:cNvPr>
          <p:cNvSpPr>
            <a:spLocks noGrp="1"/>
          </p:cNvSpPr>
          <p:nvPr>
            <p:ph type="title"/>
          </p:nvPr>
        </p:nvSpPr>
        <p:spPr>
          <a:xfrm>
            <a:off x="410400" y="478800"/>
            <a:ext cx="11122839" cy="576000"/>
          </a:xfrm>
        </p:spPr>
        <p:txBody>
          <a:bodyPr/>
          <a:lstStyle/>
          <a:p>
            <a:r>
              <a:rPr lang="en-US"/>
              <a:t> …helping customers in process industries to overcome their most pressing challenges</a:t>
            </a:r>
          </a:p>
        </p:txBody>
      </p:sp>
      <p:pic>
        <p:nvPicPr>
          <p:cNvPr id="12" name="Grafik 11">
            <a:extLst>
              <a:ext uri="{FF2B5EF4-FFF2-40B4-BE49-F238E27FC236}">
                <a16:creationId xmlns:a16="http://schemas.microsoft.com/office/drawing/2014/main" id="{BC34D8E6-4CA4-76B0-FB22-3CDD3E9BF52A}"/>
              </a:ext>
            </a:extLst>
          </p:cNvPr>
          <p:cNvPicPr>
            <a:picLocks noChangeAspect="1"/>
          </p:cNvPicPr>
          <p:nvPr/>
        </p:nvPicPr>
        <p:blipFill rotWithShape="1">
          <a:blip r:embed="rId5"/>
          <a:srcRect t="18414"/>
          <a:stretch/>
        </p:blipFill>
        <p:spPr>
          <a:xfrm>
            <a:off x="8177246" y="1407568"/>
            <a:ext cx="3870022" cy="2095050"/>
          </a:xfrm>
          <a:prstGeom prst="rect">
            <a:avLst/>
          </a:prstGeom>
        </p:spPr>
      </p:pic>
      <p:sp>
        <p:nvSpPr>
          <p:cNvPr id="10" name="Rechteck 9">
            <a:extLst>
              <a:ext uri="{FF2B5EF4-FFF2-40B4-BE49-F238E27FC236}">
                <a16:creationId xmlns:a16="http://schemas.microsoft.com/office/drawing/2014/main" id="{C0CF1D99-EB81-9D83-07DE-567AE91C14DC}"/>
              </a:ext>
            </a:extLst>
          </p:cNvPr>
          <p:cNvSpPr>
            <a:spLocks/>
          </p:cNvSpPr>
          <p:nvPr/>
        </p:nvSpPr>
        <p:spPr>
          <a:xfrm>
            <a:off x="410399" y="3648474"/>
            <a:ext cx="3815617" cy="2094272"/>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defTabSz="914400" eaLnBrk="1" fontAlgn="auto" latinLnBrk="0" hangingPunct="1">
              <a:lnSpc>
                <a:spcPct val="100000"/>
              </a:lnSpc>
              <a:spcBef>
                <a:spcPts val="0"/>
              </a:spcBef>
              <a:spcAft>
                <a:spcPts val="0"/>
              </a:spcAft>
              <a:buClr>
                <a:srgbClr val="009999"/>
              </a:buClr>
              <a:buSzTx/>
              <a:buFontTx/>
              <a:buNone/>
              <a:tabLst/>
              <a:defRPr/>
            </a:pPr>
            <a:r>
              <a:rPr lang="en-US" b="1" kern="0">
                <a:solidFill>
                  <a:srgbClr val="00C1B6"/>
                </a:solidFill>
              </a:rPr>
              <a:t>Chemical</a:t>
            </a:r>
          </a:p>
          <a:p>
            <a:pPr marL="0" marR="0" lvl="0" indent="0" defTabSz="914400" eaLnBrk="1" fontAlgn="auto" latinLnBrk="0" hangingPunct="1">
              <a:lnSpc>
                <a:spcPct val="100000"/>
              </a:lnSpc>
              <a:spcBef>
                <a:spcPts val="0"/>
              </a:spcBef>
              <a:spcAft>
                <a:spcPts val="0"/>
              </a:spcAft>
              <a:buClr>
                <a:srgbClr val="009999"/>
              </a:buClr>
              <a:buSzTx/>
              <a:buFontTx/>
              <a:buNone/>
              <a:tabLst/>
              <a:defRPr/>
            </a:pPr>
            <a:endParaRPr lang="en-US" kern="0">
              <a:solidFill>
                <a:prstClr val="white"/>
              </a:solidFill>
            </a:endParaRPr>
          </a:p>
          <a:p>
            <a:pPr marL="0" marR="0" lvl="0" indent="0" defTabSz="914400" eaLnBrk="1" fontAlgn="auto" latinLnBrk="0" hangingPunct="1">
              <a:lnSpc>
                <a:spcPct val="100000"/>
              </a:lnSpc>
              <a:spcBef>
                <a:spcPts val="0"/>
              </a:spcBef>
              <a:spcAft>
                <a:spcPts val="0"/>
              </a:spcAft>
              <a:buClr>
                <a:srgbClr val="009999"/>
              </a:buClr>
              <a:buSzTx/>
              <a:buFontTx/>
              <a:buNone/>
              <a:tabLst/>
              <a:defRPr/>
            </a:pPr>
            <a:r>
              <a:rPr lang="en-US">
                <a:solidFill>
                  <a:schemeClr val="tx1"/>
                </a:solidFill>
                <a:cs typeface="Arial"/>
              </a:rPr>
              <a:t>Decarbonizing the chemical industry based on digitalization</a:t>
            </a:r>
          </a:p>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sz="1200" b="1" i="0" u="none" strike="noStrike" kern="0" cap="none" spc="0" normalizeH="0" baseline="0" noProof="0">
              <a:ln>
                <a:noFill/>
              </a:ln>
              <a:solidFill>
                <a:srgbClr val="00D7A0"/>
              </a:solidFill>
              <a:effectLst/>
              <a:uLnTx/>
              <a:uFillTx/>
              <a:latin typeface="Arial"/>
              <a:ea typeface="+mn-ea"/>
              <a:cs typeface="+mn-cs"/>
            </a:endParaRPr>
          </a:p>
        </p:txBody>
      </p:sp>
      <p:sp>
        <p:nvSpPr>
          <p:cNvPr id="9" name="Rechteck 8">
            <a:extLst>
              <a:ext uri="{FF2B5EF4-FFF2-40B4-BE49-F238E27FC236}">
                <a16:creationId xmlns:a16="http://schemas.microsoft.com/office/drawing/2014/main" id="{1192559B-7EB7-469A-BC41-8FE2AC9E39F4}"/>
              </a:ext>
            </a:extLst>
          </p:cNvPr>
          <p:cNvSpPr>
            <a:spLocks/>
          </p:cNvSpPr>
          <p:nvPr/>
        </p:nvSpPr>
        <p:spPr>
          <a:xfrm>
            <a:off x="8165054" y="3648474"/>
            <a:ext cx="3882214" cy="2094272"/>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defTabSz="914400" eaLnBrk="1" fontAlgn="auto" latinLnBrk="0" hangingPunct="1">
              <a:lnSpc>
                <a:spcPct val="100000"/>
              </a:lnSpc>
              <a:spcBef>
                <a:spcPts val="0"/>
              </a:spcBef>
              <a:spcAft>
                <a:spcPts val="0"/>
              </a:spcAft>
              <a:buClr>
                <a:srgbClr val="009999"/>
              </a:buClr>
              <a:buSzTx/>
              <a:buFontTx/>
              <a:buNone/>
              <a:tabLst/>
              <a:defRPr/>
            </a:pPr>
            <a:r>
              <a:rPr lang="en-US" b="1">
                <a:solidFill>
                  <a:srgbClr val="00C1B6"/>
                </a:solidFill>
                <a:cs typeface="Arial"/>
              </a:rPr>
              <a:t>Pharmaceutical</a:t>
            </a:r>
          </a:p>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lang="en-US">
              <a:solidFill>
                <a:srgbClr val="00D7A0"/>
              </a:solidFill>
              <a:cs typeface="Arial"/>
            </a:endParaRPr>
          </a:p>
          <a:p>
            <a:pPr marL="0" marR="0" lvl="0" indent="0" algn="l" defTabSz="914400" eaLnBrk="1" fontAlgn="auto" latinLnBrk="0" hangingPunct="1">
              <a:lnSpc>
                <a:spcPct val="100000"/>
              </a:lnSpc>
              <a:spcBef>
                <a:spcPts val="0"/>
              </a:spcBef>
              <a:spcAft>
                <a:spcPts val="0"/>
              </a:spcAft>
              <a:buClr>
                <a:srgbClr val="009999"/>
              </a:buClr>
              <a:buSzTx/>
              <a:buFontTx/>
              <a:buNone/>
              <a:tabLst/>
              <a:defRPr/>
            </a:pPr>
            <a:r>
              <a:rPr lang="en-US">
                <a:solidFill>
                  <a:schemeClr val="tx1"/>
                </a:solidFill>
                <a:cs typeface="Arial"/>
              </a:rPr>
              <a:t>Maximizing operational efficiency for faster time-to-market in the pharmaceutical industry</a:t>
            </a:r>
          </a:p>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sz="1200" b="1" i="0" u="none" strike="noStrike" kern="0" cap="none" spc="0" normalizeH="0" baseline="0" noProof="0">
              <a:ln>
                <a:noFill/>
              </a:ln>
              <a:solidFill>
                <a:srgbClr val="00D7A0"/>
              </a:solidFill>
              <a:effectLst/>
              <a:uLnTx/>
              <a:uFillTx/>
              <a:latin typeface="Arial"/>
              <a:ea typeface="+mn-ea"/>
              <a:cs typeface="+mn-cs"/>
            </a:endParaRPr>
          </a:p>
        </p:txBody>
      </p:sp>
      <p:sp>
        <p:nvSpPr>
          <p:cNvPr id="11" name="Rechteck 10">
            <a:extLst>
              <a:ext uri="{FF2B5EF4-FFF2-40B4-BE49-F238E27FC236}">
                <a16:creationId xmlns:a16="http://schemas.microsoft.com/office/drawing/2014/main" id="{C3B9B201-59F3-FE8D-8AFA-460A03B6677F}"/>
              </a:ext>
            </a:extLst>
          </p:cNvPr>
          <p:cNvSpPr>
            <a:spLocks/>
          </p:cNvSpPr>
          <p:nvPr/>
        </p:nvSpPr>
        <p:spPr>
          <a:xfrm>
            <a:off x="4332479" y="3648474"/>
            <a:ext cx="3721413" cy="2094272"/>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defTabSz="914400" eaLnBrk="1" fontAlgn="auto" latinLnBrk="0" hangingPunct="1">
              <a:lnSpc>
                <a:spcPct val="100000"/>
              </a:lnSpc>
              <a:spcBef>
                <a:spcPts val="0"/>
              </a:spcBef>
              <a:spcAft>
                <a:spcPts val="0"/>
              </a:spcAft>
              <a:buClr>
                <a:srgbClr val="009999"/>
              </a:buClr>
              <a:buSzTx/>
              <a:buFontTx/>
              <a:buNone/>
              <a:tabLst/>
              <a:defRPr/>
            </a:pPr>
            <a:r>
              <a:rPr kumimoji="0" lang="en-US" b="1" i="0" u="none" strike="noStrike" kern="0" cap="none" spc="0" normalizeH="0" baseline="0" noProof="0">
                <a:ln>
                  <a:noFill/>
                </a:ln>
                <a:solidFill>
                  <a:srgbClr val="00C1B6"/>
                </a:solidFill>
                <a:effectLst/>
                <a:uLnTx/>
                <a:uFillTx/>
                <a:ea typeface="+mn-ea"/>
                <a:cs typeface="+mn-cs"/>
              </a:rPr>
              <a:t>Hydrogen</a:t>
            </a:r>
          </a:p>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lang="en-US" b="1" kern="0">
              <a:solidFill>
                <a:srgbClr val="00D7A0"/>
              </a:solidFill>
            </a:endParaRPr>
          </a:p>
          <a:p>
            <a:pPr marL="0" marR="0" lvl="0" indent="0" algn="l" defTabSz="914400" eaLnBrk="1" fontAlgn="auto" latinLnBrk="0" hangingPunct="1">
              <a:lnSpc>
                <a:spcPct val="100000"/>
              </a:lnSpc>
              <a:spcBef>
                <a:spcPts val="0"/>
              </a:spcBef>
              <a:spcAft>
                <a:spcPts val="0"/>
              </a:spcAft>
              <a:buClr>
                <a:srgbClr val="009999"/>
              </a:buClr>
              <a:buSzTx/>
              <a:buFontTx/>
              <a:buNone/>
              <a:tabLst/>
              <a:defRPr/>
            </a:pPr>
            <a:r>
              <a:rPr kumimoji="0" lang="en-US" i="0" u="none" strike="noStrike" kern="1200" cap="none" spc="0" normalizeH="0" baseline="0" noProof="0">
                <a:ln>
                  <a:noFill/>
                </a:ln>
                <a:solidFill>
                  <a:schemeClr val="tx1"/>
                </a:solidFill>
                <a:effectLst/>
                <a:uLnTx/>
                <a:uFillTx/>
                <a:ea typeface="Calibri"/>
                <a:cs typeface="Arial"/>
              </a:rPr>
              <a:t>Accelerating hydrogen production with </a:t>
            </a:r>
            <a:r>
              <a:rPr kumimoji="0" lang="en-US" i="0" u="none" strike="noStrike" kern="1200" cap="none" spc="0" normalizeH="0" baseline="0" noProof="0" err="1">
                <a:ln>
                  <a:noFill/>
                </a:ln>
                <a:solidFill>
                  <a:schemeClr val="tx1"/>
                </a:solidFill>
                <a:effectLst/>
                <a:uLnTx/>
                <a:uFillTx/>
                <a:ea typeface="Calibri"/>
                <a:cs typeface="Arial"/>
              </a:rPr>
              <a:t>GenAI</a:t>
            </a:r>
            <a:endParaRPr kumimoji="0" lang="en-US" i="0" u="none" strike="noStrike" kern="0" cap="none" spc="0" normalizeH="0" baseline="0" noProof="0">
              <a:ln>
                <a:noFill/>
              </a:ln>
              <a:solidFill>
                <a:schemeClr val="tx1"/>
              </a:solidFill>
              <a:effectLst/>
              <a:uLnTx/>
              <a:uFillTx/>
              <a:ea typeface="+mn-ea"/>
              <a:cs typeface="+mn-cs"/>
            </a:endParaRPr>
          </a:p>
          <a:p>
            <a:pPr marL="0" marR="0" lvl="0" indent="0" defTabSz="914400" eaLnBrk="1" fontAlgn="auto" latinLnBrk="0" hangingPunct="1">
              <a:lnSpc>
                <a:spcPct val="100000"/>
              </a:lnSpc>
              <a:spcBef>
                <a:spcPts val="0"/>
              </a:spcBef>
              <a:spcAft>
                <a:spcPts val="0"/>
              </a:spcAft>
              <a:buClr>
                <a:srgbClr val="009999"/>
              </a:buClr>
              <a:buSzTx/>
              <a:buFontTx/>
              <a:buNone/>
              <a:tabLst/>
              <a:defRPr/>
            </a:pPr>
            <a:endParaRPr kumimoji="0" lang="en-US" sz="1200" b="1" i="0" u="none" strike="noStrike" kern="0" cap="none" spc="0" normalizeH="0" baseline="0" noProof="0">
              <a:ln>
                <a:noFill/>
              </a:ln>
              <a:solidFill>
                <a:srgbClr val="00D7A0"/>
              </a:solidFill>
              <a:effectLst/>
              <a:uLnTx/>
              <a:uFillTx/>
              <a:latin typeface="Arial"/>
              <a:ea typeface="+mn-ea"/>
              <a:cs typeface="+mn-cs"/>
            </a:endParaRPr>
          </a:p>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kumimoji="0" lang="en-US" sz="12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70571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F8F29A57-8E95-D06E-4B32-3B5DB5BBD882}"/>
              </a:ext>
            </a:extLst>
          </p:cNvPr>
          <p:cNvPicPr>
            <a:picLocks noChangeAspect="1"/>
          </p:cNvPicPr>
          <p:nvPr/>
        </p:nvPicPr>
        <p:blipFill rotWithShape="1">
          <a:blip r:embed="rId4"/>
          <a:srcRect l="-262" t="-525" r="24978" b="23331"/>
          <a:stretch/>
        </p:blipFill>
        <p:spPr>
          <a:xfrm>
            <a:off x="4246965" y="3641054"/>
            <a:ext cx="3830820" cy="2086293"/>
          </a:xfrm>
          <a:prstGeom prst="rect">
            <a:avLst/>
          </a:prstGeom>
        </p:spPr>
      </p:pic>
      <p:pic>
        <p:nvPicPr>
          <p:cNvPr id="3" name="Grafik 2">
            <a:extLst>
              <a:ext uri="{FF2B5EF4-FFF2-40B4-BE49-F238E27FC236}">
                <a16:creationId xmlns:a16="http://schemas.microsoft.com/office/drawing/2014/main" id="{50162A57-62F0-51A2-C9F9-498728A21C4F}"/>
              </a:ext>
            </a:extLst>
          </p:cNvPr>
          <p:cNvPicPr>
            <a:picLocks noChangeAspect="1"/>
          </p:cNvPicPr>
          <p:nvPr/>
        </p:nvPicPr>
        <p:blipFill>
          <a:blip r:embed="rId5"/>
          <a:stretch>
            <a:fillRect/>
          </a:stretch>
        </p:blipFill>
        <p:spPr>
          <a:xfrm>
            <a:off x="411842" y="1414463"/>
            <a:ext cx="3749365" cy="2085013"/>
          </a:xfrm>
          <a:prstGeom prst="rect">
            <a:avLst/>
          </a:prstGeom>
        </p:spPr>
      </p:pic>
      <p:graphicFrame>
        <p:nvGraphicFramePr>
          <p:cNvPr id="11" name="think-cell data - do not delete" hidden="1">
            <a:extLst>
              <a:ext uri="{FF2B5EF4-FFF2-40B4-BE49-F238E27FC236}">
                <a16:creationId xmlns:a16="http://schemas.microsoft.com/office/drawing/2014/main" id="{83FBCA9F-D8EE-9F67-A10D-9893BAE74D52}"/>
              </a:ext>
            </a:extLst>
          </p:cNvPr>
          <p:cNvGraphicFramePr>
            <a:graphicFrameLocks noChangeAspect="1"/>
          </p:cNvGraphicFramePr>
          <p:nvPr>
            <p:custDataLst>
              <p:tags r:id="rId1"/>
            </p:custDataLst>
            <p:extLst>
              <p:ext uri="{D42A27DB-BD31-4B8C-83A1-F6EECF244321}">
                <p14:modId xmlns:p14="http://schemas.microsoft.com/office/powerpoint/2010/main" val="24340890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11" name="think-cell data - do not delete" hidden="1">
                        <a:extLst>
                          <a:ext uri="{FF2B5EF4-FFF2-40B4-BE49-F238E27FC236}">
                            <a16:creationId xmlns:a16="http://schemas.microsoft.com/office/drawing/2014/main" id="{83FBCA9F-D8EE-9F67-A10D-9893BAE74D52}"/>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AA9827E-ABA2-70DC-DD8F-5CE1E0EBA945}"/>
              </a:ext>
            </a:extLst>
          </p:cNvPr>
          <p:cNvSpPr>
            <a:spLocks noGrp="1"/>
          </p:cNvSpPr>
          <p:nvPr>
            <p:ph type="title"/>
          </p:nvPr>
        </p:nvSpPr>
        <p:spPr>
          <a:xfrm>
            <a:off x="410400" y="478800"/>
            <a:ext cx="11122839" cy="576000"/>
          </a:xfrm>
        </p:spPr>
        <p:txBody>
          <a:bodyPr vert="horz"/>
          <a:lstStyle/>
          <a:p>
            <a:r>
              <a:rPr lang="en-US">
                <a:solidFill>
                  <a:schemeClr val="accent2"/>
                </a:solidFill>
                <a:cs typeface="Arial"/>
              </a:rPr>
              <a:t>Decarbonizing the chemical industry </a:t>
            </a:r>
            <a:br>
              <a:rPr lang="en-US">
                <a:solidFill>
                  <a:schemeClr val="tx1"/>
                </a:solidFill>
                <a:cs typeface="Arial"/>
              </a:rPr>
            </a:br>
            <a:r>
              <a:rPr lang="en-US"/>
              <a:t>From</a:t>
            </a:r>
            <a:r>
              <a:rPr lang="en-US">
                <a:ea typeface="+mj-lt"/>
                <a:cs typeface="+mj-lt"/>
              </a:rPr>
              <a:t> wood to textile: </a:t>
            </a:r>
            <a:r>
              <a:rPr lang="en-US" err="1">
                <a:ea typeface="+mj-lt"/>
                <a:cs typeface="+mj-lt"/>
              </a:rPr>
              <a:t>Lenzing</a:t>
            </a:r>
            <a:r>
              <a:rPr lang="en-US">
                <a:ea typeface="+mj-lt"/>
                <a:cs typeface="+mj-lt"/>
              </a:rPr>
              <a:t> revolutionizes cycle processes with Digital Twin</a:t>
            </a:r>
            <a:endParaRPr lang="de-DE">
              <a:ea typeface="+mj-lt"/>
              <a:cs typeface="+mj-lt"/>
            </a:endParaRPr>
          </a:p>
          <a:p>
            <a:endParaRPr lang="en-US">
              <a:cs typeface="Arial"/>
            </a:endParaRPr>
          </a:p>
        </p:txBody>
      </p:sp>
      <p:pic>
        <p:nvPicPr>
          <p:cNvPr id="1026" name="Picture 2" descr="Ein Bild, das Essen enthält.&#10;&#10;Beschreibung automatisch generiert.">
            <a:extLst>
              <a:ext uri="{FF2B5EF4-FFF2-40B4-BE49-F238E27FC236}">
                <a16:creationId xmlns:a16="http://schemas.microsoft.com/office/drawing/2014/main" id="{D178D830-67CC-D8A2-9E0D-C6749B0D7BEF}"/>
              </a:ext>
            </a:extLst>
          </p:cNvPr>
          <p:cNvPicPr>
            <a:picLocks noChangeAspect="1" noChangeArrowheads="1"/>
          </p:cNvPicPr>
          <p:nvPr/>
        </p:nvPicPr>
        <p:blipFill rotWithShape="1">
          <a:blip r:embed="rId8"/>
          <a:srcRect b="26079"/>
          <a:stretch/>
        </p:blipFill>
        <p:spPr bwMode="auto">
          <a:xfrm>
            <a:off x="410399" y="3644454"/>
            <a:ext cx="3750807" cy="2086293"/>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descr="Ein Bild, das Himmel, draußen, Schwarzweiß enthält.&#10;&#10;Beschreibung automatisch generiert.">
            <a:extLst>
              <a:ext uri="{FF2B5EF4-FFF2-40B4-BE49-F238E27FC236}">
                <a16:creationId xmlns:a16="http://schemas.microsoft.com/office/drawing/2014/main" id="{5CB66D07-9A31-9BEA-3A53-AA9D2FA302A5}"/>
              </a:ext>
            </a:extLst>
          </p:cNvPr>
          <p:cNvPicPr>
            <a:picLocks noChangeAspect="1"/>
          </p:cNvPicPr>
          <p:nvPr/>
        </p:nvPicPr>
        <p:blipFill rotWithShape="1">
          <a:blip r:embed="rId9"/>
          <a:srcRect t="-340" r="34939" b="23560"/>
          <a:stretch/>
        </p:blipFill>
        <p:spPr>
          <a:xfrm>
            <a:off x="4308035" y="1401763"/>
            <a:ext cx="3749631" cy="2086293"/>
          </a:xfrm>
          <a:prstGeom prst="rect">
            <a:avLst/>
          </a:prstGeom>
        </p:spPr>
      </p:pic>
      <p:grpSp>
        <p:nvGrpSpPr>
          <p:cNvPr id="19" name="Group 18">
            <a:extLst>
              <a:ext uri="{FF2B5EF4-FFF2-40B4-BE49-F238E27FC236}">
                <a16:creationId xmlns:a16="http://schemas.microsoft.com/office/drawing/2014/main" id="{5C2B2FDF-F5F4-E404-59F2-8DECA5C233DE}"/>
              </a:ext>
            </a:extLst>
          </p:cNvPr>
          <p:cNvGrpSpPr/>
          <p:nvPr/>
        </p:nvGrpSpPr>
        <p:grpSpPr>
          <a:xfrm>
            <a:off x="3426746" y="3063644"/>
            <a:ext cx="1600200" cy="1206364"/>
            <a:chOff x="3426746" y="3063644"/>
            <a:chExt cx="1600200" cy="1206364"/>
          </a:xfrm>
        </p:grpSpPr>
        <p:sp>
          <p:nvSpPr>
            <p:cNvPr id="15" name="Rectangle 14">
              <a:extLst>
                <a:ext uri="{FF2B5EF4-FFF2-40B4-BE49-F238E27FC236}">
                  <a16:creationId xmlns:a16="http://schemas.microsoft.com/office/drawing/2014/main" id="{10CDC3C9-43F1-2588-1384-C3DC5B55B3D6}"/>
                </a:ext>
              </a:extLst>
            </p:cNvPr>
            <p:cNvSpPr/>
            <p:nvPr/>
          </p:nvSpPr>
          <p:spPr>
            <a:xfrm>
              <a:off x="3426746" y="3063644"/>
              <a:ext cx="1600200" cy="1206364"/>
            </a:xfrm>
            <a:prstGeom prst="rect">
              <a:avLst/>
            </a:prstGeom>
            <a:solidFill>
              <a:srgbClr val="00002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3" name="Grafik 12" descr="Ein Bild, das Text, Schrift, Logo, Grafiken enthält.&#10;&#10;Beschreibung automatisch generiert.">
              <a:extLst>
                <a:ext uri="{FF2B5EF4-FFF2-40B4-BE49-F238E27FC236}">
                  <a16:creationId xmlns:a16="http://schemas.microsoft.com/office/drawing/2014/main" id="{A5CB54F4-9A69-947B-B98D-375F531ED75B}"/>
                </a:ext>
              </a:extLst>
            </p:cNvPr>
            <p:cNvPicPr>
              <a:picLocks noChangeAspect="1"/>
            </p:cNvPicPr>
            <p:nvPr/>
          </p:nvPicPr>
          <p:blipFill>
            <a:blip r:embed="rId10"/>
            <a:stretch>
              <a:fillRect/>
            </a:stretch>
          </p:blipFill>
          <p:spPr>
            <a:xfrm>
              <a:off x="3640753" y="3376820"/>
              <a:ext cx="1172186" cy="580013"/>
            </a:xfrm>
            <a:prstGeom prst="rect">
              <a:avLst/>
            </a:prstGeom>
          </p:spPr>
        </p:pic>
      </p:grpSp>
      <p:sp>
        <p:nvSpPr>
          <p:cNvPr id="18" name="Rectangle 17">
            <a:extLst>
              <a:ext uri="{FF2B5EF4-FFF2-40B4-BE49-F238E27FC236}">
                <a16:creationId xmlns:a16="http://schemas.microsoft.com/office/drawing/2014/main" id="{3154C7BC-8514-E0FB-951C-5DCCE8D6595F}"/>
              </a:ext>
            </a:extLst>
          </p:cNvPr>
          <p:cNvSpPr/>
          <p:nvPr/>
        </p:nvSpPr>
        <p:spPr>
          <a:xfrm>
            <a:off x="8204494" y="1414463"/>
            <a:ext cx="3591481" cy="4300184"/>
          </a:xfrm>
          <a:prstGeom prst="rect">
            <a:avLst/>
          </a:pr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9" name="Rechteck 8">
            <a:extLst>
              <a:ext uri="{FF2B5EF4-FFF2-40B4-BE49-F238E27FC236}">
                <a16:creationId xmlns:a16="http://schemas.microsoft.com/office/drawing/2014/main" id="{1192559B-7EB7-469A-BC41-8FE2AC9E39F4}"/>
              </a:ext>
            </a:extLst>
          </p:cNvPr>
          <p:cNvSpPr>
            <a:spLocks/>
          </p:cNvSpPr>
          <p:nvPr/>
        </p:nvSpPr>
        <p:spPr>
          <a:xfrm>
            <a:off x="8220045" y="1414464"/>
            <a:ext cx="3575930" cy="4300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nchorCtr="0"/>
          <a:lstStyle/>
          <a:p>
            <a:pPr marL="0" marR="0" lvl="0" indent="0" algn="l" defTabSz="914400" eaLnBrk="1" fontAlgn="auto" latinLnBrk="0" hangingPunct="1">
              <a:lnSpc>
                <a:spcPct val="100000"/>
              </a:lnSpc>
              <a:spcBef>
                <a:spcPts val="0"/>
              </a:spcBef>
              <a:spcAft>
                <a:spcPts val="0"/>
              </a:spcAft>
              <a:buClr>
                <a:srgbClr val="009999"/>
              </a:buClr>
              <a:buSzTx/>
              <a:buFontTx/>
              <a:buNone/>
              <a:tabLst/>
              <a:defRPr/>
            </a:pPr>
            <a:endParaRPr lang="en-US">
              <a:solidFill>
                <a:srgbClr val="00D7A0"/>
              </a:solidFill>
              <a:cs typeface="Arial"/>
            </a:endParaRPr>
          </a:p>
          <a:p>
            <a:pPr marL="182880" indent="-182880">
              <a:lnSpc>
                <a:spcPct val="110000"/>
              </a:lnSpc>
              <a:spcAft>
                <a:spcPts val="300"/>
              </a:spcAft>
              <a:buClr>
                <a:srgbClr val="00C1B6"/>
              </a:buClr>
              <a:buFont typeface="Arial" panose="020B0604020202020204" pitchFamily="34" charset="0"/>
              <a:buChar char="•"/>
              <a:defRPr/>
            </a:pPr>
            <a:r>
              <a:rPr lang="en-US">
                <a:cs typeface="Arial"/>
              </a:rPr>
              <a:t>Data reuse across tools shortens project times</a:t>
            </a:r>
          </a:p>
          <a:p>
            <a:pPr>
              <a:lnSpc>
                <a:spcPct val="110000"/>
              </a:lnSpc>
              <a:spcAft>
                <a:spcPts val="300"/>
              </a:spcAft>
              <a:buClr>
                <a:srgbClr val="00C1B6"/>
              </a:buClr>
              <a:defRPr/>
            </a:pPr>
            <a:endParaRPr lang="en-US">
              <a:cs typeface="Arial"/>
            </a:endParaRPr>
          </a:p>
          <a:p>
            <a:pPr marL="182880" indent="-182880">
              <a:lnSpc>
                <a:spcPct val="110000"/>
              </a:lnSpc>
              <a:spcAft>
                <a:spcPts val="300"/>
              </a:spcAft>
              <a:buClr>
                <a:srgbClr val="00C1B6"/>
              </a:buClr>
              <a:buFont typeface="Arial" panose="020B0604020202020204" pitchFamily="34" charset="0"/>
              <a:buChar char="•"/>
              <a:defRPr/>
            </a:pPr>
            <a:r>
              <a:rPr lang="en-US">
                <a:cs typeface="Arial"/>
              </a:rPr>
              <a:t>&lt; 5 months for planning and commissioning of production</a:t>
            </a:r>
          </a:p>
          <a:p>
            <a:pPr>
              <a:lnSpc>
                <a:spcPct val="110000"/>
              </a:lnSpc>
              <a:spcAft>
                <a:spcPts val="300"/>
              </a:spcAft>
              <a:buClr>
                <a:srgbClr val="00C1B6"/>
              </a:buClr>
              <a:defRPr/>
            </a:pPr>
            <a:endParaRPr lang="en-US">
              <a:cs typeface="Arial"/>
            </a:endParaRPr>
          </a:p>
          <a:p>
            <a:pPr marL="182880" indent="-182880">
              <a:lnSpc>
                <a:spcPct val="110000"/>
              </a:lnSpc>
              <a:spcAft>
                <a:spcPts val="300"/>
              </a:spcAft>
              <a:buClr>
                <a:srgbClr val="00C1B6"/>
              </a:buClr>
              <a:buFont typeface="Arial" panose="020B0604020202020204" pitchFamily="34" charset="0"/>
              <a:buChar char="•"/>
              <a:defRPr/>
            </a:pPr>
            <a:r>
              <a:rPr lang="en-US">
                <a:cs typeface="Arial"/>
              </a:rPr>
              <a:t>Remote troubleshooting minimizes times on site and traveling</a:t>
            </a:r>
            <a:endParaRPr lang="en-US" sz="1600" i="0" u="none" strike="noStrike" cap="none" spc="0" normalizeH="0" baseline="0" noProof="0">
              <a:ln>
                <a:noFill/>
              </a:ln>
              <a:solidFill>
                <a:srgbClr val="FFFFFF"/>
              </a:solidFill>
              <a:effectLst/>
              <a:uLnTx/>
              <a:uFillTx/>
              <a:latin typeface="Arial"/>
              <a:cs typeface="Arial"/>
            </a:endParaRPr>
          </a:p>
          <a:p>
            <a:pPr>
              <a:buClr>
                <a:srgbClr val="009999"/>
              </a:buClr>
              <a:defRPr/>
            </a:pPr>
            <a:endParaRPr lang="en-US" sz="1600" b="1" kern="0">
              <a:solidFill>
                <a:srgbClr val="00D7A0"/>
              </a:solidFill>
              <a:latin typeface="Arial"/>
              <a:cs typeface="Arial"/>
            </a:endParaRPr>
          </a:p>
        </p:txBody>
      </p:sp>
    </p:spTree>
    <p:extLst>
      <p:ext uri="{BB962C8B-B14F-4D97-AF65-F5344CB8AC3E}">
        <p14:creationId xmlns:p14="http://schemas.microsoft.com/office/powerpoint/2010/main" val="1703045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3FBCA9F-D8EE-9F67-A10D-9893BAE74D5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11" name="think-cell data - do not delete" hidden="1">
                        <a:extLst>
                          <a:ext uri="{FF2B5EF4-FFF2-40B4-BE49-F238E27FC236}">
                            <a16:creationId xmlns:a16="http://schemas.microsoft.com/office/drawing/2014/main" id="{83FBCA9F-D8EE-9F67-A10D-9893BAE74D52}"/>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8766B277-6BD0-C846-523B-214DD4BF176D}"/>
              </a:ext>
            </a:extLst>
          </p:cNvPr>
          <p:cNvSpPr>
            <a:spLocks noGrp="1"/>
          </p:cNvSpPr>
          <p:nvPr>
            <p:ph type="title"/>
          </p:nvPr>
        </p:nvSpPr>
        <p:spPr/>
        <p:txBody>
          <a:bodyPr/>
          <a:lstStyle/>
          <a:p>
            <a:endParaRPr lang="de-DE"/>
          </a:p>
        </p:txBody>
      </p:sp>
      <p:sp>
        <p:nvSpPr>
          <p:cNvPr id="3" name="Fußzeilenplatzhalter 2">
            <a:extLst>
              <a:ext uri="{FF2B5EF4-FFF2-40B4-BE49-F238E27FC236}">
                <a16:creationId xmlns:a16="http://schemas.microsoft.com/office/drawing/2014/main" id="{89A8DAAA-21D4-69DD-733C-A2F80361DCB1}"/>
              </a:ext>
            </a:extLst>
          </p:cNvPr>
          <p:cNvSpPr>
            <a:spLocks noGrp="1"/>
          </p:cNvSpPr>
          <p:nvPr>
            <p:ph type="ftr" sz="quarter" idx="10"/>
          </p:nvPr>
        </p:nvSpPr>
        <p:spPr>
          <a:xfrm>
            <a:off x="962623" y="6310800"/>
            <a:ext cx="9216000" cy="547200"/>
          </a:xfrm>
        </p:spPr>
        <p:txBody>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900" b="0" i="0" u="none" strike="noStrike" kern="0" cap="none" spc="0" normalizeH="0" baseline="0" noProof="0">
                <a:ln>
                  <a:noFill/>
                </a:ln>
                <a:solidFill>
                  <a:prstClr val="white"/>
                </a:solidFill>
                <a:effectLst/>
                <a:uLnTx/>
                <a:uFillTx/>
                <a:latin typeface="Arial"/>
                <a:ea typeface="+mn-ea"/>
                <a:cs typeface="+mn-cs"/>
              </a:rPr>
              <a:t>Restricted | © Siemens 2024 | ACHEMA 2024</a:t>
            </a:r>
          </a:p>
        </p:txBody>
      </p:sp>
      <p:sp>
        <p:nvSpPr>
          <p:cNvPr id="4" name="Foliennummernplatzhalter 3">
            <a:extLst>
              <a:ext uri="{FF2B5EF4-FFF2-40B4-BE49-F238E27FC236}">
                <a16:creationId xmlns:a16="http://schemas.microsoft.com/office/drawing/2014/main" id="{830FD194-93E1-B059-E5D6-FC5B5347C82D}"/>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
                <a:srgbClr val="009999"/>
              </a:buClr>
              <a:buSzTx/>
              <a:buFontTx/>
              <a:buNone/>
              <a:tabLst/>
              <a:defRPr/>
            </a:pPr>
            <a:r>
              <a:rPr kumimoji="0" lang="en-US" sz="900" b="1" i="0" u="none" strike="noStrike" kern="0" cap="none" spc="0" normalizeH="0" baseline="0" noProof="0">
                <a:ln>
                  <a:noFill/>
                </a:ln>
                <a:solidFill>
                  <a:prstClr val="white"/>
                </a:solidFill>
                <a:effectLst/>
                <a:uLnTx/>
                <a:uFillTx/>
                <a:latin typeface="Arial"/>
                <a:ea typeface="+mn-ea"/>
                <a:cs typeface="+mn-cs"/>
              </a:rPr>
              <a:t>Page </a:t>
            </a:r>
            <a:fld id="{15EBE321-CBB1-4E91-BD14-37C8D44326FB}" type="slidenum">
              <a:rPr kumimoji="0" lang="en-US" sz="900" b="1" i="0" u="none" strike="noStrike" kern="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
                  <a:srgbClr val="009999"/>
                </a:buClr>
                <a:buSzTx/>
                <a:buFontTx/>
                <a:buNone/>
                <a:tabLst/>
                <a:defRPr/>
              </a:pPr>
              <a:t>7</a:t>
            </a:fld>
            <a:endParaRPr kumimoji="0" lang="en-US" sz="900" b="1" i="0" u="none" strike="noStrike" kern="0" cap="none" spc="0" normalizeH="0" baseline="0" noProof="0">
              <a:ln>
                <a:noFill/>
              </a:ln>
              <a:solidFill>
                <a:prstClr val="white"/>
              </a:solidFill>
              <a:effectLst/>
              <a:uLnTx/>
              <a:uFillTx/>
              <a:latin typeface="Arial"/>
              <a:ea typeface="+mn-ea"/>
              <a:cs typeface="+mn-cs"/>
            </a:endParaRPr>
          </a:p>
        </p:txBody>
      </p:sp>
      <p:pic>
        <p:nvPicPr>
          <p:cNvPr id="2" name="LEnzing_TRAILER">
            <a:hlinkClick r:id="" action="ppaction://media"/>
            <a:extLst>
              <a:ext uri="{FF2B5EF4-FFF2-40B4-BE49-F238E27FC236}">
                <a16:creationId xmlns:a16="http://schemas.microsoft.com/office/drawing/2014/main" id="{78D5BD00-1014-7008-F590-3BAA7ABE9DF4}"/>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0"/>
            <a:ext cx="12192000" cy="6858000"/>
          </a:xfrm>
          <a:prstGeom prst="rect">
            <a:avLst/>
          </a:prstGeom>
        </p:spPr>
      </p:pic>
    </p:spTree>
    <p:extLst>
      <p:ext uri="{BB962C8B-B14F-4D97-AF65-F5344CB8AC3E}">
        <p14:creationId xmlns:p14="http://schemas.microsoft.com/office/powerpoint/2010/main" val="82297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005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1" presetClass="mediacall" presetSubtype="0" fill="hold" nodeType="withEffect">
                                  <p:stCondLst>
                                    <p:cond delay="0"/>
                                  </p:stCondLst>
                                  <p:childTnLst>
                                    <p:cmd type="call" cmd="playFrom(0.0)">
                                      <p:cBhvr>
                                        <p:cTn id="12" dur="20053"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B313D269-44CE-3643-28C9-7787869CF4E8}"/>
              </a:ext>
            </a:extLst>
          </p:cNvPr>
          <p:cNvGraphicFramePr>
            <a:graphicFrameLocks noChangeAspect="1"/>
          </p:cNvGraphicFramePr>
          <p:nvPr>
            <p:custDataLst>
              <p:tags r:id="rId1"/>
            </p:custDataLst>
            <p:extLst>
              <p:ext uri="{D42A27DB-BD31-4B8C-83A1-F6EECF244321}">
                <p14:modId xmlns:p14="http://schemas.microsoft.com/office/powerpoint/2010/main" val="1352415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19" name="think-cell data - do not delete" hidden="1">
                        <a:extLst>
                          <a:ext uri="{FF2B5EF4-FFF2-40B4-BE49-F238E27FC236}">
                            <a16:creationId xmlns:a16="http://schemas.microsoft.com/office/drawing/2014/main" id="{B313D269-44CE-3643-28C9-7787869CF4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3FF78B-2D33-4ED4-94CD-E944C9A9230F}"/>
              </a:ext>
            </a:extLst>
          </p:cNvPr>
          <p:cNvSpPr>
            <a:spLocks noGrp="1"/>
          </p:cNvSpPr>
          <p:nvPr>
            <p:ph type="title"/>
          </p:nvPr>
        </p:nvSpPr>
        <p:spPr/>
        <p:txBody>
          <a:bodyPr vert="horz"/>
          <a:lstStyle/>
          <a:p>
            <a:pPr>
              <a:tabLst>
                <a:tab pos="457202" algn="l"/>
              </a:tabLst>
              <a:defRPr/>
            </a:pPr>
            <a:r>
              <a:rPr lang="en-US" sz="2000">
                <a:solidFill>
                  <a:prstClr val="white"/>
                </a:solidFill>
              </a:rPr>
              <a:t>Software-defined </a:t>
            </a:r>
            <a:r>
              <a:rPr lang="en-US">
                <a:solidFill>
                  <a:prstClr val="white"/>
                </a:solidFill>
              </a:rPr>
              <a:t>Process Automation</a:t>
            </a:r>
            <a:r>
              <a:rPr lang="en-US" sz="2000">
                <a:solidFill>
                  <a:prstClr val="white"/>
                </a:solidFill>
              </a:rPr>
              <a:t> is the way the industry will evolve</a:t>
            </a:r>
            <a:br>
              <a:rPr lang="en-US" sz="2000" i="0" u="none" strike="noStrike" kern="1200" cap="none" spc="0" normalizeH="0" baseline="0" noProof="0">
                <a:ln>
                  <a:noFill/>
                </a:ln>
                <a:effectLst/>
                <a:uLnTx/>
                <a:uFillTx/>
                <a:latin typeface="Arial"/>
                <a:ea typeface="+mn-ea"/>
                <a:cs typeface="+mn-cs"/>
              </a:rPr>
            </a:br>
            <a:r>
              <a:rPr kumimoji="0" lang="en-US" sz="2000" i="0" u="none" strike="noStrike" kern="1200" cap="none" spc="0" normalizeH="0" baseline="0" noProof="0">
                <a:ln>
                  <a:noFill/>
                </a:ln>
                <a:solidFill>
                  <a:prstClr val="white"/>
                </a:solidFill>
                <a:effectLst/>
                <a:uLnTx/>
                <a:uFillTx/>
                <a:latin typeface="Arial"/>
                <a:ea typeface="+mn-ea"/>
                <a:cs typeface="+mn-cs"/>
              </a:rPr>
              <a:t>from classic </a:t>
            </a:r>
            <a:r>
              <a:rPr lang="en-US">
                <a:solidFill>
                  <a:prstClr val="white"/>
                </a:solidFill>
                <a:latin typeface="Arial"/>
                <a:ea typeface="+mn-ea"/>
                <a:cs typeface="+mn-cs"/>
              </a:rPr>
              <a:t>automation</a:t>
            </a:r>
            <a:r>
              <a:rPr kumimoji="0" lang="en-US" sz="2000" i="0" u="none" strike="noStrike" kern="1200" cap="none" spc="0" normalizeH="0" baseline="0" noProof="0">
                <a:ln>
                  <a:noFill/>
                </a:ln>
                <a:solidFill>
                  <a:prstClr val="white"/>
                </a:solidFill>
                <a:effectLst/>
                <a:uLnTx/>
                <a:uFillTx/>
                <a:latin typeface="Arial"/>
                <a:ea typeface="+mn-ea"/>
                <a:cs typeface="+mn-cs"/>
              </a:rPr>
              <a:t> pyramid to a</a:t>
            </a:r>
            <a:r>
              <a:rPr lang="en-US">
                <a:solidFill>
                  <a:prstClr val="white"/>
                </a:solidFill>
                <a:latin typeface="Arial"/>
                <a:ea typeface="+mn-ea"/>
                <a:cs typeface="+mn-cs"/>
              </a:rPr>
              <a:t> user-oriented architecture</a:t>
            </a:r>
            <a:br>
              <a:rPr lang="en-US">
                <a:latin typeface="Arial"/>
                <a:ea typeface="+mn-ea"/>
                <a:cs typeface="+mn-cs"/>
              </a:rPr>
            </a:br>
            <a:r>
              <a:rPr lang="en-US">
                <a:solidFill>
                  <a:prstClr val="white"/>
                </a:solidFill>
                <a:latin typeface="Arial"/>
                <a:ea typeface="+mn-ea"/>
                <a:cs typeface="+mn-cs"/>
              </a:rPr>
              <a:t> </a:t>
            </a:r>
            <a:br>
              <a:rPr lang="en-US" sz="2000" i="0" u="none" strike="noStrike" kern="1200" cap="none" spc="0" normalizeH="0" baseline="0" noProof="0">
                <a:ln>
                  <a:noFill/>
                </a:ln>
                <a:effectLst/>
                <a:uLnTx/>
                <a:uFillTx/>
                <a:latin typeface="Arial"/>
                <a:ea typeface="+mn-ea"/>
                <a:cs typeface="+mn-cs"/>
              </a:rPr>
            </a:br>
            <a:endParaRPr kumimoji="0" lang="de-DE" sz="180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7" name="Textfeld 248">
            <a:extLst>
              <a:ext uri="{FF2B5EF4-FFF2-40B4-BE49-F238E27FC236}">
                <a16:creationId xmlns:a16="http://schemas.microsoft.com/office/drawing/2014/main" id="{6095FAFF-50B7-7E93-26D9-EBA745101AD7}"/>
              </a:ext>
            </a:extLst>
          </p:cNvPr>
          <p:cNvSpPr txBox="1">
            <a:spLocks/>
          </p:cNvSpPr>
          <p:nvPr/>
        </p:nvSpPr>
        <p:spPr bwMode="gray">
          <a:xfrm>
            <a:off x="516203" y="6145487"/>
            <a:ext cx="2112782" cy="161583"/>
          </a:xfrm>
          <a:prstGeom prst="rect">
            <a:avLst/>
          </a:prstGeom>
          <a:noFill/>
        </p:spPr>
        <p:txBody>
          <a:bodyPr wrap="square" lIns="0" tIns="0" rIns="0" bIns="0" rtlCol="0" anchor="t">
            <a:spAutoFit/>
          </a:bodyPr>
          <a:lstStyle/>
          <a:p>
            <a:pPr algn="l" defTabSz="913029" rtl="0">
              <a:spcBef>
                <a:spcPts val="300"/>
              </a:spcBef>
              <a:buClr>
                <a:srgbClr val="009999"/>
              </a:buClr>
              <a:defRPr/>
            </a:pPr>
            <a:r>
              <a:rPr lang="en-US" sz="1050" kern="1200">
                <a:solidFill>
                  <a:prstClr val="white"/>
                </a:solidFill>
                <a:latin typeface="Arial"/>
                <a:ea typeface="Arial Unicode MS"/>
                <a:cs typeface="Arial Unicode MS"/>
              </a:rPr>
              <a:t>* </a:t>
            </a:r>
            <a:r>
              <a:rPr lang="en-US" sz="1050" b="1" kern="1200">
                <a:solidFill>
                  <a:prstClr val="white"/>
                </a:solidFill>
                <a:latin typeface="Arial"/>
                <a:ea typeface="Arial Unicode MS"/>
                <a:cs typeface="Arial Unicode MS"/>
              </a:rPr>
              <a:t>M</a:t>
            </a:r>
            <a:r>
              <a:rPr lang="en-US" sz="1050" kern="1200">
                <a:solidFill>
                  <a:prstClr val="white"/>
                </a:solidFill>
                <a:latin typeface="Arial"/>
                <a:ea typeface="Arial Unicode MS"/>
                <a:cs typeface="Arial Unicode MS"/>
              </a:rPr>
              <a:t>odular</a:t>
            </a:r>
            <a:r>
              <a:rPr lang="en-US" sz="1050" b="1" kern="1200">
                <a:solidFill>
                  <a:prstClr val="white"/>
                </a:solidFill>
                <a:latin typeface="Arial"/>
                <a:ea typeface="Arial Unicode MS"/>
                <a:cs typeface="Arial Unicode MS"/>
              </a:rPr>
              <a:t> T</a:t>
            </a:r>
            <a:r>
              <a:rPr lang="en-US" sz="1050" kern="1200">
                <a:solidFill>
                  <a:prstClr val="white"/>
                </a:solidFill>
                <a:latin typeface="Arial"/>
                <a:ea typeface="Arial Unicode MS"/>
                <a:cs typeface="Arial Unicode MS"/>
              </a:rPr>
              <a:t>ype</a:t>
            </a:r>
            <a:r>
              <a:rPr lang="en-US" sz="1050" b="1" kern="1200">
                <a:solidFill>
                  <a:prstClr val="white"/>
                </a:solidFill>
                <a:latin typeface="Arial"/>
                <a:ea typeface="Arial Unicode MS"/>
                <a:cs typeface="Arial Unicode MS"/>
              </a:rPr>
              <a:t> P</a:t>
            </a:r>
            <a:r>
              <a:rPr lang="en-US" sz="1050" kern="1200">
                <a:solidFill>
                  <a:prstClr val="white"/>
                </a:solidFill>
                <a:latin typeface="Arial"/>
                <a:ea typeface="Arial Unicode MS"/>
                <a:cs typeface="Arial Unicode MS"/>
              </a:rPr>
              <a:t>ackage (</a:t>
            </a:r>
            <a:r>
              <a:rPr lang="en-US" sz="1050" b="1" kern="1200">
                <a:solidFill>
                  <a:prstClr val="white"/>
                </a:solidFill>
                <a:latin typeface="Arial"/>
                <a:ea typeface="Arial Unicode MS"/>
                <a:cs typeface="Arial Unicode MS"/>
              </a:rPr>
              <a:t>MTP</a:t>
            </a:r>
            <a:r>
              <a:rPr lang="en-US" sz="1050" kern="1200">
                <a:solidFill>
                  <a:prstClr val="white"/>
                </a:solidFill>
                <a:latin typeface="Arial"/>
                <a:ea typeface="Arial Unicode MS"/>
                <a:cs typeface="Arial Unicode MS"/>
              </a:rPr>
              <a:t>)</a:t>
            </a:r>
            <a:endParaRPr lang="en-US" sz="1050" i="0" u="none" strike="noStrike" kern="1200" cap="none" spc="0" normalizeH="0" baseline="0" noProof="0">
              <a:ln>
                <a:noFill/>
              </a:ln>
              <a:solidFill>
                <a:prstClr val="white"/>
              </a:solidFill>
              <a:effectLst/>
              <a:uLnTx/>
              <a:uFillTx/>
              <a:latin typeface="Arial"/>
              <a:ea typeface="Arial Unicode MS"/>
              <a:cs typeface="Arial Unicode MS"/>
            </a:endParaRPr>
          </a:p>
        </p:txBody>
      </p:sp>
      <p:sp>
        <p:nvSpPr>
          <p:cNvPr id="6" name="Textfeld 5">
            <a:extLst>
              <a:ext uri="{FF2B5EF4-FFF2-40B4-BE49-F238E27FC236}">
                <a16:creationId xmlns:a16="http://schemas.microsoft.com/office/drawing/2014/main" id="{AFD32138-552C-6DD6-1735-7B708C9F3915}"/>
              </a:ext>
            </a:extLst>
          </p:cNvPr>
          <p:cNvSpPr txBox="1"/>
          <p:nvPr/>
        </p:nvSpPr>
        <p:spPr>
          <a:xfrm>
            <a:off x="999135" y="2803828"/>
            <a:ext cx="2322608" cy="492443"/>
          </a:xfrm>
          <a:prstGeom prst="rect">
            <a:avLst/>
          </a:prstGeom>
          <a:noFill/>
        </p:spPr>
        <p:txBody>
          <a:bodyPr wrap="square" lIns="91440" tIns="45720" rIns="91440" bIns="45720" anchor="t">
            <a:spAutoFit/>
          </a:bodyPr>
          <a:lstStyle/>
          <a:p>
            <a:pPr algn="r"/>
            <a:r>
              <a:rPr lang="en-US" sz="1400" b="1">
                <a:solidFill>
                  <a:srgbClr val="00C1B6"/>
                </a:solidFill>
              </a:rPr>
              <a:t>neo System Access</a:t>
            </a:r>
            <a:endParaRPr lang="en-US" sz="1400" b="1">
              <a:solidFill>
                <a:srgbClr val="00C1B6"/>
              </a:solidFill>
              <a:cs typeface="Arial"/>
            </a:endParaRPr>
          </a:p>
          <a:p>
            <a:pPr algn="r"/>
            <a:r>
              <a:rPr lang="en-US" sz="1200"/>
              <a:t>Connection via IT encryption</a:t>
            </a:r>
            <a:endParaRPr lang="en-US" sz="1200">
              <a:cs typeface="Arial"/>
            </a:endParaRPr>
          </a:p>
        </p:txBody>
      </p:sp>
      <p:sp>
        <p:nvSpPr>
          <p:cNvPr id="8" name="Textfeld 7">
            <a:extLst>
              <a:ext uri="{FF2B5EF4-FFF2-40B4-BE49-F238E27FC236}">
                <a16:creationId xmlns:a16="http://schemas.microsoft.com/office/drawing/2014/main" id="{D7B53E6D-3456-1B67-848D-5EBEDEEC32DB}"/>
              </a:ext>
            </a:extLst>
          </p:cNvPr>
          <p:cNvSpPr txBox="1"/>
          <p:nvPr/>
        </p:nvSpPr>
        <p:spPr>
          <a:xfrm>
            <a:off x="1108220" y="1719089"/>
            <a:ext cx="2223015" cy="492443"/>
          </a:xfrm>
          <a:prstGeom prst="rect">
            <a:avLst/>
          </a:prstGeom>
          <a:noFill/>
        </p:spPr>
        <p:txBody>
          <a:bodyPr wrap="square" lIns="91440" tIns="45720" rIns="91440" bIns="45720" anchor="t">
            <a:spAutoFit/>
          </a:bodyPr>
          <a:lstStyle/>
          <a:p>
            <a:pPr algn="r"/>
            <a:r>
              <a:rPr lang="en-US" sz="1400" b="1">
                <a:solidFill>
                  <a:srgbClr val="00C1B6"/>
                </a:solidFill>
              </a:rPr>
              <a:t>neo Collaboration</a:t>
            </a:r>
            <a:endParaRPr lang="en-US" sz="1400" b="1">
              <a:solidFill>
                <a:srgbClr val="00C1B6"/>
              </a:solidFill>
              <a:cs typeface="Arial"/>
            </a:endParaRPr>
          </a:p>
          <a:p>
            <a:pPr algn="r"/>
            <a:r>
              <a:rPr lang="en-US" sz="1200"/>
              <a:t>Multi-user web engineering</a:t>
            </a:r>
            <a:endParaRPr lang="en-US" sz="1200">
              <a:cs typeface="Arial"/>
            </a:endParaRPr>
          </a:p>
        </p:txBody>
      </p:sp>
      <p:sp>
        <p:nvSpPr>
          <p:cNvPr id="10" name="Textfeld 9">
            <a:extLst>
              <a:ext uri="{FF2B5EF4-FFF2-40B4-BE49-F238E27FC236}">
                <a16:creationId xmlns:a16="http://schemas.microsoft.com/office/drawing/2014/main" id="{E8CF9A0F-204D-1AAB-74F6-D63D8C88E34E}"/>
              </a:ext>
            </a:extLst>
          </p:cNvPr>
          <p:cNvSpPr txBox="1"/>
          <p:nvPr/>
        </p:nvSpPr>
        <p:spPr>
          <a:xfrm>
            <a:off x="1090141" y="4963890"/>
            <a:ext cx="2241416" cy="892552"/>
          </a:xfrm>
          <a:prstGeom prst="rect">
            <a:avLst/>
          </a:prstGeom>
          <a:noFill/>
        </p:spPr>
        <p:txBody>
          <a:bodyPr wrap="square" lIns="91440" tIns="45720" rIns="91440" bIns="45720" anchor="t">
            <a:spAutoFit/>
          </a:bodyPr>
          <a:lstStyle/>
          <a:p>
            <a:pPr algn="r"/>
            <a:r>
              <a:rPr lang="en-US" sz="1400" b="1">
                <a:solidFill>
                  <a:srgbClr val="00C1B6"/>
                </a:solidFill>
              </a:rPr>
              <a:t>Support of </a:t>
            </a:r>
            <a:br>
              <a:rPr lang="en-US" sz="1400" b="1">
                <a:solidFill>
                  <a:srgbClr val="00C1B6"/>
                </a:solidFill>
              </a:rPr>
            </a:br>
            <a:r>
              <a:rPr lang="en-US" sz="1400" b="1">
                <a:solidFill>
                  <a:srgbClr val="00C1B6"/>
                </a:solidFill>
              </a:rPr>
              <a:t>open MTP* standard</a:t>
            </a:r>
            <a:endParaRPr lang="en-US" sz="1400" b="1">
              <a:solidFill>
                <a:srgbClr val="00C1B6"/>
              </a:solidFill>
              <a:cs typeface="Arial"/>
            </a:endParaRPr>
          </a:p>
          <a:p>
            <a:pPr algn="r"/>
            <a:r>
              <a:rPr lang="en-US" sz="1200"/>
              <a:t>Modularization for flexible plant design</a:t>
            </a:r>
            <a:endParaRPr lang="en-US" sz="1200">
              <a:cs typeface="Arial"/>
            </a:endParaRPr>
          </a:p>
        </p:txBody>
      </p:sp>
      <p:sp>
        <p:nvSpPr>
          <p:cNvPr id="12" name="Textfeld 11">
            <a:extLst>
              <a:ext uri="{FF2B5EF4-FFF2-40B4-BE49-F238E27FC236}">
                <a16:creationId xmlns:a16="http://schemas.microsoft.com/office/drawing/2014/main" id="{4E80BC78-C614-7034-C800-4542959C0086}"/>
              </a:ext>
            </a:extLst>
          </p:cNvPr>
          <p:cNvSpPr txBox="1"/>
          <p:nvPr/>
        </p:nvSpPr>
        <p:spPr>
          <a:xfrm>
            <a:off x="230164" y="3848374"/>
            <a:ext cx="3101270" cy="707886"/>
          </a:xfrm>
          <a:prstGeom prst="rect">
            <a:avLst/>
          </a:prstGeom>
          <a:noFill/>
        </p:spPr>
        <p:txBody>
          <a:bodyPr wrap="square" lIns="91440" tIns="45720" rIns="91440" bIns="45720" anchor="t">
            <a:spAutoFit/>
          </a:bodyPr>
          <a:lstStyle/>
          <a:p>
            <a:pPr algn="r"/>
            <a:r>
              <a:rPr lang="en-US" sz="1400" b="1">
                <a:solidFill>
                  <a:srgbClr val="00C1B6"/>
                </a:solidFill>
              </a:rPr>
              <a:t>Object-oriented </a:t>
            </a:r>
            <a:br>
              <a:rPr lang="en-US" sz="1400" b="1">
                <a:solidFill>
                  <a:srgbClr val="00C1B6"/>
                </a:solidFill>
              </a:rPr>
            </a:br>
            <a:r>
              <a:rPr lang="en-US" sz="1400" b="1">
                <a:solidFill>
                  <a:srgbClr val="00C1B6"/>
                </a:solidFill>
              </a:rPr>
              <a:t>Data Management</a:t>
            </a:r>
            <a:br>
              <a:rPr lang="en-US" sz="1200"/>
            </a:br>
            <a:r>
              <a:rPr lang="en-US" sz="1200"/>
              <a:t>Consistent information</a:t>
            </a:r>
            <a:endParaRPr lang="en-US" sz="1200">
              <a:cs typeface="Arial"/>
            </a:endParaRPr>
          </a:p>
        </p:txBody>
      </p:sp>
      <p:grpSp>
        <p:nvGrpSpPr>
          <p:cNvPr id="39" name="Group 38">
            <a:extLst>
              <a:ext uri="{FF2B5EF4-FFF2-40B4-BE49-F238E27FC236}">
                <a16:creationId xmlns:a16="http://schemas.microsoft.com/office/drawing/2014/main" id="{0ADF74BF-C4D1-4CF8-DDE1-FE0A4A51611F}"/>
              </a:ext>
            </a:extLst>
          </p:cNvPr>
          <p:cNvGrpSpPr/>
          <p:nvPr/>
        </p:nvGrpSpPr>
        <p:grpSpPr>
          <a:xfrm>
            <a:off x="4483197" y="1401763"/>
            <a:ext cx="5791200" cy="4563282"/>
            <a:chOff x="5699244" y="1318629"/>
            <a:chExt cx="5791200" cy="4563282"/>
          </a:xfrm>
        </p:grpSpPr>
        <p:sp>
          <p:nvSpPr>
            <p:cNvPr id="3" name="Rectangle 2">
              <a:extLst>
                <a:ext uri="{FF2B5EF4-FFF2-40B4-BE49-F238E27FC236}">
                  <a16:creationId xmlns:a16="http://schemas.microsoft.com/office/drawing/2014/main" id="{09F4A515-E246-B523-C0A9-C70F176C8DD7}"/>
                </a:ext>
              </a:extLst>
            </p:cNvPr>
            <p:cNvSpPr/>
            <p:nvPr/>
          </p:nvSpPr>
          <p:spPr>
            <a:xfrm>
              <a:off x="5699244" y="1318629"/>
              <a:ext cx="5791200" cy="4563282"/>
            </a:xfrm>
            <a:prstGeom prst="rect">
              <a:avLst/>
            </a:prstGeom>
            <a:solidFill>
              <a:srgbClr val="333353">
                <a:alpha val="602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grpSp>
          <p:nvGrpSpPr>
            <p:cNvPr id="9" name="Group 8">
              <a:extLst>
                <a:ext uri="{FF2B5EF4-FFF2-40B4-BE49-F238E27FC236}">
                  <a16:creationId xmlns:a16="http://schemas.microsoft.com/office/drawing/2014/main" id="{C0100E2A-793F-7DB5-97E2-24FEB206F50E}"/>
                </a:ext>
              </a:extLst>
            </p:cNvPr>
            <p:cNvGrpSpPr/>
            <p:nvPr/>
          </p:nvGrpSpPr>
          <p:grpSpPr>
            <a:xfrm>
              <a:off x="6511151" y="1801799"/>
              <a:ext cx="4167386" cy="3596943"/>
              <a:chOff x="4945868" y="1856079"/>
              <a:chExt cx="4167386" cy="3596943"/>
            </a:xfrm>
          </p:grpSpPr>
          <p:cxnSp>
            <p:nvCxnSpPr>
              <p:cNvPr id="270" name="Gerader Verbinder 11">
                <a:extLst>
                  <a:ext uri="{FF2B5EF4-FFF2-40B4-BE49-F238E27FC236}">
                    <a16:creationId xmlns:a16="http://schemas.microsoft.com/office/drawing/2014/main" id="{CDE06C59-E746-7AD1-A102-C2344AC41D2B}"/>
                  </a:ext>
                </a:extLst>
              </p:cNvPr>
              <p:cNvCxnSpPr>
                <a:cxnSpLocks/>
              </p:cNvCxnSpPr>
              <p:nvPr/>
            </p:nvCxnSpPr>
            <p:spPr>
              <a:xfrm>
                <a:off x="4945868" y="4845196"/>
                <a:ext cx="4140000" cy="0"/>
              </a:xfrm>
              <a:prstGeom prst="line">
                <a:avLst/>
              </a:prstGeom>
              <a:ln w="28575">
                <a:solidFill>
                  <a:srgbClr val="00C1B6"/>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50" name="Rechteck 49">
                <a:extLst>
                  <a:ext uri="{FF2B5EF4-FFF2-40B4-BE49-F238E27FC236}">
                    <a16:creationId xmlns:a16="http://schemas.microsoft.com/office/drawing/2014/main" id="{ACFF2D66-BBA2-31F9-CAEC-EB5F8C62D281}"/>
                  </a:ext>
                </a:extLst>
              </p:cNvPr>
              <p:cNvSpPr/>
              <p:nvPr/>
            </p:nvSpPr>
            <p:spPr>
              <a:xfrm>
                <a:off x="4972794" y="4947607"/>
                <a:ext cx="4140460" cy="505415"/>
              </a:xfrm>
              <a:prstGeom prst="rect">
                <a:avLst/>
              </a:prstGeom>
              <a:solidFill>
                <a:srgbClr val="00C1B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51" name="TextBox 189">
                <a:extLst>
                  <a:ext uri="{FF2B5EF4-FFF2-40B4-BE49-F238E27FC236}">
                    <a16:creationId xmlns:a16="http://schemas.microsoft.com/office/drawing/2014/main" id="{C32DA3BA-EF25-08E4-1F47-17D9FEB598C5}"/>
                  </a:ext>
                </a:extLst>
              </p:cNvPr>
              <p:cNvSpPr txBox="1"/>
              <p:nvPr/>
            </p:nvSpPr>
            <p:spPr>
              <a:xfrm>
                <a:off x="5492541" y="4991984"/>
                <a:ext cx="3018455" cy="430887"/>
              </a:xfrm>
              <a:prstGeom prst="rect">
                <a:avLst/>
              </a:prstGeom>
              <a:noFill/>
            </p:spPr>
            <p:txBody>
              <a:bodyPr wrap="square" lIns="0" tIns="0" rIns="0" bIns="0" rtlCol="0" anchor="t">
                <a:spAutoFit/>
              </a:bodyPr>
              <a:lstStyle/>
              <a:p>
                <a:pPr algn="ctr"/>
                <a:r>
                  <a:rPr lang="en-US" sz="1400" b="1">
                    <a:solidFill>
                      <a:schemeClr val="tx1"/>
                    </a:solidFill>
                  </a:rPr>
                  <a:t>IT – OT convergence </a:t>
                </a:r>
              </a:p>
              <a:p>
                <a:pPr algn="ctr"/>
                <a:r>
                  <a:rPr lang="en-US" sz="1400">
                    <a:solidFill>
                      <a:schemeClr val="tx1"/>
                    </a:solidFill>
                  </a:rPr>
                  <a:t>with SIMATIC PCS neo in one system</a:t>
                </a:r>
              </a:p>
            </p:txBody>
          </p:sp>
          <p:sp>
            <p:nvSpPr>
              <p:cNvPr id="304" name="Freihandform: Form 4">
                <a:extLst>
                  <a:ext uri="{FF2B5EF4-FFF2-40B4-BE49-F238E27FC236}">
                    <a16:creationId xmlns:a16="http://schemas.microsoft.com/office/drawing/2014/main" id="{B78EB205-268D-F5F8-2105-C2F61395F257}"/>
                  </a:ext>
                </a:extLst>
              </p:cNvPr>
              <p:cNvSpPr/>
              <p:nvPr/>
            </p:nvSpPr>
            <p:spPr bwMode="gray">
              <a:xfrm>
                <a:off x="5197896" y="4129398"/>
                <a:ext cx="3598863" cy="369750"/>
              </a:xfrm>
              <a:custGeom>
                <a:avLst/>
                <a:gdLst>
                  <a:gd name="connsiteX0" fmla="*/ 264264 w 3598863"/>
                  <a:gd name="connsiteY0" fmla="*/ 0 h 363702"/>
                  <a:gd name="connsiteX1" fmla="*/ 3334596 w 3598863"/>
                  <a:gd name="connsiteY1" fmla="*/ 0 h 363702"/>
                  <a:gd name="connsiteX2" fmla="*/ 3598863 w 3598863"/>
                  <a:gd name="connsiteY2" fmla="*/ 363702 h 363702"/>
                  <a:gd name="connsiteX3" fmla="*/ 0 w 3598863"/>
                  <a:gd name="connsiteY3" fmla="*/ 363702 h 363702"/>
                  <a:gd name="connsiteX4" fmla="*/ 0 w 3598863"/>
                  <a:gd name="connsiteY4" fmla="*/ 363698 h 36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8863" h="363702">
                    <a:moveTo>
                      <a:pt x="264264" y="0"/>
                    </a:moveTo>
                    <a:lnTo>
                      <a:pt x="3334596" y="0"/>
                    </a:lnTo>
                    <a:lnTo>
                      <a:pt x="3598863" y="363702"/>
                    </a:lnTo>
                    <a:lnTo>
                      <a:pt x="0" y="363702"/>
                    </a:lnTo>
                    <a:lnTo>
                      <a:pt x="0" y="363698"/>
                    </a:lnTo>
                    <a:close/>
                  </a:path>
                </a:pathLst>
              </a:custGeom>
              <a:solidFill>
                <a:srgbClr val="33335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Arial"/>
                    <a:ea typeface="+mn-ea"/>
                    <a:cs typeface="+mn-cs"/>
                  </a:rPr>
                  <a:t>Field (sensor/actor) </a:t>
                </a:r>
              </a:p>
            </p:txBody>
          </p:sp>
          <p:grpSp>
            <p:nvGrpSpPr>
              <p:cNvPr id="307" name="Gruppieren 306">
                <a:extLst>
                  <a:ext uri="{FF2B5EF4-FFF2-40B4-BE49-F238E27FC236}">
                    <a16:creationId xmlns:a16="http://schemas.microsoft.com/office/drawing/2014/main" id="{D9481DCC-FD00-03B7-D22F-B25861373584}"/>
                  </a:ext>
                </a:extLst>
              </p:cNvPr>
              <p:cNvGrpSpPr/>
              <p:nvPr/>
            </p:nvGrpSpPr>
            <p:grpSpPr>
              <a:xfrm>
                <a:off x="5443504" y="3089838"/>
                <a:ext cx="3043665" cy="998334"/>
                <a:chOff x="4304327" y="3448642"/>
                <a:chExt cx="3592799" cy="1406199"/>
              </a:xfrm>
              <a:solidFill>
                <a:schemeClr val="accent5">
                  <a:lumMod val="40000"/>
                  <a:lumOff val="60000"/>
                </a:schemeClr>
              </a:solidFill>
            </p:grpSpPr>
            <p:sp>
              <p:nvSpPr>
                <p:cNvPr id="308" name="Abgerundetes Rechteck 47">
                  <a:extLst>
                    <a:ext uri="{FF2B5EF4-FFF2-40B4-BE49-F238E27FC236}">
                      <a16:creationId xmlns:a16="http://schemas.microsoft.com/office/drawing/2014/main" id="{40584D05-59DF-6287-2C80-F3F25B4B7CE8}"/>
                    </a:ext>
                  </a:extLst>
                </p:cNvPr>
                <p:cNvSpPr/>
                <p:nvPr/>
              </p:nvSpPr>
              <p:spPr bwMode="gray">
                <a:xfrm rot="16200000">
                  <a:off x="4902574" y="4012870"/>
                  <a:ext cx="831701" cy="852239"/>
                </a:xfrm>
                <a:custGeom>
                  <a:avLst/>
                  <a:gdLst/>
                  <a:ahLst/>
                  <a:cxnLst/>
                  <a:rect l="l" t="t" r="r" b="b"/>
                  <a:pathLst>
                    <a:path w="1320585" h="1320597">
                      <a:moveTo>
                        <a:pt x="1116001" y="1320597"/>
                      </a:moveTo>
                      <a:lnTo>
                        <a:pt x="619488" y="1320597"/>
                      </a:lnTo>
                      <a:lnTo>
                        <a:pt x="619488" y="1276850"/>
                      </a:lnTo>
                      <a:cubicBezTo>
                        <a:pt x="653697" y="1267630"/>
                        <a:pt x="678293" y="1236117"/>
                        <a:pt x="678293" y="1198858"/>
                      </a:cubicBezTo>
                      <a:cubicBezTo>
                        <a:pt x="678293" y="1153104"/>
                        <a:pt x="641202" y="1116013"/>
                        <a:pt x="595448" y="1116013"/>
                      </a:cubicBezTo>
                      <a:lnTo>
                        <a:pt x="520554" y="1116013"/>
                      </a:lnTo>
                      <a:cubicBezTo>
                        <a:pt x="474800" y="1116013"/>
                        <a:pt x="437709" y="1153104"/>
                        <a:pt x="437709" y="1198858"/>
                      </a:cubicBezTo>
                      <a:cubicBezTo>
                        <a:pt x="437709" y="1236116"/>
                        <a:pt x="462304" y="1267630"/>
                        <a:pt x="496514" y="1276850"/>
                      </a:cubicBezTo>
                      <a:lnTo>
                        <a:pt x="496514" y="1320597"/>
                      </a:lnTo>
                      <a:lnTo>
                        <a:pt x="0" y="1320597"/>
                      </a:lnTo>
                      <a:lnTo>
                        <a:pt x="0" y="204584"/>
                      </a:lnTo>
                      <a:lnTo>
                        <a:pt x="496504" y="204584"/>
                      </a:lnTo>
                      <a:lnTo>
                        <a:pt x="496504" y="160837"/>
                      </a:lnTo>
                      <a:cubicBezTo>
                        <a:pt x="462294" y="151617"/>
                        <a:pt x="437699" y="120103"/>
                        <a:pt x="437699" y="82845"/>
                      </a:cubicBezTo>
                      <a:cubicBezTo>
                        <a:pt x="437699" y="37091"/>
                        <a:pt x="474790" y="0"/>
                        <a:pt x="520544" y="0"/>
                      </a:cubicBezTo>
                      <a:lnTo>
                        <a:pt x="595438" y="0"/>
                      </a:lnTo>
                      <a:cubicBezTo>
                        <a:pt x="641192" y="0"/>
                        <a:pt x="678283" y="37091"/>
                        <a:pt x="678283" y="82845"/>
                      </a:cubicBezTo>
                      <a:cubicBezTo>
                        <a:pt x="678283" y="120104"/>
                        <a:pt x="653687" y="151617"/>
                        <a:pt x="619478" y="160837"/>
                      </a:cubicBezTo>
                      <a:lnTo>
                        <a:pt x="619478" y="204584"/>
                      </a:lnTo>
                      <a:lnTo>
                        <a:pt x="1116001" y="204584"/>
                      </a:lnTo>
                      <a:lnTo>
                        <a:pt x="1116001" y="701134"/>
                      </a:lnTo>
                      <a:lnTo>
                        <a:pt x="1159748" y="701134"/>
                      </a:lnTo>
                      <a:cubicBezTo>
                        <a:pt x="1168968" y="666924"/>
                        <a:pt x="1200482" y="642329"/>
                        <a:pt x="1237740" y="642329"/>
                      </a:cubicBezTo>
                      <a:cubicBezTo>
                        <a:pt x="1283494" y="642329"/>
                        <a:pt x="1320585" y="679420"/>
                        <a:pt x="1320585" y="725174"/>
                      </a:cubicBezTo>
                      <a:lnTo>
                        <a:pt x="1320585" y="800068"/>
                      </a:lnTo>
                      <a:cubicBezTo>
                        <a:pt x="1320585" y="845822"/>
                        <a:pt x="1283494" y="882913"/>
                        <a:pt x="1237740" y="882913"/>
                      </a:cubicBezTo>
                      <a:cubicBezTo>
                        <a:pt x="1200481" y="882913"/>
                        <a:pt x="1168968" y="858317"/>
                        <a:pt x="1159748" y="824108"/>
                      </a:cubicBezTo>
                      <a:lnTo>
                        <a:pt x="1116001" y="824108"/>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09" name="Freihandform: Form 22">
                  <a:extLst>
                    <a:ext uri="{FF2B5EF4-FFF2-40B4-BE49-F238E27FC236}">
                      <a16:creationId xmlns:a16="http://schemas.microsoft.com/office/drawing/2014/main" id="{6B43CEBC-72AA-5D0B-3F11-DCC318855777}"/>
                    </a:ext>
                  </a:extLst>
                </p:cNvPr>
                <p:cNvSpPr/>
                <p:nvPr/>
              </p:nvSpPr>
              <p:spPr bwMode="gray">
                <a:xfrm rot="16200000">
                  <a:off x="5033309" y="3440752"/>
                  <a:ext cx="702260" cy="720212"/>
                </a:xfrm>
                <a:custGeom>
                  <a:avLst/>
                  <a:gdLst>
                    <a:gd name="connsiteX0" fmla="*/ 690774 w 690774"/>
                    <a:gd name="connsiteY0" fmla="*/ 284254 h 720212"/>
                    <a:gd name="connsiteX1" fmla="*/ 690774 w 690774"/>
                    <a:gd name="connsiteY1" fmla="*/ 720212 h 720212"/>
                    <a:gd name="connsiteX2" fmla="*/ 383771 w 690774"/>
                    <a:gd name="connsiteY2" fmla="*/ 720212 h 720212"/>
                    <a:gd name="connsiteX3" fmla="*/ 383771 w 690774"/>
                    <a:gd name="connsiteY3" fmla="*/ 691980 h 720212"/>
                    <a:gd name="connsiteX4" fmla="*/ 420200 w 690774"/>
                    <a:gd name="connsiteY4" fmla="*/ 641649 h 720212"/>
                    <a:gd name="connsiteX5" fmla="*/ 368878 w 690774"/>
                    <a:gd name="connsiteY5" fmla="*/ 588185 h 720212"/>
                    <a:gd name="connsiteX6" fmla="*/ 322482 w 690774"/>
                    <a:gd name="connsiteY6" fmla="*/ 588185 h 720212"/>
                    <a:gd name="connsiteX7" fmla="*/ 271159 w 690774"/>
                    <a:gd name="connsiteY7" fmla="*/ 641649 h 720212"/>
                    <a:gd name="connsiteX8" fmla="*/ 307589 w 690774"/>
                    <a:gd name="connsiteY8" fmla="*/ 691980 h 720212"/>
                    <a:gd name="connsiteX9" fmla="*/ 307589 w 690774"/>
                    <a:gd name="connsiteY9" fmla="*/ 720212 h 720212"/>
                    <a:gd name="connsiteX10" fmla="*/ 0 w 690774"/>
                    <a:gd name="connsiteY10" fmla="*/ 720212 h 720212"/>
                    <a:gd name="connsiteX11" fmla="*/ 0 w 690774"/>
                    <a:gd name="connsiteY11" fmla="*/ 399806 h 720212"/>
                    <a:gd name="connsiteX12" fmla="*/ 27101 w 690774"/>
                    <a:gd name="connsiteY12" fmla="*/ 399806 h 720212"/>
                    <a:gd name="connsiteX13" fmla="*/ 75417 w 690774"/>
                    <a:gd name="connsiteY13" fmla="*/ 437755 h 720212"/>
                    <a:gd name="connsiteX14" fmla="*/ 126739 w 690774"/>
                    <a:gd name="connsiteY14" fmla="*/ 384292 h 720212"/>
                    <a:gd name="connsiteX15" fmla="*/ 126739 w 690774"/>
                    <a:gd name="connsiteY15" fmla="*/ 335959 h 720212"/>
                    <a:gd name="connsiteX16" fmla="*/ 75417 w 690774"/>
                    <a:gd name="connsiteY16" fmla="*/ 282496 h 720212"/>
                    <a:gd name="connsiteX17" fmla="*/ 27101 w 690774"/>
                    <a:gd name="connsiteY17" fmla="*/ 320445 h 720212"/>
                    <a:gd name="connsiteX18" fmla="*/ 0 w 690774"/>
                    <a:gd name="connsiteY18" fmla="*/ 320445 h 720212"/>
                    <a:gd name="connsiteX19" fmla="*/ 0 w 690774"/>
                    <a:gd name="connsiteY19" fmla="*/ 0 h 720212"/>
                    <a:gd name="connsiteX20" fmla="*/ 299565 w 690774"/>
                    <a:gd name="connsiteY20" fmla="*/ 0 h 72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0774" h="720212">
                      <a:moveTo>
                        <a:pt x="690774" y="284254"/>
                      </a:moveTo>
                      <a:lnTo>
                        <a:pt x="690774" y="720212"/>
                      </a:lnTo>
                      <a:lnTo>
                        <a:pt x="383771" y="720212"/>
                      </a:lnTo>
                      <a:lnTo>
                        <a:pt x="383771" y="691980"/>
                      </a:lnTo>
                      <a:cubicBezTo>
                        <a:pt x="404963" y="686030"/>
                        <a:pt x="420200" y="665694"/>
                        <a:pt x="420200" y="641649"/>
                      </a:cubicBezTo>
                      <a:cubicBezTo>
                        <a:pt x="420200" y="612122"/>
                        <a:pt x="397223" y="588185"/>
                        <a:pt x="368878" y="588185"/>
                      </a:cubicBezTo>
                      <a:lnTo>
                        <a:pt x="322482" y="588185"/>
                      </a:lnTo>
                      <a:cubicBezTo>
                        <a:pt x="294137" y="588185"/>
                        <a:pt x="271159" y="612122"/>
                        <a:pt x="271159" y="641649"/>
                      </a:cubicBezTo>
                      <a:cubicBezTo>
                        <a:pt x="271159" y="665693"/>
                        <a:pt x="286396" y="686030"/>
                        <a:pt x="307589" y="691980"/>
                      </a:cubicBezTo>
                      <a:lnTo>
                        <a:pt x="307589" y="720212"/>
                      </a:lnTo>
                      <a:lnTo>
                        <a:pt x="0" y="720212"/>
                      </a:lnTo>
                      <a:lnTo>
                        <a:pt x="0" y="399806"/>
                      </a:lnTo>
                      <a:lnTo>
                        <a:pt x="27101" y="399806"/>
                      </a:lnTo>
                      <a:cubicBezTo>
                        <a:pt x="32813" y="421883"/>
                        <a:pt x="52335" y="437755"/>
                        <a:pt x="75417" y="437755"/>
                      </a:cubicBezTo>
                      <a:cubicBezTo>
                        <a:pt x="103761" y="437755"/>
                        <a:pt x="126739" y="413819"/>
                        <a:pt x="126739" y="384292"/>
                      </a:cubicBezTo>
                      <a:lnTo>
                        <a:pt x="126739" y="335959"/>
                      </a:lnTo>
                      <a:cubicBezTo>
                        <a:pt x="126739" y="306432"/>
                        <a:pt x="103761" y="282496"/>
                        <a:pt x="75417" y="282496"/>
                      </a:cubicBezTo>
                      <a:cubicBezTo>
                        <a:pt x="52336" y="282496"/>
                        <a:pt x="32813" y="298368"/>
                        <a:pt x="27101" y="320445"/>
                      </a:cubicBezTo>
                      <a:lnTo>
                        <a:pt x="0" y="320445"/>
                      </a:lnTo>
                      <a:lnTo>
                        <a:pt x="0" y="0"/>
                      </a:lnTo>
                      <a:lnTo>
                        <a:pt x="299565" y="0"/>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0" name="Freihandform: Form 23">
                  <a:extLst>
                    <a:ext uri="{FF2B5EF4-FFF2-40B4-BE49-F238E27FC236}">
                      <a16:creationId xmlns:a16="http://schemas.microsoft.com/office/drawing/2014/main" id="{26CBA2AF-93A6-545F-E2FC-1A35FFB82520}"/>
                    </a:ext>
                  </a:extLst>
                </p:cNvPr>
                <p:cNvSpPr/>
                <p:nvPr/>
              </p:nvSpPr>
              <p:spPr bwMode="gray">
                <a:xfrm>
                  <a:off x="4304327" y="4151985"/>
                  <a:ext cx="720005" cy="702854"/>
                </a:xfrm>
                <a:custGeom>
                  <a:avLst/>
                  <a:gdLst>
                    <a:gd name="connsiteX0" fmla="*/ 502342 w 720005"/>
                    <a:gd name="connsiteY0" fmla="*/ 0 h 691358"/>
                    <a:gd name="connsiteX1" fmla="*/ 720005 w 720005"/>
                    <a:gd name="connsiteY1" fmla="*/ 0 h 691358"/>
                    <a:gd name="connsiteX2" fmla="*/ 720005 w 720005"/>
                    <a:gd name="connsiteY2" fmla="*/ 307595 h 691358"/>
                    <a:gd name="connsiteX3" fmla="*/ 691775 w 720005"/>
                    <a:gd name="connsiteY3" fmla="*/ 307595 h 691358"/>
                    <a:gd name="connsiteX4" fmla="*/ 641443 w 720005"/>
                    <a:gd name="connsiteY4" fmla="*/ 271165 h 691358"/>
                    <a:gd name="connsiteX5" fmla="*/ 587979 w 720005"/>
                    <a:gd name="connsiteY5" fmla="*/ 322487 h 691358"/>
                    <a:gd name="connsiteX6" fmla="*/ 587979 w 720005"/>
                    <a:gd name="connsiteY6" fmla="*/ 368884 h 691358"/>
                    <a:gd name="connsiteX7" fmla="*/ 641443 w 720005"/>
                    <a:gd name="connsiteY7" fmla="*/ 420206 h 691358"/>
                    <a:gd name="connsiteX8" fmla="*/ 691775 w 720005"/>
                    <a:gd name="connsiteY8" fmla="*/ 383777 h 691358"/>
                    <a:gd name="connsiteX9" fmla="*/ 720005 w 720005"/>
                    <a:gd name="connsiteY9" fmla="*/ 383777 h 691358"/>
                    <a:gd name="connsiteX10" fmla="*/ 720005 w 720005"/>
                    <a:gd name="connsiteY10" fmla="*/ 691358 h 691358"/>
                    <a:gd name="connsiteX11" fmla="*/ 0 w 720005"/>
                    <a:gd name="connsiteY11" fmla="*/ 691358 h 69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0005" h="691358">
                      <a:moveTo>
                        <a:pt x="502342" y="0"/>
                      </a:moveTo>
                      <a:lnTo>
                        <a:pt x="720005" y="0"/>
                      </a:lnTo>
                      <a:lnTo>
                        <a:pt x="720005" y="307595"/>
                      </a:lnTo>
                      <a:lnTo>
                        <a:pt x="691775" y="307595"/>
                      </a:lnTo>
                      <a:cubicBezTo>
                        <a:pt x="685825" y="286402"/>
                        <a:pt x="665488" y="271165"/>
                        <a:pt x="641443" y="271165"/>
                      </a:cubicBezTo>
                      <a:cubicBezTo>
                        <a:pt x="611916" y="271165"/>
                        <a:pt x="587979" y="294143"/>
                        <a:pt x="587979" y="322487"/>
                      </a:cubicBezTo>
                      <a:lnTo>
                        <a:pt x="587979" y="368884"/>
                      </a:lnTo>
                      <a:cubicBezTo>
                        <a:pt x="587979" y="397228"/>
                        <a:pt x="611916" y="420206"/>
                        <a:pt x="641443" y="420206"/>
                      </a:cubicBezTo>
                      <a:cubicBezTo>
                        <a:pt x="665487" y="420206"/>
                        <a:pt x="685825" y="404970"/>
                        <a:pt x="691775" y="383777"/>
                      </a:cubicBezTo>
                      <a:lnTo>
                        <a:pt x="720005" y="383777"/>
                      </a:lnTo>
                      <a:lnTo>
                        <a:pt x="720005" y="691358"/>
                      </a:lnTo>
                      <a:lnTo>
                        <a:pt x="0" y="691358"/>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1" name="Abgerundetes Rechteck 47">
                  <a:extLst>
                    <a:ext uri="{FF2B5EF4-FFF2-40B4-BE49-F238E27FC236}">
                      <a16:creationId xmlns:a16="http://schemas.microsoft.com/office/drawing/2014/main" id="{5144C49B-1834-D8AA-1C48-765CDD4E4803}"/>
                    </a:ext>
                  </a:extLst>
                </p:cNvPr>
                <p:cNvSpPr/>
                <p:nvPr/>
              </p:nvSpPr>
              <p:spPr bwMode="gray">
                <a:xfrm>
                  <a:off x="5612517" y="4023138"/>
                  <a:ext cx="852239" cy="831700"/>
                </a:xfrm>
                <a:custGeom>
                  <a:avLst/>
                  <a:gdLst/>
                  <a:ahLst/>
                  <a:cxnLst/>
                  <a:rect l="l" t="t" r="r" b="b"/>
                  <a:pathLst>
                    <a:path w="1320596" h="1320584">
                      <a:moveTo>
                        <a:pt x="1320596" y="204584"/>
                      </a:moveTo>
                      <a:lnTo>
                        <a:pt x="1320596" y="701097"/>
                      </a:lnTo>
                      <a:lnTo>
                        <a:pt x="1276849" y="701097"/>
                      </a:lnTo>
                      <a:cubicBezTo>
                        <a:pt x="1267629" y="666888"/>
                        <a:pt x="1236116" y="642292"/>
                        <a:pt x="1198857" y="642292"/>
                      </a:cubicBezTo>
                      <a:cubicBezTo>
                        <a:pt x="1153103" y="642292"/>
                        <a:pt x="1116012" y="679383"/>
                        <a:pt x="1116012" y="725137"/>
                      </a:cubicBezTo>
                      <a:lnTo>
                        <a:pt x="1116012" y="800031"/>
                      </a:lnTo>
                      <a:cubicBezTo>
                        <a:pt x="1116012" y="845785"/>
                        <a:pt x="1153103" y="882876"/>
                        <a:pt x="1198857" y="882876"/>
                      </a:cubicBezTo>
                      <a:cubicBezTo>
                        <a:pt x="1236115" y="882876"/>
                        <a:pt x="1267629" y="858281"/>
                        <a:pt x="1276849" y="824071"/>
                      </a:cubicBezTo>
                      <a:lnTo>
                        <a:pt x="1320596" y="824071"/>
                      </a:lnTo>
                      <a:lnTo>
                        <a:pt x="1320596" y="1320584"/>
                      </a:lnTo>
                      <a:lnTo>
                        <a:pt x="204583" y="1320584"/>
                      </a:lnTo>
                      <a:lnTo>
                        <a:pt x="204583" y="824071"/>
                      </a:lnTo>
                      <a:lnTo>
                        <a:pt x="160837" y="824071"/>
                      </a:lnTo>
                      <a:cubicBezTo>
                        <a:pt x="151617" y="858281"/>
                        <a:pt x="120103" y="882876"/>
                        <a:pt x="82845" y="882876"/>
                      </a:cubicBezTo>
                      <a:cubicBezTo>
                        <a:pt x="37091" y="882876"/>
                        <a:pt x="0" y="845785"/>
                        <a:pt x="0" y="800031"/>
                      </a:cubicBezTo>
                      <a:lnTo>
                        <a:pt x="0" y="725137"/>
                      </a:lnTo>
                      <a:cubicBezTo>
                        <a:pt x="0" y="679383"/>
                        <a:pt x="37091" y="642292"/>
                        <a:pt x="82845" y="642292"/>
                      </a:cubicBezTo>
                      <a:cubicBezTo>
                        <a:pt x="120104" y="642292"/>
                        <a:pt x="151617" y="666888"/>
                        <a:pt x="160837" y="701097"/>
                      </a:cubicBezTo>
                      <a:lnTo>
                        <a:pt x="204583" y="701097"/>
                      </a:lnTo>
                      <a:lnTo>
                        <a:pt x="204583" y="204584"/>
                      </a:lnTo>
                      <a:lnTo>
                        <a:pt x="701122" y="204584"/>
                      </a:lnTo>
                      <a:lnTo>
                        <a:pt x="701122" y="160837"/>
                      </a:lnTo>
                      <a:cubicBezTo>
                        <a:pt x="666912" y="151617"/>
                        <a:pt x="642317" y="120103"/>
                        <a:pt x="642317" y="82845"/>
                      </a:cubicBezTo>
                      <a:cubicBezTo>
                        <a:pt x="642317" y="37091"/>
                        <a:pt x="679408" y="0"/>
                        <a:pt x="725162" y="0"/>
                      </a:cubicBezTo>
                      <a:lnTo>
                        <a:pt x="800056" y="0"/>
                      </a:lnTo>
                      <a:cubicBezTo>
                        <a:pt x="845810" y="0"/>
                        <a:pt x="882901" y="37091"/>
                        <a:pt x="882901" y="82845"/>
                      </a:cubicBezTo>
                      <a:cubicBezTo>
                        <a:pt x="882901" y="120104"/>
                        <a:pt x="858305" y="151617"/>
                        <a:pt x="824096" y="160837"/>
                      </a:cubicBezTo>
                      <a:lnTo>
                        <a:pt x="824096" y="204584"/>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2" name="Freihandform: Form 25">
                  <a:extLst>
                    <a:ext uri="{FF2B5EF4-FFF2-40B4-BE49-F238E27FC236}">
                      <a16:creationId xmlns:a16="http://schemas.microsoft.com/office/drawing/2014/main" id="{8CB71E30-16FE-17EA-0BFE-66A0F769C1D9}"/>
                    </a:ext>
                  </a:extLst>
                </p:cNvPr>
                <p:cNvSpPr/>
                <p:nvPr/>
              </p:nvSpPr>
              <p:spPr bwMode="gray">
                <a:xfrm rot="10800000">
                  <a:off x="6332729" y="3448642"/>
                  <a:ext cx="852239" cy="832189"/>
                </a:xfrm>
                <a:custGeom>
                  <a:avLst/>
                  <a:gdLst>
                    <a:gd name="connsiteX0" fmla="*/ 521678 w 852239"/>
                    <a:gd name="connsiteY0" fmla="*/ 818578 h 818578"/>
                    <a:gd name="connsiteX1" fmla="*/ 292877 w 852239"/>
                    <a:gd name="connsiteY1" fmla="*/ 818578 h 818578"/>
                    <a:gd name="connsiteX2" fmla="*/ 0 w 852239"/>
                    <a:gd name="connsiteY2" fmla="*/ 415500 h 818578"/>
                    <a:gd name="connsiteX3" fmla="*/ 0 w 852239"/>
                    <a:gd name="connsiteY3" fmla="*/ 126739 h 818578"/>
                    <a:gd name="connsiteX4" fmla="*/ 320421 w 852239"/>
                    <a:gd name="connsiteY4" fmla="*/ 126739 h 818578"/>
                    <a:gd name="connsiteX5" fmla="*/ 320421 w 852239"/>
                    <a:gd name="connsiteY5" fmla="*/ 99638 h 818578"/>
                    <a:gd name="connsiteX6" fmla="*/ 282472 w 852239"/>
                    <a:gd name="connsiteY6" fmla="*/ 51322 h 818578"/>
                    <a:gd name="connsiteX7" fmla="*/ 335935 w 852239"/>
                    <a:gd name="connsiteY7" fmla="*/ 0 h 818578"/>
                    <a:gd name="connsiteX8" fmla="*/ 384268 w 852239"/>
                    <a:gd name="connsiteY8" fmla="*/ 0 h 818578"/>
                    <a:gd name="connsiteX9" fmla="*/ 437731 w 852239"/>
                    <a:gd name="connsiteY9" fmla="*/ 51322 h 818578"/>
                    <a:gd name="connsiteX10" fmla="*/ 399782 w 852239"/>
                    <a:gd name="connsiteY10" fmla="*/ 99638 h 818578"/>
                    <a:gd name="connsiteX11" fmla="*/ 399782 w 852239"/>
                    <a:gd name="connsiteY11" fmla="*/ 126739 h 818578"/>
                    <a:gd name="connsiteX12" fmla="*/ 720212 w 852239"/>
                    <a:gd name="connsiteY12" fmla="*/ 126739 h 818578"/>
                    <a:gd name="connsiteX13" fmla="*/ 720212 w 852239"/>
                    <a:gd name="connsiteY13" fmla="*/ 434328 h 818578"/>
                    <a:gd name="connsiteX14" fmla="*/ 748444 w 852239"/>
                    <a:gd name="connsiteY14" fmla="*/ 434328 h 818578"/>
                    <a:gd name="connsiteX15" fmla="*/ 798776 w 852239"/>
                    <a:gd name="connsiteY15" fmla="*/ 397898 h 818578"/>
                    <a:gd name="connsiteX16" fmla="*/ 852239 w 852239"/>
                    <a:gd name="connsiteY16" fmla="*/ 449221 h 818578"/>
                    <a:gd name="connsiteX17" fmla="*/ 852239 w 852239"/>
                    <a:gd name="connsiteY17" fmla="*/ 495617 h 818578"/>
                    <a:gd name="connsiteX18" fmla="*/ 798775 w 852239"/>
                    <a:gd name="connsiteY18" fmla="*/ 546939 h 818578"/>
                    <a:gd name="connsiteX19" fmla="*/ 748444 w 852239"/>
                    <a:gd name="connsiteY19" fmla="*/ 510510 h 818578"/>
                    <a:gd name="connsiteX20" fmla="*/ 720212 w 852239"/>
                    <a:gd name="connsiteY20" fmla="*/ 510510 h 818578"/>
                    <a:gd name="connsiteX21" fmla="*/ 720212 w 852239"/>
                    <a:gd name="connsiteY21" fmla="*/ 818097 h 818578"/>
                    <a:gd name="connsiteX22" fmla="*/ 521678 w 852239"/>
                    <a:gd name="connsiteY22" fmla="*/ 818097 h 81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52239" h="818578">
                      <a:moveTo>
                        <a:pt x="521678" y="818578"/>
                      </a:moveTo>
                      <a:lnTo>
                        <a:pt x="292877" y="818578"/>
                      </a:lnTo>
                      <a:lnTo>
                        <a:pt x="0" y="415500"/>
                      </a:lnTo>
                      <a:lnTo>
                        <a:pt x="0" y="126739"/>
                      </a:lnTo>
                      <a:lnTo>
                        <a:pt x="320421" y="126739"/>
                      </a:lnTo>
                      <a:lnTo>
                        <a:pt x="320421" y="99638"/>
                      </a:lnTo>
                      <a:cubicBezTo>
                        <a:pt x="298344" y="93926"/>
                        <a:pt x="282472" y="74404"/>
                        <a:pt x="282472" y="51322"/>
                      </a:cubicBezTo>
                      <a:cubicBezTo>
                        <a:pt x="282472" y="22978"/>
                        <a:pt x="306408" y="0"/>
                        <a:pt x="335935" y="0"/>
                      </a:cubicBezTo>
                      <a:lnTo>
                        <a:pt x="384268" y="0"/>
                      </a:lnTo>
                      <a:cubicBezTo>
                        <a:pt x="413795" y="0"/>
                        <a:pt x="437731" y="22978"/>
                        <a:pt x="437731" y="51322"/>
                      </a:cubicBezTo>
                      <a:cubicBezTo>
                        <a:pt x="437731" y="74404"/>
                        <a:pt x="421858" y="93926"/>
                        <a:pt x="399782" y="99638"/>
                      </a:cubicBezTo>
                      <a:lnTo>
                        <a:pt x="399782" y="126739"/>
                      </a:lnTo>
                      <a:lnTo>
                        <a:pt x="720212" y="126739"/>
                      </a:lnTo>
                      <a:lnTo>
                        <a:pt x="720212" y="434328"/>
                      </a:lnTo>
                      <a:lnTo>
                        <a:pt x="748444" y="434328"/>
                      </a:lnTo>
                      <a:cubicBezTo>
                        <a:pt x="754394" y="413135"/>
                        <a:pt x="774732" y="397898"/>
                        <a:pt x="798776" y="397898"/>
                      </a:cubicBezTo>
                      <a:cubicBezTo>
                        <a:pt x="828303" y="397898"/>
                        <a:pt x="852239" y="420876"/>
                        <a:pt x="852239" y="449221"/>
                      </a:cubicBezTo>
                      <a:lnTo>
                        <a:pt x="852239" y="495617"/>
                      </a:lnTo>
                      <a:cubicBezTo>
                        <a:pt x="852239" y="523962"/>
                        <a:pt x="828302" y="546939"/>
                        <a:pt x="798775" y="546939"/>
                      </a:cubicBezTo>
                      <a:cubicBezTo>
                        <a:pt x="774730" y="546939"/>
                        <a:pt x="754394" y="531702"/>
                        <a:pt x="748444" y="510510"/>
                      </a:cubicBezTo>
                      <a:lnTo>
                        <a:pt x="720212" y="510510"/>
                      </a:lnTo>
                      <a:lnTo>
                        <a:pt x="720212" y="818097"/>
                      </a:lnTo>
                      <a:lnTo>
                        <a:pt x="521678" y="818097"/>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3" name="Freihandform: Form 26">
                  <a:extLst>
                    <a:ext uri="{FF2B5EF4-FFF2-40B4-BE49-F238E27FC236}">
                      <a16:creationId xmlns:a16="http://schemas.microsoft.com/office/drawing/2014/main" id="{F93DD182-E149-4A4F-B271-507AEB19AB8D}"/>
                    </a:ext>
                  </a:extLst>
                </p:cNvPr>
                <p:cNvSpPr/>
                <p:nvPr/>
              </p:nvSpPr>
              <p:spPr bwMode="gray">
                <a:xfrm rot="16200000">
                  <a:off x="5686965" y="3374194"/>
                  <a:ext cx="703344" cy="852239"/>
                </a:xfrm>
                <a:custGeom>
                  <a:avLst/>
                  <a:gdLst>
                    <a:gd name="connsiteX0" fmla="*/ 691840 w 691840"/>
                    <a:gd name="connsiteY0" fmla="*/ 314321 h 852239"/>
                    <a:gd name="connsiteX1" fmla="*/ 691840 w 691840"/>
                    <a:gd name="connsiteY1" fmla="*/ 676271 h 852239"/>
                    <a:gd name="connsiteX2" fmla="*/ 691358 w 691840"/>
                    <a:gd name="connsiteY2" fmla="*/ 676271 h 852239"/>
                    <a:gd name="connsiteX3" fmla="*/ 691358 w 691840"/>
                    <a:gd name="connsiteY3" fmla="*/ 852239 h 852239"/>
                    <a:gd name="connsiteX4" fmla="*/ 383770 w 691840"/>
                    <a:gd name="connsiteY4" fmla="*/ 852239 h 852239"/>
                    <a:gd name="connsiteX5" fmla="*/ 383770 w 691840"/>
                    <a:gd name="connsiteY5" fmla="*/ 824007 h 852239"/>
                    <a:gd name="connsiteX6" fmla="*/ 420200 w 691840"/>
                    <a:gd name="connsiteY6" fmla="*/ 773676 h 852239"/>
                    <a:gd name="connsiteX7" fmla="*/ 368878 w 691840"/>
                    <a:gd name="connsiteY7" fmla="*/ 720212 h 852239"/>
                    <a:gd name="connsiteX8" fmla="*/ 322481 w 691840"/>
                    <a:gd name="connsiteY8" fmla="*/ 720212 h 852239"/>
                    <a:gd name="connsiteX9" fmla="*/ 271159 w 691840"/>
                    <a:gd name="connsiteY9" fmla="*/ 773676 h 852239"/>
                    <a:gd name="connsiteX10" fmla="*/ 307589 w 691840"/>
                    <a:gd name="connsiteY10" fmla="*/ 824007 h 852239"/>
                    <a:gd name="connsiteX11" fmla="*/ 307589 w 691840"/>
                    <a:gd name="connsiteY11" fmla="*/ 852239 h 852239"/>
                    <a:gd name="connsiteX12" fmla="*/ 0 w 691840"/>
                    <a:gd name="connsiteY12" fmla="*/ 852239 h 852239"/>
                    <a:gd name="connsiteX13" fmla="*/ 0 w 691840"/>
                    <a:gd name="connsiteY13" fmla="*/ 531826 h 852239"/>
                    <a:gd name="connsiteX14" fmla="*/ 27101 w 691840"/>
                    <a:gd name="connsiteY14" fmla="*/ 531826 h 852239"/>
                    <a:gd name="connsiteX15" fmla="*/ 75417 w 691840"/>
                    <a:gd name="connsiteY15" fmla="*/ 569775 h 852239"/>
                    <a:gd name="connsiteX16" fmla="*/ 126739 w 691840"/>
                    <a:gd name="connsiteY16" fmla="*/ 516312 h 852239"/>
                    <a:gd name="connsiteX17" fmla="*/ 126739 w 691840"/>
                    <a:gd name="connsiteY17" fmla="*/ 467979 h 852239"/>
                    <a:gd name="connsiteX18" fmla="*/ 75417 w 691840"/>
                    <a:gd name="connsiteY18" fmla="*/ 414516 h 852239"/>
                    <a:gd name="connsiteX19" fmla="*/ 27101 w 691840"/>
                    <a:gd name="connsiteY19" fmla="*/ 452465 h 852239"/>
                    <a:gd name="connsiteX20" fmla="*/ 0 w 691840"/>
                    <a:gd name="connsiteY20" fmla="*/ 452465 h 852239"/>
                    <a:gd name="connsiteX21" fmla="*/ 0 w 691840"/>
                    <a:gd name="connsiteY21" fmla="*/ 132027 h 852239"/>
                    <a:gd name="connsiteX22" fmla="*/ 307589 w 691840"/>
                    <a:gd name="connsiteY22" fmla="*/ 132027 h 852239"/>
                    <a:gd name="connsiteX23" fmla="*/ 307589 w 691840"/>
                    <a:gd name="connsiteY23" fmla="*/ 103795 h 852239"/>
                    <a:gd name="connsiteX24" fmla="*/ 271159 w 691840"/>
                    <a:gd name="connsiteY24" fmla="*/ 53464 h 852239"/>
                    <a:gd name="connsiteX25" fmla="*/ 322481 w 691840"/>
                    <a:gd name="connsiteY25" fmla="*/ 0 h 852239"/>
                    <a:gd name="connsiteX26" fmla="*/ 368878 w 691840"/>
                    <a:gd name="connsiteY26" fmla="*/ 0 h 852239"/>
                    <a:gd name="connsiteX27" fmla="*/ 420200 w 691840"/>
                    <a:gd name="connsiteY27" fmla="*/ 53464 h 852239"/>
                    <a:gd name="connsiteX28" fmla="*/ 383771 w 691840"/>
                    <a:gd name="connsiteY28" fmla="*/ 103795 h 852239"/>
                    <a:gd name="connsiteX29" fmla="*/ 383771 w 691840"/>
                    <a:gd name="connsiteY29" fmla="*/ 132027 h 852239"/>
                    <a:gd name="connsiteX30" fmla="*/ 691358 w 691840"/>
                    <a:gd name="connsiteY30" fmla="*/ 132027 h 852239"/>
                    <a:gd name="connsiteX31" fmla="*/ 691358 w 691840"/>
                    <a:gd name="connsiteY31" fmla="*/ 314321 h 852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91840" h="852239">
                      <a:moveTo>
                        <a:pt x="691840" y="314321"/>
                      </a:moveTo>
                      <a:lnTo>
                        <a:pt x="691840" y="676271"/>
                      </a:lnTo>
                      <a:lnTo>
                        <a:pt x="691358" y="676271"/>
                      </a:lnTo>
                      <a:lnTo>
                        <a:pt x="691358" y="852239"/>
                      </a:lnTo>
                      <a:lnTo>
                        <a:pt x="383770" y="852239"/>
                      </a:lnTo>
                      <a:lnTo>
                        <a:pt x="383770" y="824007"/>
                      </a:lnTo>
                      <a:cubicBezTo>
                        <a:pt x="404963" y="818057"/>
                        <a:pt x="420200" y="797721"/>
                        <a:pt x="420200" y="773676"/>
                      </a:cubicBezTo>
                      <a:cubicBezTo>
                        <a:pt x="420200" y="744149"/>
                        <a:pt x="397222" y="720212"/>
                        <a:pt x="368878" y="720212"/>
                      </a:cubicBezTo>
                      <a:lnTo>
                        <a:pt x="322481" y="720212"/>
                      </a:lnTo>
                      <a:cubicBezTo>
                        <a:pt x="294137" y="720212"/>
                        <a:pt x="271159" y="744149"/>
                        <a:pt x="271159" y="773676"/>
                      </a:cubicBezTo>
                      <a:cubicBezTo>
                        <a:pt x="271159" y="797720"/>
                        <a:pt x="286396" y="818057"/>
                        <a:pt x="307589" y="824007"/>
                      </a:cubicBezTo>
                      <a:lnTo>
                        <a:pt x="307589" y="852239"/>
                      </a:lnTo>
                      <a:lnTo>
                        <a:pt x="0" y="852239"/>
                      </a:lnTo>
                      <a:lnTo>
                        <a:pt x="0" y="531826"/>
                      </a:lnTo>
                      <a:lnTo>
                        <a:pt x="27101" y="531826"/>
                      </a:lnTo>
                      <a:cubicBezTo>
                        <a:pt x="32813" y="553902"/>
                        <a:pt x="52335" y="569775"/>
                        <a:pt x="75417" y="569775"/>
                      </a:cubicBezTo>
                      <a:cubicBezTo>
                        <a:pt x="103761" y="569775"/>
                        <a:pt x="126739" y="545839"/>
                        <a:pt x="126739" y="516312"/>
                      </a:cubicBezTo>
                      <a:lnTo>
                        <a:pt x="126739" y="467979"/>
                      </a:lnTo>
                      <a:cubicBezTo>
                        <a:pt x="126739" y="438452"/>
                        <a:pt x="103761" y="414516"/>
                        <a:pt x="75417" y="414516"/>
                      </a:cubicBezTo>
                      <a:cubicBezTo>
                        <a:pt x="52336" y="414516"/>
                        <a:pt x="32813" y="430388"/>
                        <a:pt x="27101" y="452465"/>
                      </a:cubicBezTo>
                      <a:lnTo>
                        <a:pt x="0" y="452465"/>
                      </a:lnTo>
                      <a:lnTo>
                        <a:pt x="0" y="132027"/>
                      </a:lnTo>
                      <a:lnTo>
                        <a:pt x="307589" y="132027"/>
                      </a:lnTo>
                      <a:lnTo>
                        <a:pt x="307589" y="103795"/>
                      </a:lnTo>
                      <a:cubicBezTo>
                        <a:pt x="286396" y="97845"/>
                        <a:pt x="271159" y="77508"/>
                        <a:pt x="271159" y="53464"/>
                      </a:cubicBezTo>
                      <a:cubicBezTo>
                        <a:pt x="271159" y="23937"/>
                        <a:pt x="294137" y="0"/>
                        <a:pt x="322481" y="0"/>
                      </a:cubicBezTo>
                      <a:lnTo>
                        <a:pt x="368878" y="0"/>
                      </a:lnTo>
                      <a:cubicBezTo>
                        <a:pt x="397222" y="0"/>
                        <a:pt x="420200" y="23937"/>
                        <a:pt x="420200" y="53464"/>
                      </a:cubicBezTo>
                      <a:cubicBezTo>
                        <a:pt x="420200" y="77509"/>
                        <a:pt x="404963" y="97845"/>
                        <a:pt x="383771" y="103795"/>
                      </a:cubicBezTo>
                      <a:lnTo>
                        <a:pt x="383771" y="132027"/>
                      </a:lnTo>
                      <a:lnTo>
                        <a:pt x="691358" y="132027"/>
                      </a:lnTo>
                      <a:lnTo>
                        <a:pt x="691358" y="314321"/>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23" name="Abgerundetes Rechteck 47">
                  <a:extLst>
                    <a:ext uri="{FF2B5EF4-FFF2-40B4-BE49-F238E27FC236}">
                      <a16:creationId xmlns:a16="http://schemas.microsoft.com/office/drawing/2014/main" id="{168D7B29-FDC7-1CA3-7CD2-ADEA55A08E51}"/>
                    </a:ext>
                  </a:extLst>
                </p:cNvPr>
                <p:cNvSpPr/>
                <p:nvPr/>
              </p:nvSpPr>
              <p:spPr bwMode="gray">
                <a:xfrm rot="16200000">
                  <a:off x="6407422" y="4077293"/>
                  <a:ext cx="702854" cy="852239"/>
                </a:xfrm>
                <a:custGeom>
                  <a:avLst/>
                  <a:gdLst/>
                  <a:ahLst/>
                  <a:cxnLst/>
                  <a:rect l="l" t="t" r="r" b="b"/>
                  <a:pathLst>
                    <a:path w="1116000" h="1320597">
                      <a:moveTo>
                        <a:pt x="1116000" y="1320597"/>
                      </a:moveTo>
                      <a:lnTo>
                        <a:pt x="0" y="1320597"/>
                      </a:lnTo>
                      <a:lnTo>
                        <a:pt x="0" y="204584"/>
                      </a:lnTo>
                      <a:lnTo>
                        <a:pt x="496513" y="204584"/>
                      </a:lnTo>
                      <a:lnTo>
                        <a:pt x="496513" y="160837"/>
                      </a:lnTo>
                      <a:cubicBezTo>
                        <a:pt x="462303" y="151617"/>
                        <a:pt x="437708" y="120103"/>
                        <a:pt x="437708" y="82845"/>
                      </a:cubicBezTo>
                      <a:cubicBezTo>
                        <a:pt x="437708" y="37091"/>
                        <a:pt x="474799" y="0"/>
                        <a:pt x="520553" y="0"/>
                      </a:cubicBezTo>
                      <a:lnTo>
                        <a:pt x="595447" y="0"/>
                      </a:lnTo>
                      <a:cubicBezTo>
                        <a:pt x="641201" y="0"/>
                        <a:pt x="678292" y="37091"/>
                        <a:pt x="678292" y="82845"/>
                      </a:cubicBezTo>
                      <a:cubicBezTo>
                        <a:pt x="678292" y="120104"/>
                        <a:pt x="653696" y="151617"/>
                        <a:pt x="619487" y="160837"/>
                      </a:cubicBezTo>
                      <a:lnTo>
                        <a:pt x="619487" y="204584"/>
                      </a:lnTo>
                      <a:lnTo>
                        <a:pt x="1116000" y="204584"/>
                      </a:lnTo>
                      <a:lnTo>
                        <a:pt x="1116000" y="701111"/>
                      </a:lnTo>
                      <a:lnTo>
                        <a:pt x="1072253" y="701111"/>
                      </a:lnTo>
                      <a:cubicBezTo>
                        <a:pt x="1063033" y="666902"/>
                        <a:pt x="1031520" y="642306"/>
                        <a:pt x="994261" y="642306"/>
                      </a:cubicBezTo>
                      <a:cubicBezTo>
                        <a:pt x="948507" y="642306"/>
                        <a:pt x="911416" y="679397"/>
                        <a:pt x="911416" y="725151"/>
                      </a:cubicBezTo>
                      <a:lnTo>
                        <a:pt x="911416" y="800045"/>
                      </a:lnTo>
                      <a:cubicBezTo>
                        <a:pt x="911416" y="845799"/>
                        <a:pt x="948507" y="882890"/>
                        <a:pt x="994261" y="882890"/>
                      </a:cubicBezTo>
                      <a:cubicBezTo>
                        <a:pt x="1031519" y="882890"/>
                        <a:pt x="1063033" y="858295"/>
                        <a:pt x="1072253" y="824085"/>
                      </a:cubicBezTo>
                      <a:lnTo>
                        <a:pt x="1116000" y="824085"/>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24" name="Freihandform: Form 28">
                  <a:extLst>
                    <a:ext uri="{FF2B5EF4-FFF2-40B4-BE49-F238E27FC236}">
                      <a16:creationId xmlns:a16="http://schemas.microsoft.com/office/drawing/2014/main" id="{1CDA2B54-C7FD-42CA-51B8-425054C50D81}"/>
                    </a:ext>
                  </a:extLst>
                </p:cNvPr>
                <p:cNvSpPr/>
                <p:nvPr/>
              </p:nvSpPr>
              <p:spPr bwMode="gray">
                <a:xfrm rot="5400000">
                  <a:off x="4763229" y="3890880"/>
                  <a:ext cx="304544" cy="217663"/>
                </a:xfrm>
                <a:custGeom>
                  <a:avLst/>
                  <a:gdLst>
                    <a:gd name="connsiteX0" fmla="*/ 0 w 299563"/>
                    <a:gd name="connsiteY0" fmla="*/ 0 h 217663"/>
                    <a:gd name="connsiteX1" fmla="*/ 299563 w 299563"/>
                    <a:gd name="connsiteY1" fmla="*/ 0 h 217663"/>
                    <a:gd name="connsiteX2" fmla="*/ 299563 w 299563"/>
                    <a:gd name="connsiteY2" fmla="*/ 217663 h 217663"/>
                  </a:gdLst>
                  <a:ahLst/>
                  <a:cxnLst>
                    <a:cxn ang="0">
                      <a:pos x="connsiteX0" y="connsiteY0"/>
                    </a:cxn>
                    <a:cxn ang="0">
                      <a:pos x="connsiteX1" y="connsiteY1"/>
                    </a:cxn>
                    <a:cxn ang="0">
                      <a:pos x="connsiteX2" y="connsiteY2"/>
                    </a:cxn>
                  </a:cxnLst>
                  <a:rect l="l" t="t" r="r" b="b"/>
                  <a:pathLst>
                    <a:path w="299563" h="217663">
                      <a:moveTo>
                        <a:pt x="0" y="0"/>
                      </a:moveTo>
                      <a:lnTo>
                        <a:pt x="299563" y="0"/>
                      </a:lnTo>
                      <a:lnTo>
                        <a:pt x="299563" y="217663"/>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buClrTx/>
                  </a:pPr>
                  <a:endParaRPr lang="en-US" kern="1200">
                    <a:solidFill>
                      <a:prstClr val="white"/>
                    </a:solidFill>
                    <a:latin typeface="Arial"/>
                  </a:endParaRPr>
                </a:p>
              </p:txBody>
            </p:sp>
            <p:sp>
              <p:nvSpPr>
                <p:cNvPr id="325" name="Freihandform: Form 29">
                  <a:extLst>
                    <a:ext uri="{FF2B5EF4-FFF2-40B4-BE49-F238E27FC236}">
                      <a16:creationId xmlns:a16="http://schemas.microsoft.com/office/drawing/2014/main" id="{13EC196A-F707-7A05-787C-60AFED7AFF66}"/>
                    </a:ext>
                  </a:extLst>
                </p:cNvPr>
                <p:cNvSpPr/>
                <p:nvPr/>
              </p:nvSpPr>
              <p:spPr bwMode="gray">
                <a:xfrm rot="10800000">
                  <a:off x="7047916" y="3728535"/>
                  <a:ext cx="346867" cy="423451"/>
                </a:xfrm>
                <a:custGeom>
                  <a:avLst/>
                  <a:gdLst>
                    <a:gd name="connsiteX0" fmla="*/ 214840 w 346867"/>
                    <a:gd name="connsiteY0" fmla="*/ 295678 h 416525"/>
                    <a:gd name="connsiteX1" fmla="*/ 0 w 346867"/>
                    <a:gd name="connsiteY1" fmla="*/ 0 h 416525"/>
                    <a:gd name="connsiteX2" fmla="*/ 214840 w 346867"/>
                    <a:gd name="connsiteY2" fmla="*/ 0 h 416525"/>
                    <a:gd name="connsiteX3" fmla="*/ 302647 w 346867"/>
                    <a:gd name="connsiteY3" fmla="*/ 416525 h 416525"/>
                    <a:gd name="connsiteX4" fmla="*/ 223495 w 346867"/>
                    <a:gd name="connsiteY4" fmla="*/ 307589 h 416525"/>
                    <a:gd name="connsiteX5" fmla="*/ 243072 w 346867"/>
                    <a:gd name="connsiteY5" fmla="*/ 307589 h 416525"/>
                    <a:gd name="connsiteX6" fmla="*/ 293404 w 346867"/>
                    <a:gd name="connsiteY6" fmla="*/ 271159 h 416525"/>
                    <a:gd name="connsiteX7" fmla="*/ 346867 w 346867"/>
                    <a:gd name="connsiteY7" fmla="*/ 322482 h 416525"/>
                    <a:gd name="connsiteX8" fmla="*/ 346867 w 346867"/>
                    <a:gd name="connsiteY8" fmla="*/ 368878 h 416525"/>
                    <a:gd name="connsiteX9" fmla="*/ 331207 w 346867"/>
                    <a:gd name="connsiteY9" fmla="*/ 405169 h 41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867" h="416525">
                      <a:moveTo>
                        <a:pt x="214840" y="295678"/>
                      </a:moveTo>
                      <a:lnTo>
                        <a:pt x="0" y="0"/>
                      </a:lnTo>
                      <a:lnTo>
                        <a:pt x="214840" y="0"/>
                      </a:lnTo>
                      <a:close/>
                      <a:moveTo>
                        <a:pt x="302647" y="416525"/>
                      </a:moveTo>
                      <a:lnTo>
                        <a:pt x="223495" y="307589"/>
                      </a:lnTo>
                      <a:lnTo>
                        <a:pt x="243072" y="307589"/>
                      </a:lnTo>
                      <a:cubicBezTo>
                        <a:pt x="249022" y="286396"/>
                        <a:pt x="269360" y="271159"/>
                        <a:pt x="293404" y="271159"/>
                      </a:cubicBezTo>
                      <a:cubicBezTo>
                        <a:pt x="322931" y="271159"/>
                        <a:pt x="346867" y="294137"/>
                        <a:pt x="346867" y="322482"/>
                      </a:cubicBezTo>
                      <a:lnTo>
                        <a:pt x="346867" y="368878"/>
                      </a:lnTo>
                      <a:cubicBezTo>
                        <a:pt x="346867" y="383051"/>
                        <a:pt x="340882" y="395881"/>
                        <a:pt x="331207" y="405169"/>
                      </a:cubicBez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26" name="Freihandform: Form 30">
                  <a:extLst>
                    <a:ext uri="{FF2B5EF4-FFF2-40B4-BE49-F238E27FC236}">
                      <a16:creationId xmlns:a16="http://schemas.microsoft.com/office/drawing/2014/main" id="{2CD785F2-3DAB-D062-6833-D4D6F67EE121}"/>
                    </a:ext>
                  </a:extLst>
                </p:cNvPr>
                <p:cNvSpPr/>
                <p:nvPr/>
              </p:nvSpPr>
              <p:spPr bwMode="gray">
                <a:xfrm rot="16200000">
                  <a:off x="7121095" y="4078809"/>
                  <a:ext cx="702854" cy="849209"/>
                </a:xfrm>
                <a:custGeom>
                  <a:avLst/>
                  <a:gdLst>
                    <a:gd name="connsiteX0" fmla="*/ 691358 w 691358"/>
                    <a:gd name="connsiteY0" fmla="*/ 132027 h 849209"/>
                    <a:gd name="connsiteX1" fmla="*/ 691358 w 691358"/>
                    <a:gd name="connsiteY1" fmla="*/ 346867 h 849209"/>
                    <a:gd name="connsiteX2" fmla="*/ 0 w 691358"/>
                    <a:gd name="connsiteY2" fmla="*/ 849209 h 849209"/>
                    <a:gd name="connsiteX3" fmla="*/ 0 w 691358"/>
                    <a:gd name="connsiteY3" fmla="*/ 132027 h 849209"/>
                    <a:gd name="connsiteX4" fmla="*/ 307588 w 691358"/>
                    <a:gd name="connsiteY4" fmla="*/ 132027 h 849209"/>
                    <a:gd name="connsiteX5" fmla="*/ 307588 w 691358"/>
                    <a:gd name="connsiteY5" fmla="*/ 103795 h 849209"/>
                    <a:gd name="connsiteX6" fmla="*/ 271159 w 691358"/>
                    <a:gd name="connsiteY6" fmla="*/ 53464 h 849209"/>
                    <a:gd name="connsiteX7" fmla="*/ 322481 w 691358"/>
                    <a:gd name="connsiteY7" fmla="*/ 0 h 849209"/>
                    <a:gd name="connsiteX8" fmla="*/ 368878 w 691358"/>
                    <a:gd name="connsiteY8" fmla="*/ 0 h 849209"/>
                    <a:gd name="connsiteX9" fmla="*/ 420200 w 691358"/>
                    <a:gd name="connsiteY9" fmla="*/ 53464 h 849209"/>
                    <a:gd name="connsiteX10" fmla="*/ 383770 w 691358"/>
                    <a:gd name="connsiteY10" fmla="*/ 103795 h 849209"/>
                    <a:gd name="connsiteX11" fmla="*/ 383770 w 691358"/>
                    <a:gd name="connsiteY11" fmla="*/ 132027 h 84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1358" h="849209">
                      <a:moveTo>
                        <a:pt x="691358" y="132027"/>
                      </a:moveTo>
                      <a:lnTo>
                        <a:pt x="691358" y="346867"/>
                      </a:lnTo>
                      <a:lnTo>
                        <a:pt x="0" y="849209"/>
                      </a:lnTo>
                      <a:lnTo>
                        <a:pt x="0" y="132027"/>
                      </a:lnTo>
                      <a:lnTo>
                        <a:pt x="307588" y="132027"/>
                      </a:lnTo>
                      <a:lnTo>
                        <a:pt x="307588" y="103795"/>
                      </a:lnTo>
                      <a:cubicBezTo>
                        <a:pt x="286395" y="97845"/>
                        <a:pt x="271159" y="77508"/>
                        <a:pt x="271159" y="53464"/>
                      </a:cubicBezTo>
                      <a:cubicBezTo>
                        <a:pt x="271159" y="23937"/>
                        <a:pt x="294137" y="0"/>
                        <a:pt x="322481" y="0"/>
                      </a:cubicBezTo>
                      <a:lnTo>
                        <a:pt x="368878" y="0"/>
                      </a:lnTo>
                      <a:cubicBezTo>
                        <a:pt x="397222" y="0"/>
                        <a:pt x="420200" y="23937"/>
                        <a:pt x="420200" y="53464"/>
                      </a:cubicBezTo>
                      <a:cubicBezTo>
                        <a:pt x="420200" y="77509"/>
                        <a:pt x="404963" y="97845"/>
                        <a:pt x="383770" y="103795"/>
                      </a:cubicBezTo>
                      <a:lnTo>
                        <a:pt x="383770" y="132027"/>
                      </a:lnTo>
                      <a:close/>
                    </a:path>
                  </a:pathLst>
                </a:custGeom>
                <a:solidFill>
                  <a:srgbClr val="37989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327" name="Freihandform: Form 31">
                <a:extLst>
                  <a:ext uri="{FF2B5EF4-FFF2-40B4-BE49-F238E27FC236}">
                    <a16:creationId xmlns:a16="http://schemas.microsoft.com/office/drawing/2014/main" id="{60FFE97C-AF51-D506-0128-1B416A4EB017}"/>
                  </a:ext>
                </a:extLst>
              </p:cNvPr>
              <p:cNvSpPr/>
              <p:nvPr/>
            </p:nvSpPr>
            <p:spPr bwMode="gray">
              <a:xfrm>
                <a:off x="6190786" y="2538834"/>
                <a:ext cx="647653" cy="422287"/>
              </a:xfrm>
              <a:custGeom>
                <a:avLst/>
                <a:gdLst>
                  <a:gd name="connsiteX0" fmla="*/ 80643 w 592833"/>
                  <a:gd name="connsiteY0" fmla="*/ 380220 h 380220"/>
                  <a:gd name="connsiteX1" fmla="*/ 475433 w 592833"/>
                  <a:gd name="connsiteY1" fmla="*/ 380220 h 380220"/>
                  <a:gd name="connsiteX2" fmla="*/ 592721 w 592833"/>
                  <a:gd name="connsiteY2" fmla="*/ 267841 h 380220"/>
                  <a:gd name="connsiteX3" fmla="*/ 482756 w 592833"/>
                  <a:gd name="connsiteY3" fmla="*/ 138668 h 380220"/>
                  <a:gd name="connsiteX4" fmla="*/ 333007 w 592833"/>
                  <a:gd name="connsiteY4" fmla="*/ 24 h 380220"/>
                  <a:gd name="connsiteX5" fmla="*/ 184303 w 592833"/>
                  <a:gd name="connsiteY5" fmla="*/ 101914 h 380220"/>
                  <a:gd name="connsiteX6" fmla="*/ 70153 w 592833"/>
                  <a:gd name="connsiteY6" fmla="*/ 211155 h 380220"/>
                  <a:gd name="connsiteX7" fmla="*/ 0 w 592833"/>
                  <a:gd name="connsiteY7" fmla="*/ 288873 h 380220"/>
                  <a:gd name="connsiteX8" fmla="*/ 80643 w 592833"/>
                  <a:gd name="connsiteY8" fmla="*/ 380220 h 380220"/>
                  <a:gd name="connsiteX9" fmla="*/ 80643 w 592833"/>
                  <a:gd name="connsiteY9" fmla="*/ 380220 h 38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833" h="380220">
                    <a:moveTo>
                      <a:pt x="80643" y="380220"/>
                    </a:moveTo>
                    <a:cubicBezTo>
                      <a:pt x="475433" y="380220"/>
                      <a:pt x="475433" y="380220"/>
                      <a:pt x="475433" y="380220"/>
                    </a:cubicBezTo>
                    <a:cubicBezTo>
                      <a:pt x="592721" y="377081"/>
                      <a:pt x="592721" y="267841"/>
                      <a:pt x="592721" y="267841"/>
                    </a:cubicBezTo>
                    <a:cubicBezTo>
                      <a:pt x="596906" y="143899"/>
                      <a:pt x="482756" y="138668"/>
                      <a:pt x="482756" y="138668"/>
                    </a:cubicBezTo>
                    <a:cubicBezTo>
                      <a:pt x="456573" y="-5234"/>
                      <a:pt x="333007" y="24"/>
                      <a:pt x="333007" y="24"/>
                    </a:cubicBezTo>
                    <a:cubicBezTo>
                      <a:pt x="217810" y="24"/>
                      <a:pt x="184303" y="101914"/>
                      <a:pt x="184303" y="101914"/>
                    </a:cubicBezTo>
                    <a:cubicBezTo>
                      <a:pt x="64922" y="101914"/>
                      <a:pt x="70153" y="211155"/>
                      <a:pt x="70153" y="211155"/>
                    </a:cubicBezTo>
                    <a:cubicBezTo>
                      <a:pt x="0" y="222717"/>
                      <a:pt x="0" y="288873"/>
                      <a:pt x="0" y="288873"/>
                    </a:cubicBezTo>
                    <a:cubicBezTo>
                      <a:pt x="27" y="376008"/>
                      <a:pt x="80643" y="380220"/>
                      <a:pt x="80643" y="380220"/>
                    </a:cubicBezTo>
                    <a:lnTo>
                      <a:pt x="80643" y="380220"/>
                    </a:lnTo>
                    <a:close/>
                  </a:path>
                </a:pathLst>
              </a:custGeom>
              <a:solidFill>
                <a:schemeClr val="tx1"/>
              </a:solidFill>
              <a:ln w="19050" cap="flat">
                <a:solidFill>
                  <a:srgbClr val="00C1B6"/>
                </a:solidFill>
                <a:prstDash val="solid"/>
                <a:miter/>
              </a:ln>
            </p:spPr>
            <p:txBody>
              <a:bodyPr tIns="108000" rtlCol="0" anchor="ctr"/>
              <a:lstStyle/>
              <a:p>
                <a:pPr algn="ctr" rtl="0">
                  <a:buClrTx/>
                </a:pPr>
                <a:r>
                  <a:rPr lang="en-US" sz="1000" b="1" kern="1200">
                    <a:solidFill>
                      <a:srgbClr val="000000"/>
                    </a:solidFill>
                    <a:latin typeface="Arial"/>
                    <a:ea typeface="+mn-ea"/>
                    <a:cs typeface="+mn-cs"/>
                  </a:rPr>
                  <a:t> </a:t>
                </a:r>
              </a:p>
            </p:txBody>
          </p:sp>
          <p:sp>
            <p:nvSpPr>
              <p:cNvPr id="328" name="Textfeld 33">
                <a:extLst>
                  <a:ext uri="{FF2B5EF4-FFF2-40B4-BE49-F238E27FC236}">
                    <a16:creationId xmlns:a16="http://schemas.microsoft.com/office/drawing/2014/main" id="{F4A51084-00F9-C8C7-3FEB-7178456C0571}"/>
                  </a:ext>
                </a:extLst>
              </p:cNvPr>
              <p:cNvSpPr txBox="1">
                <a:spLocks/>
              </p:cNvSpPr>
              <p:nvPr/>
            </p:nvSpPr>
            <p:spPr bwMode="gray">
              <a:xfrm>
                <a:off x="5210748" y="3113019"/>
                <a:ext cx="248466" cy="215444"/>
              </a:xfrm>
              <a:prstGeom prst="rect">
                <a:avLst/>
              </a:prstGeom>
              <a:noFill/>
            </p:spPr>
            <p:txBody>
              <a:bodyPr wrap="square" lIns="0" tIns="0" rIns="0" bIns="0" rtlCol="0">
                <a:sp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400" b="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OT</a:t>
                </a:r>
              </a:p>
            </p:txBody>
          </p:sp>
          <p:cxnSp>
            <p:nvCxnSpPr>
              <p:cNvPr id="329" name="Gerader Verbinder 34">
                <a:extLst>
                  <a:ext uri="{FF2B5EF4-FFF2-40B4-BE49-F238E27FC236}">
                    <a16:creationId xmlns:a16="http://schemas.microsoft.com/office/drawing/2014/main" id="{2839573D-5C3B-0049-10C4-0C7746B7CD17}"/>
                  </a:ext>
                </a:extLst>
              </p:cNvPr>
              <p:cNvCxnSpPr>
                <a:cxnSpLocks/>
              </p:cNvCxnSpPr>
              <p:nvPr/>
            </p:nvCxnSpPr>
            <p:spPr bwMode="gray">
              <a:xfrm>
                <a:off x="5210748" y="3029693"/>
                <a:ext cx="3586273" cy="0"/>
              </a:xfrm>
              <a:prstGeom prst="line">
                <a:avLst/>
              </a:prstGeom>
              <a:ln w="12700">
                <a:solidFill>
                  <a:srgbClr val="66667E"/>
                </a:solidFill>
                <a:prstDash val="dash"/>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30" name="Textfeld 35">
                <a:extLst>
                  <a:ext uri="{FF2B5EF4-FFF2-40B4-BE49-F238E27FC236}">
                    <a16:creationId xmlns:a16="http://schemas.microsoft.com/office/drawing/2014/main" id="{53B5C058-695D-7392-AC67-43D3FCF4E64A}"/>
                  </a:ext>
                </a:extLst>
              </p:cNvPr>
              <p:cNvSpPr txBox="1">
                <a:spLocks/>
              </p:cNvSpPr>
              <p:nvPr/>
            </p:nvSpPr>
            <p:spPr bwMode="gray">
              <a:xfrm>
                <a:off x="5210748" y="2010771"/>
                <a:ext cx="158698" cy="215444"/>
              </a:xfrm>
              <a:prstGeom prst="rect">
                <a:avLst/>
              </a:prstGeom>
              <a:noFill/>
            </p:spPr>
            <p:txBody>
              <a:bodyPr wrap="square" lIns="0" tIns="0" rIns="0" bIns="0" rtlCol="0">
                <a:spAutoFit/>
              </a:bodyPr>
              <a:lstStyle/>
              <a:p>
                <a:pPr marL="0" marR="0" lvl="0" indent="0" algn="l" defTabSz="913029" rtl="0" eaLnBrk="1" fontAlgn="auto" latinLnBrk="0" hangingPunct="1">
                  <a:lnSpc>
                    <a:spcPct val="100000"/>
                  </a:lnSpc>
                  <a:spcBef>
                    <a:spcPts val="300"/>
                  </a:spcBef>
                  <a:spcAft>
                    <a:spcPts val="0"/>
                  </a:spcAft>
                  <a:buClr>
                    <a:srgbClr val="009999"/>
                  </a:buClr>
                  <a:buSzTx/>
                  <a:buFontTx/>
                  <a:buNone/>
                  <a:tabLst/>
                  <a:defRPr/>
                </a:pPr>
                <a:r>
                  <a:rPr kumimoji="0" lang="en-US" sz="1400" b="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rPr>
                  <a:t>IT</a:t>
                </a:r>
              </a:p>
            </p:txBody>
          </p:sp>
          <p:sp>
            <p:nvSpPr>
              <p:cNvPr id="331" name="Freihandform: Form 36">
                <a:extLst>
                  <a:ext uri="{FF2B5EF4-FFF2-40B4-BE49-F238E27FC236}">
                    <a16:creationId xmlns:a16="http://schemas.microsoft.com/office/drawing/2014/main" id="{DB147FA7-1A5B-E38A-4E4D-B681F700C810}"/>
                  </a:ext>
                </a:extLst>
              </p:cNvPr>
              <p:cNvSpPr/>
              <p:nvPr/>
            </p:nvSpPr>
            <p:spPr bwMode="gray">
              <a:xfrm>
                <a:off x="7043025" y="2538834"/>
                <a:ext cx="647653" cy="422287"/>
              </a:xfrm>
              <a:custGeom>
                <a:avLst/>
                <a:gdLst>
                  <a:gd name="connsiteX0" fmla="*/ 80643 w 592833"/>
                  <a:gd name="connsiteY0" fmla="*/ 380220 h 380220"/>
                  <a:gd name="connsiteX1" fmla="*/ 475433 w 592833"/>
                  <a:gd name="connsiteY1" fmla="*/ 380220 h 380220"/>
                  <a:gd name="connsiteX2" fmla="*/ 592721 w 592833"/>
                  <a:gd name="connsiteY2" fmla="*/ 267841 h 380220"/>
                  <a:gd name="connsiteX3" fmla="*/ 482756 w 592833"/>
                  <a:gd name="connsiteY3" fmla="*/ 138668 h 380220"/>
                  <a:gd name="connsiteX4" fmla="*/ 333007 w 592833"/>
                  <a:gd name="connsiteY4" fmla="*/ 24 h 380220"/>
                  <a:gd name="connsiteX5" fmla="*/ 184303 w 592833"/>
                  <a:gd name="connsiteY5" fmla="*/ 101914 h 380220"/>
                  <a:gd name="connsiteX6" fmla="*/ 70153 w 592833"/>
                  <a:gd name="connsiteY6" fmla="*/ 211155 h 380220"/>
                  <a:gd name="connsiteX7" fmla="*/ 0 w 592833"/>
                  <a:gd name="connsiteY7" fmla="*/ 288873 h 380220"/>
                  <a:gd name="connsiteX8" fmla="*/ 80643 w 592833"/>
                  <a:gd name="connsiteY8" fmla="*/ 380220 h 380220"/>
                  <a:gd name="connsiteX9" fmla="*/ 80643 w 592833"/>
                  <a:gd name="connsiteY9" fmla="*/ 380220 h 38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833" h="380220">
                    <a:moveTo>
                      <a:pt x="80643" y="380220"/>
                    </a:moveTo>
                    <a:cubicBezTo>
                      <a:pt x="475433" y="380220"/>
                      <a:pt x="475433" y="380220"/>
                      <a:pt x="475433" y="380220"/>
                    </a:cubicBezTo>
                    <a:cubicBezTo>
                      <a:pt x="592721" y="377081"/>
                      <a:pt x="592721" y="267841"/>
                      <a:pt x="592721" y="267841"/>
                    </a:cubicBezTo>
                    <a:cubicBezTo>
                      <a:pt x="596906" y="143899"/>
                      <a:pt x="482756" y="138668"/>
                      <a:pt x="482756" y="138668"/>
                    </a:cubicBezTo>
                    <a:cubicBezTo>
                      <a:pt x="456573" y="-5234"/>
                      <a:pt x="333007" y="24"/>
                      <a:pt x="333007" y="24"/>
                    </a:cubicBezTo>
                    <a:cubicBezTo>
                      <a:pt x="217810" y="24"/>
                      <a:pt x="184303" y="101914"/>
                      <a:pt x="184303" y="101914"/>
                    </a:cubicBezTo>
                    <a:cubicBezTo>
                      <a:pt x="64922" y="101914"/>
                      <a:pt x="70153" y="211155"/>
                      <a:pt x="70153" y="211155"/>
                    </a:cubicBezTo>
                    <a:cubicBezTo>
                      <a:pt x="0" y="222717"/>
                      <a:pt x="0" y="288873"/>
                      <a:pt x="0" y="288873"/>
                    </a:cubicBezTo>
                    <a:cubicBezTo>
                      <a:pt x="27" y="376008"/>
                      <a:pt x="80643" y="380220"/>
                      <a:pt x="80643" y="380220"/>
                    </a:cubicBezTo>
                    <a:lnTo>
                      <a:pt x="80643" y="380220"/>
                    </a:lnTo>
                    <a:close/>
                  </a:path>
                </a:pathLst>
              </a:custGeom>
              <a:solidFill>
                <a:schemeClr val="tx1"/>
              </a:solidFill>
              <a:ln w="19050" cap="flat">
                <a:solidFill>
                  <a:srgbClr val="00C1B6"/>
                </a:solidFill>
                <a:prstDash val="solid"/>
                <a:miter/>
              </a:ln>
            </p:spPr>
            <p:txBody>
              <a:bodyPr tIns="108000" rtlCol="0" anchor="ctr"/>
              <a:lstStyle/>
              <a:p>
                <a:pPr algn="ctr" rtl="0">
                  <a:buClrTx/>
                </a:pPr>
                <a:r>
                  <a:rPr lang="en-US" sz="1000" b="1" kern="1200">
                    <a:solidFill>
                      <a:srgbClr val="000000"/>
                    </a:solidFill>
                    <a:latin typeface="Arial"/>
                    <a:ea typeface="+mn-ea"/>
                    <a:cs typeface="+mn-cs"/>
                  </a:rPr>
                  <a:t> </a:t>
                </a:r>
              </a:p>
            </p:txBody>
          </p:sp>
          <p:sp>
            <p:nvSpPr>
              <p:cNvPr id="332" name="Freihandform: Form 37">
                <a:extLst>
                  <a:ext uri="{FF2B5EF4-FFF2-40B4-BE49-F238E27FC236}">
                    <a16:creationId xmlns:a16="http://schemas.microsoft.com/office/drawing/2014/main" id="{AD0F5179-F656-E992-6B12-86D2C7BBA9D1}"/>
                  </a:ext>
                </a:extLst>
              </p:cNvPr>
              <p:cNvSpPr/>
              <p:nvPr/>
            </p:nvSpPr>
            <p:spPr bwMode="gray">
              <a:xfrm>
                <a:off x="6646641" y="2038191"/>
                <a:ext cx="647653" cy="422287"/>
              </a:xfrm>
              <a:custGeom>
                <a:avLst/>
                <a:gdLst>
                  <a:gd name="connsiteX0" fmla="*/ 80643 w 592833"/>
                  <a:gd name="connsiteY0" fmla="*/ 380220 h 380220"/>
                  <a:gd name="connsiteX1" fmla="*/ 475433 w 592833"/>
                  <a:gd name="connsiteY1" fmla="*/ 380220 h 380220"/>
                  <a:gd name="connsiteX2" fmla="*/ 592721 w 592833"/>
                  <a:gd name="connsiteY2" fmla="*/ 267841 h 380220"/>
                  <a:gd name="connsiteX3" fmla="*/ 482756 w 592833"/>
                  <a:gd name="connsiteY3" fmla="*/ 138668 h 380220"/>
                  <a:gd name="connsiteX4" fmla="*/ 333007 w 592833"/>
                  <a:gd name="connsiteY4" fmla="*/ 24 h 380220"/>
                  <a:gd name="connsiteX5" fmla="*/ 184303 w 592833"/>
                  <a:gd name="connsiteY5" fmla="*/ 101914 h 380220"/>
                  <a:gd name="connsiteX6" fmla="*/ 70153 w 592833"/>
                  <a:gd name="connsiteY6" fmla="*/ 211155 h 380220"/>
                  <a:gd name="connsiteX7" fmla="*/ 0 w 592833"/>
                  <a:gd name="connsiteY7" fmla="*/ 288873 h 380220"/>
                  <a:gd name="connsiteX8" fmla="*/ 80643 w 592833"/>
                  <a:gd name="connsiteY8" fmla="*/ 380220 h 380220"/>
                  <a:gd name="connsiteX9" fmla="*/ 80643 w 592833"/>
                  <a:gd name="connsiteY9" fmla="*/ 380220 h 38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833" h="380220">
                    <a:moveTo>
                      <a:pt x="80643" y="380220"/>
                    </a:moveTo>
                    <a:cubicBezTo>
                      <a:pt x="475433" y="380220"/>
                      <a:pt x="475433" y="380220"/>
                      <a:pt x="475433" y="380220"/>
                    </a:cubicBezTo>
                    <a:cubicBezTo>
                      <a:pt x="592721" y="377081"/>
                      <a:pt x="592721" y="267841"/>
                      <a:pt x="592721" y="267841"/>
                    </a:cubicBezTo>
                    <a:cubicBezTo>
                      <a:pt x="596906" y="143899"/>
                      <a:pt x="482756" y="138668"/>
                      <a:pt x="482756" y="138668"/>
                    </a:cubicBezTo>
                    <a:cubicBezTo>
                      <a:pt x="456573" y="-5234"/>
                      <a:pt x="333007" y="24"/>
                      <a:pt x="333007" y="24"/>
                    </a:cubicBezTo>
                    <a:cubicBezTo>
                      <a:pt x="217810" y="24"/>
                      <a:pt x="184303" y="101914"/>
                      <a:pt x="184303" y="101914"/>
                    </a:cubicBezTo>
                    <a:cubicBezTo>
                      <a:pt x="64922" y="101914"/>
                      <a:pt x="70153" y="211155"/>
                      <a:pt x="70153" y="211155"/>
                    </a:cubicBezTo>
                    <a:cubicBezTo>
                      <a:pt x="0" y="222717"/>
                      <a:pt x="0" y="288873"/>
                      <a:pt x="0" y="288873"/>
                    </a:cubicBezTo>
                    <a:cubicBezTo>
                      <a:pt x="27" y="376008"/>
                      <a:pt x="80643" y="380220"/>
                      <a:pt x="80643" y="380220"/>
                    </a:cubicBezTo>
                    <a:lnTo>
                      <a:pt x="80643" y="380220"/>
                    </a:lnTo>
                    <a:close/>
                  </a:path>
                </a:pathLst>
              </a:custGeom>
              <a:solidFill>
                <a:schemeClr val="tx1"/>
              </a:solidFill>
              <a:ln w="19050" cap="flat">
                <a:solidFill>
                  <a:srgbClr val="00C1B6"/>
                </a:solidFill>
                <a:prstDash val="solid"/>
                <a:miter/>
              </a:ln>
            </p:spPr>
            <p:txBody>
              <a:bodyPr tIns="108000" rtlCol="0" anchor="ctr"/>
              <a:lstStyle/>
              <a:p>
                <a:pPr algn="ctr" rtl="0">
                  <a:buClrTx/>
                </a:pPr>
                <a:r>
                  <a:rPr lang="en-US" sz="1000" b="1" kern="1200">
                    <a:solidFill>
                      <a:srgbClr val="000000"/>
                    </a:solidFill>
                    <a:latin typeface="Arial"/>
                    <a:ea typeface="+mn-ea"/>
                    <a:cs typeface="+mn-cs"/>
                  </a:rPr>
                  <a:t> </a:t>
                </a:r>
              </a:p>
            </p:txBody>
          </p:sp>
          <p:sp>
            <p:nvSpPr>
              <p:cNvPr id="333" name="Ellipse 38">
                <a:extLst>
                  <a:ext uri="{FF2B5EF4-FFF2-40B4-BE49-F238E27FC236}">
                    <a16:creationId xmlns:a16="http://schemas.microsoft.com/office/drawing/2014/main" id="{3A95BA97-5461-CF7E-5FD6-F065B24F96DD}"/>
                  </a:ext>
                </a:extLst>
              </p:cNvPr>
              <p:cNvSpPr/>
              <p:nvPr/>
            </p:nvSpPr>
            <p:spPr bwMode="gray">
              <a:xfrm>
                <a:off x="5797553" y="1856079"/>
                <a:ext cx="181550" cy="184569"/>
              </a:xfrm>
              <a:prstGeom prst="ellipse">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34" name="Ellipse 39">
                <a:extLst>
                  <a:ext uri="{FF2B5EF4-FFF2-40B4-BE49-F238E27FC236}">
                    <a16:creationId xmlns:a16="http://schemas.microsoft.com/office/drawing/2014/main" id="{6D13F238-64FE-F508-036F-4EAC54723127}"/>
                  </a:ext>
                </a:extLst>
              </p:cNvPr>
              <p:cNvSpPr/>
              <p:nvPr/>
            </p:nvSpPr>
            <p:spPr bwMode="gray">
              <a:xfrm>
                <a:off x="6529892" y="1856079"/>
                <a:ext cx="181550" cy="184569"/>
              </a:xfrm>
              <a:prstGeom prst="ellipse">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35" name="Ellipse 40">
                <a:extLst>
                  <a:ext uri="{FF2B5EF4-FFF2-40B4-BE49-F238E27FC236}">
                    <a16:creationId xmlns:a16="http://schemas.microsoft.com/office/drawing/2014/main" id="{E8D412B2-56CD-D4BE-D249-85ECF9E353FB}"/>
                  </a:ext>
                </a:extLst>
              </p:cNvPr>
              <p:cNvSpPr/>
              <p:nvPr/>
            </p:nvSpPr>
            <p:spPr bwMode="gray">
              <a:xfrm>
                <a:off x="7262231" y="1856079"/>
                <a:ext cx="181550" cy="184569"/>
              </a:xfrm>
              <a:prstGeom prst="ellipse">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336" name="Gerader Verbinder 335">
                <a:extLst>
                  <a:ext uri="{FF2B5EF4-FFF2-40B4-BE49-F238E27FC236}">
                    <a16:creationId xmlns:a16="http://schemas.microsoft.com/office/drawing/2014/main" id="{6D955F7C-10BF-816A-B01D-41B77B5B066C}"/>
                  </a:ext>
                </a:extLst>
              </p:cNvPr>
              <p:cNvCxnSpPr>
                <a:cxnSpLocks/>
              </p:cNvCxnSpPr>
              <p:nvPr/>
            </p:nvCxnSpPr>
            <p:spPr bwMode="gray">
              <a:xfrm>
                <a:off x="5952516" y="2013619"/>
                <a:ext cx="602071" cy="525243"/>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37" name="Gerader Verbinder 336">
                <a:extLst>
                  <a:ext uri="{FF2B5EF4-FFF2-40B4-BE49-F238E27FC236}">
                    <a16:creationId xmlns:a16="http://schemas.microsoft.com/office/drawing/2014/main" id="{064F93EE-CE46-D5FC-AB57-9E1E6DE0E5B0}"/>
                  </a:ext>
                </a:extLst>
              </p:cNvPr>
              <p:cNvCxnSpPr>
                <a:cxnSpLocks/>
              </p:cNvCxnSpPr>
              <p:nvPr/>
            </p:nvCxnSpPr>
            <p:spPr bwMode="gray">
              <a:xfrm flipH="1">
                <a:off x="6554587" y="2040648"/>
                <a:ext cx="66080" cy="498213"/>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38" name="Gerader Verbinder 337">
                <a:extLst>
                  <a:ext uri="{FF2B5EF4-FFF2-40B4-BE49-F238E27FC236}">
                    <a16:creationId xmlns:a16="http://schemas.microsoft.com/office/drawing/2014/main" id="{BDC2CCB4-084B-8A53-DF41-295A94C6C1E6}"/>
                  </a:ext>
                </a:extLst>
              </p:cNvPr>
              <p:cNvCxnSpPr>
                <a:cxnSpLocks/>
              </p:cNvCxnSpPr>
              <p:nvPr/>
            </p:nvCxnSpPr>
            <p:spPr bwMode="gray">
              <a:xfrm>
                <a:off x="6711441" y="1948363"/>
                <a:ext cx="299000" cy="89854"/>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39" name="Gerader Verbinder 338">
                <a:extLst>
                  <a:ext uri="{FF2B5EF4-FFF2-40B4-BE49-F238E27FC236}">
                    <a16:creationId xmlns:a16="http://schemas.microsoft.com/office/drawing/2014/main" id="{93995EFF-BAB8-792B-81AF-D3F3D6E923F4}"/>
                  </a:ext>
                </a:extLst>
              </p:cNvPr>
              <p:cNvCxnSpPr>
                <a:cxnSpLocks/>
              </p:cNvCxnSpPr>
              <p:nvPr/>
            </p:nvCxnSpPr>
            <p:spPr bwMode="gray">
              <a:xfrm flipH="1">
                <a:off x="7010442" y="1948363"/>
                <a:ext cx="251789" cy="89854"/>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40" name="Gerader Verbinder 339">
                <a:extLst>
                  <a:ext uri="{FF2B5EF4-FFF2-40B4-BE49-F238E27FC236}">
                    <a16:creationId xmlns:a16="http://schemas.microsoft.com/office/drawing/2014/main" id="{CD1236E3-A6D1-B44D-B23B-79C0366E8EBF}"/>
                  </a:ext>
                </a:extLst>
              </p:cNvPr>
              <p:cNvCxnSpPr>
                <a:cxnSpLocks/>
              </p:cNvCxnSpPr>
              <p:nvPr/>
            </p:nvCxnSpPr>
            <p:spPr bwMode="gray">
              <a:xfrm>
                <a:off x="7353006" y="2040648"/>
                <a:ext cx="53820" cy="498213"/>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41" name="Gerader Verbinder 340">
                <a:extLst>
                  <a:ext uri="{FF2B5EF4-FFF2-40B4-BE49-F238E27FC236}">
                    <a16:creationId xmlns:a16="http://schemas.microsoft.com/office/drawing/2014/main" id="{7AEA553A-56A1-2E77-4E05-824F5C64412D}"/>
                  </a:ext>
                </a:extLst>
              </p:cNvPr>
              <p:cNvCxnSpPr>
                <a:cxnSpLocks/>
              </p:cNvCxnSpPr>
              <p:nvPr/>
            </p:nvCxnSpPr>
            <p:spPr bwMode="gray">
              <a:xfrm flipH="1">
                <a:off x="7406826" y="1984802"/>
                <a:ext cx="609613" cy="554058"/>
              </a:xfrm>
              <a:prstGeom prst="line">
                <a:avLst/>
              </a:prstGeom>
              <a:ln w="19050">
                <a:solidFill>
                  <a:schemeClr val="tx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42" name="Ellipse 41">
                <a:extLst>
                  <a:ext uri="{FF2B5EF4-FFF2-40B4-BE49-F238E27FC236}">
                    <a16:creationId xmlns:a16="http://schemas.microsoft.com/office/drawing/2014/main" id="{37294383-A734-8A2E-5E41-7858301474B1}"/>
                  </a:ext>
                </a:extLst>
              </p:cNvPr>
              <p:cNvSpPr/>
              <p:nvPr/>
            </p:nvSpPr>
            <p:spPr bwMode="gray">
              <a:xfrm>
                <a:off x="7994570" y="1856079"/>
                <a:ext cx="181550" cy="184569"/>
              </a:xfrm>
              <a:prstGeom prst="ellipse">
                <a:avLst/>
              </a:prstGeom>
              <a:solidFill>
                <a:srgbClr val="00557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344" name="Gruppieren 343">
                <a:extLst>
                  <a:ext uri="{FF2B5EF4-FFF2-40B4-BE49-F238E27FC236}">
                    <a16:creationId xmlns:a16="http://schemas.microsoft.com/office/drawing/2014/main" id="{2269EFE6-313C-CE8F-D692-230F4A7E1DF9}"/>
                  </a:ext>
                </a:extLst>
              </p:cNvPr>
              <p:cNvGrpSpPr/>
              <p:nvPr/>
            </p:nvGrpSpPr>
            <p:grpSpPr>
              <a:xfrm>
                <a:off x="6217491" y="3187761"/>
                <a:ext cx="349756" cy="341862"/>
                <a:chOff x="584011" y="1297600"/>
                <a:chExt cx="1261927" cy="1265102"/>
              </a:xfrm>
              <a:solidFill>
                <a:schemeClr val="tx1"/>
              </a:solidFill>
            </p:grpSpPr>
            <p:sp>
              <p:nvSpPr>
                <p:cNvPr id="345" name="Sechseck 344">
                  <a:extLst>
                    <a:ext uri="{FF2B5EF4-FFF2-40B4-BE49-F238E27FC236}">
                      <a16:creationId xmlns:a16="http://schemas.microsoft.com/office/drawing/2014/main" id="{1CF03F8A-0AA2-064B-8D09-F0ECCD4E5B95}"/>
                    </a:ext>
                  </a:extLst>
                </p:cNvPr>
                <p:cNvSpPr>
                  <a:spLocks noChangeAspect="1"/>
                </p:cNvSpPr>
                <p:nvPr/>
              </p:nvSpPr>
              <p:spPr bwMode="auto">
                <a:xfrm>
                  <a:off x="977903" y="1725880"/>
                  <a:ext cx="474268" cy="408541"/>
                </a:xfrm>
                <a:prstGeom prst="hexagon">
                  <a:avLst/>
                </a:prstGeom>
                <a:grpFill/>
                <a:ln>
                  <a:noFill/>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913943" fontAlgn="base">
                    <a:spcBef>
                      <a:spcPct val="50000"/>
                    </a:spcBef>
                    <a:spcAft>
                      <a:spcPct val="0"/>
                    </a:spcAft>
                    <a:defRPr/>
                  </a:pPr>
                  <a:endParaRPr lang="en-US" sz="1199">
                    <a:solidFill>
                      <a:schemeClr val="bg1">
                        <a:lumMod val="85000"/>
                        <a:lumOff val="15000"/>
                      </a:schemeClr>
                    </a:solidFill>
                    <a:latin typeface="Arial" pitchFamily="34" charset="0"/>
                    <a:ea typeface="ＭＳ Ｐゴシック" charset="-128"/>
                  </a:endParaRPr>
                </a:p>
              </p:txBody>
            </p:sp>
            <p:sp>
              <p:nvSpPr>
                <p:cNvPr id="346" name="Freeform 7">
                  <a:extLst>
                    <a:ext uri="{FF2B5EF4-FFF2-40B4-BE49-F238E27FC236}">
                      <a16:creationId xmlns:a16="http://schemas.microsoft.com/office/drawing/2014/main" id="{02F94936-8CBE-BFC5-88B3-317F15F5A10C}"/>
                    </a:ext>
                  </a:extLst>
                </p:cNvPr>
                <p:cNvSpPr>
                  <a:spLocks noEditPoints="1"/>
                </p:cNvSpPr>
                <p:nvPr/>
              </p:nvSpPr>
              <p:spPr bwMode="auto">
                <a:xfrm>
                  <a:off x="1091176" y="1836318"/>
                  <a:ext cx="220100" cy="163870"/>
                </a:xfrm>
                <a:custGeom>
                  <a:avLst/>
                  <a:gdLst>
                    <a:gd name="T0" fmla="*/ 612 w 975"/>
                    <a:gd name="T1" fmla="*/ 0 h 726"/>
                    <a:gd name="T2" fmla="*/ 430 w 975"/>
                    <a:gd name="T3" fmla="*/ 0 h 726"/>
                    <a:gd name="T4" fmla="*/ 430 w 975"/>
                    <a:gd name="T5" fmla="*/ 114 h 726"/>
                    <a:gd name="T6" fmla="*/ 136 w 975"/>
                    <a:gd name="T7" fmla="*/ 114 h 726"/>
                    <a:gd name="T8" fmla="*/ 136 w 975"/>
                    <a:gd name="T9" fmla="*/ 295 h 726"/>
                    <a:gd name="T10" fmla="*/ 0 w 975"/>
                    <a:gd name="T11" fmla="*/ 295 h 726"/>
                    <a:gd name="T12" fmla="*/ 0 w 975"/>
                    <a:gd name="T13" fmla="*/ 431 h 726"/>
                    <a:gd name="T14" fmla="*/ 136 w 975"/>
                    <a:gd name="T15" fmla="*/ 431 h 726"/>
                    <a:gd name="T16" fmla="*/ 136 w 975"/>
                    <a:gd name="T17" fmla="*/ 613 h 726"/>
                    <a:gd name="T18" fmla="*/ 385 w 975"/>
                    <a:gd name="T19" fmla="*/ 613 h 726"/>
                    <a:gd name="T20" fmla="*/ 385 w 975"/>
                    <a:gd name="T21" fmla="*/ 658 h 726"/>
                    <a:gd name="T22" fmla="*/ 294 w 975"/>
                    <a:gd name="T23" fmla="*/ 658 h 726"/>
                    <a:gd name="T24" fmla="*/ 294 w 975"/>
                    <a:gd name="T25" fmla="*/ 726 h 726"/>
                    <a:gd name="T26" fmla="*/ 748 w 975"/>
                    <a:gd name="T27" fmla="*/ 726 h 726"/>
                    <a:gd name="T28" fmla="*/ 748 w 975"/>
                    <a:gd name="T29" fmla="*/ 658 h 726"/>
                    <a:gd name="T30" fmla="*/ 657 w 975"/>
                    <a:gd name="T31" fmla="*/ 658 h 726"/>
                    <a:gd name="T32" fmla="*/ 657 w 975"/>
                    <a:gd name="T33" fmla="*/ 613 h 726"/>
                    <a:gd name="T34" fmla="*/ 771 w 975"/>
                    <a:gd name="T35" fmla="*/ 613 h 726"/>
                    <a:gd name="T36" fmla="*/ 771 w 975"/>
                    <a:gd name="T37" fmla="*/ 114 h 726"/>
                    <a:gd name="T38" fmla="*/ 612 w 975"/>
                    <a:gd name="T39" fmla="*/ 114 h 726"/>
                    <a:gd name="T40" fmla="*/ 612 w 975"/>
                    <a:gd name="T41" fmla="*/ 0 h 726"/>
                    <a:gd name="T42" fmla="*/ 658 w 975"/>
                    <a:gd name="T43" fmla="*/ 499 h 726"/>
                    <a:gd name="T44" fmla="*/ 204 w 975"/>
                    <a:gd name="T45" fmla="*/ 499 h 726"/>
                    <a:gd name="T46" fmla="*/ 204 w 975"/>
                    <a:gd name="T47" fmla="*/ 431 h 726"/>
                    <a:gd name="T48" fmla="*/ 658 w 975"/>
                    <a:gd name="T49" fmla="*/ 431 h 726"/>
                    <a:gd name="T50" fmla="*/ 658 w 975"/>
                    <a:gd name="T51" fmla="*/ 499 h 726"/>
                    <a:gd name="T52" fmla="*/ 658 w 975"/>
                    <a:gd name="T53" fmla="*/ 386 h 726"/>
                    <a:gd name="T54" fmla="*/ 204 w 975"/>
                    <a:gd name="T55" fmla="*/ 386 h 726"/>
                    <a:gd name="T56" fmla="*/ 204 w 975"/>
                    <a:gd name="T57" fmla="*/ 318 h 726"/>
                    <a:gd name="T58" fmla="*/ 658 w 975"/>
                    <a:gd name="T59" fmla="*/ 318 h 726"/>
                    <a:gd name="T60" fmla="*/ 658 w 975"/>
                    <a:gd name="T61" fmla="*/ 386 h 726"/>
                    <a:gd name="T62" fmla="*/ 658 w 975"/>
                    <a:gd name="T63" fmla="*/ 204 h 726"/>
                    <a:gd name="T64" fmla="*/ 658 w 975"/>
                    <a:gd name="T65" fmla="*/ 272 h 726"/>
                    <a:gd name="T66" fmla="*/ 204 w 975"/>
                    <a:gd name="T67" fmla="*/ 272 h 726"/>
                    <a:gd name="T68" fmla="*/ 204 w 975"/>
                    <a:gd name="T69" fmla="*/ 204 h 726"/>
                    <a:gd name="T70" fmla="*/ 658 w 975"/>
                    <a:gd name="T71" fmla="*/ 204 h 726"/>
                    <a:gd name="T72" fmla="*/ 975 w 975"/>
                    <a:gd name="T73" fmla="*/ 204 h 726"/>
                    <a:gd name="T74" fmla="*/ 975 w 975"/>
                    <a:gd name="T75" fmla="*/ 522 h 726"/>
                    <a:gd name="T76" fmla="*/ 884 w 975"/>
                    <a:gd name="T77" fmla="*/ 613 h 726"/>
                    <a:gd name="T78" fmla="*/ 816 w 975"/>
                    <a:gd name="T79" fmla="*/ 613 h 726"/>
                    <a:gd name="T80" fmla="*/ 816 w 975"/>
                    <a:gd name="T81" fmla="*/ 114 h 726"/>
                    <a:gd name="T82" fmla="*/ 884 w 975"/>
                    <a:gd name="T83" fmla="*/ 114 h 726"/>
                    <a:gd name="T84" fmla="*/ 975 w 975"/>
                    <a:gd name="T85" fmla="*/ 20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5" h="726">
                      <a:moveTo>
                        <a:pt x="612" y="0"/>
                      </a:moveTo>
                      <a:cubicBezTo>
                        <a:pt x="430" y="0"/>
                        <a:pt x="430" y="0"/>
                        <a:pt x="430" y="0"/>
                      </a:cubicBezTo>
                      <a:cubicBezTo>
                        <a:pt x="430" y="114"/>
                        <a:pt x="430" y="114"/>
                        <a:pt x="430" y="114"/>
                      </a:cubicBezTo>
                      <a:cubicBezTo>
                        <a:pt x="136" y="114"/>
                        <a:pt x="136" y="114"/>
                        <a:pt x="136" y="114"/>
                      </a:cubicBezTo>
                      <a:cubicBezTo>
                        <a:pt x="136" y="295"/>
                        <a:pt x="136" y="295"/>
                        <a:pt x="136" y="295"/>
                      </a:cubicBezTo>
                      <a:cubicBezTo>
                        <a:pt x="0" y="295"/>
                        <a:pt x="0" y="295"/>
                        <a:pt x="0" y="295"/>
                      </a:cubicBezTo>
                      <a:cubicBezTo>
                        <a:pt x="0" y="431"/>
                        <a:pt x="0" y="431"/>
                        <a:pt x="0" y="431"/>
                      </a:cubicBezTo>
                      <a:cubicBezTo>
                        <a:pt x="136" y="431"/>
                        <a:pt x="136" y="431"/>
                        <a:pt x="136" y="431"/>
                      </a:cubicBezTo>
                      <a:cubicBezTo>
                        <a:pt x="136" y="613"/>
                        <a:pt x="136" y="613"/>
                        <a:pt x="136" y="613"/>
                      </a:cubicBezTo>
                      <a:cubicBezTo>
                        <a:pt x="385" y="613"/>
                        <a:pt x="385" y="613"/>
                        <a:pt x="385" y="613"/>
                      </a:cubicBezTo>
                      <a:cubicBezTo>
                        <a:pt x="385" y="658"/>
                        <a:pt x="385" y="658"/>
                        <a:pt x="385" y="658"/>
                      </a:cubicBezTo>
                      <a:cubicBezTo>
                        <a:pt x="294" y="658"/>
                        <a:pt x="294" y="658"/>
                        <a:pt x="294" y="658"/>
                      </a:cubicBezTo>
                      <a:cubicBezTo>
                        <a:pt x="294" y="726"/>
                        <a:pt x="294" y="726"/>
                        <a:pt x="294" y="726"/>
                      </a:cubicBezTo>
                      <a:cubicBezTo>
                        <a:pt x="748" y="726"/>
                        <a:pt x="748" y="726"/>
                        <a:pt x="748" y="726"/>
                      </a:cubicBezTo>
                      <a:cubicBezTo>
                        <a:pt x="748" y="658"/>
                        <a:pt x="748" y="658"/>
                        <a:pt x="748" y="658"/>
                      </a:cubicBezTo>
                      <a:cubicBezTo>
                        <a:pt x="657" y="658"/>
                        <a:pt x="657" y="658"/>
                        <a:pt x="657" y="658"/>
                      </a:cubicBezTo>
                      <a:cubicBezTo>
                        <a:pt x="657" y="613"/>
                        <a:pt x="657" y="613"/>
                        <a:pt x="657" y="613"/>
                      </a:cubicBezTo>
                      <a:cubicBezTo>
                        <a:pt x="771" y="613"/>
                        <a:pt x="771" y="613"/>
                        <a:pt x="771" y="613"/>
                      </a:cubicBezTo>
                      <a:cubicBezTo>
                        <a:pt x="771" y="114"/>
                        <a:pt x="771" y="114"/>
                        <a:pt x="771" y="114"/>
                      </a:cubicBezTo>
                      <a:cubicBezTo>
                        <a:pt x="612" y="114"/>
                        <a:pt x="612" y="114"/>
                        <a:pt x="612" y="114"/>
                      </a:cubicBezTo>
                      <a:lnTo>
                        <a:pt x="612" y="0"/>
                      </a:lnTo>
                      <a:close/>
                      <a:moveTo>
                        <a:pt x="658" y="499"/>
                      </a:moveTo>
                      <a:cubicBezTo>
                        <a:pt x="204" y="499"/>
                        <a:pt x="204" y="499"/>
                        <a:pt x="204" y="499"/>
                      </a:cubicBezTo>
                      <a:cubicBezTo>
                        <a:pt x="204" y="431"/>
                        <a:pt x="204" y="431"/>
                        <a:pt x="204" y="431"/>
                      </a:cubicBezTo>
                      <a:cubicBezTo>
                        <a:pt x="658" y="431"/>
                        <a:pt x="658" y="431"/>
                        <a:pt x="658" y="431"/>
                      </a:cubicBezTo>
                      <a:lnTo>
                        <a:pt x="658" y="499"/>
                      </a:lnTo>
                      <a:close/>
                      <a:moveTo>
                        <a:pt x="658" y="386"/>
                      </a:moveTo>
                      <a:cubicBezTo>
                        <a:pt x="204" y="386"/>
                        <a:pt x="204" y="386"/>
                        <a:pt x="204" y="386"/>
                      </a:cubicBezTo>
                      <a:cubicBezTo>
                        <a:pt x="204" y="318"/>
                        <a:pt x="204" y="318"/>
                        <a:pt x="204" y="318"/>
                      </a:cubicBezTo>
                      <a:cubicBezTo>
                        <a:pt x="658" y="318"/>
                        <a:pt x="658" y="318"/>
                        <a:pt x="658" y="318"/>
                      </a:cubicBezTo>
                      <a:lnTo>
                        <a:pt x="658" y="386"/>
                      </a:lnTo>
                      <a:close/>
                      <a:moveTo>
                        <a:pt x="658" y="204"/>
                      </a:moveTo>
                      <a:cubicBezTo>
                        <a:pt x="658" y="272"/>
                        <a:pt x="658" y="272"/>
                        <a:pt x="658" y="272"/>
                      </a:cubicBezTo>
                      <a:cubicBezTo>
                        <a:pt x="204" y="272"/>
                        <a:pt x="204" y="272"/>
                        <a:pt x="204" y="272"/>
                      </a:cubicBezTo>
                      <a:cubicBezTo>
                        <a:pt x="204" y="204"/>
                        <a:pt x="204" y="204"/>
                        <a:pt x="204" y="204"/>
                      </a:cubicBezTo>
                      <a:lnTo>
                        <a:pt x="658" y="204"/>
                      </a:lnTo>
                      <a:close/>
                      <a:moveTo>
                        <a:pt x="975" y="204"/>
                      </a:moveTo>
                      <a:cubicBezTo>
                        <a:pt x="975" y="522"/>
                        <a:pt x="975" y="522"/>
                        <a:pt x="975" y="522"/>
                      </a:cubicBezTo>
                      <a:cubicBezTo>
                        <a:pt x="975" y="572"/>
                        <a:pt x="934" y="613"/>
                        <a:pt x="884" y="613"/>
                      </a:cubicBezTo>
                      <a:cubicBezTo>
                        <a:pt x="816" y="613"/>
                        <a:pt x="816" y="613"/>
                        <a:pt x="816" y="613"/>
                      </a:cubicBezTo>
                      <a:cubicBezTo>
                        <a:pt x="816" y="114"/>
                        <a:pt x="816" y="114"/>
                        <a:pt x="816" y="114"/>
                      </a:cubicBezTo>
                      <a:cubicBezTo>
                        <a:pt x="884" y="114"/>
                        <a:pt x="884" y="114"/>
                        <a:pt x="884" y="114"/>
                      </a:cubicBezTo>
                      <a:cubicBezTo>
                        <a:pt x="934" y="114"/>
                        <a:pt x="975" y="154"/>
                        <a:pt x="975" y="204"/>
                      </a:cubicBezTo>
                      <a:close/>
                    </a:path>
                  </a:pathLst>
                </a:custGeom>
                <a:grp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199">
                    <a:solidFill>
                      <a:schemeClr val="bg1">
                        <a:lumMod val="85000"/>
                        <a:lumOff val="15000"/>
                      </a:schemeClr>
                    </a:solidFill>
                    <a:latin typeface="Arial" pitchFamily="34" charset="0"/>
                    <a:ea typeface="ＭＳ Ｐゴシック" charset="-128"/>
                  </a:endParaRPr>
                </a:p>
              </p:txBody>
            </p:sp>
            <p:sp>
              <p:nvSpPr>
                <p:cNvPr id="347" name="Sechseck 346">
                  <a:extLst>
                    <a:ext uri="{FF2B5EF4-FFF2-40B4-BE49-F238E27FC236}">
                      <a16:creationId xmlns:a16="http://schemas.microsoft.com/office/drawing/2014/main" id="{23777BF0-3077-BA1C-005A-BFC83BAB646B}"/>
                    </a:ext>
                  </a:extLst>
                </p:cNvPr>
                <p:cNvSpPr>
                  <a:spLocks noChangeAspect="1"/>
                </p:cNvSpPr>
                <p:nvPr/>
              </p:nvSpPr>
              <p:spPr bwMode="auto">
                <a:xfrm>
                  <a:off x="977903" y="1297600"/>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sp>
              <p:nvSpPr>
                <p:cNvPr id="348" name="Sechseck 347">
                  <a:extLst>
                    <a:ext uri="{FF2B5EF4-FFF2-40B4-BE49-F238E27FC236}">
                      <a16:creationId xmlns:a16="http://schemas.microsoft.com/office/drawing/2014/main" id="{20DF74AD-4913-228C-C4E2-9116E5B30944}"/>
                    </a:ext>
                  </a:extLst>
                </p:cNvPr>
                <p:cNvSpPr>
                  <a:spLocks noChangeAspect="1"/>
                </p:cNvSpPr>
                <p:nvPr/>
              </p:nvSpPr>
              <p:spPr bwMode="auto">
                <a:xfrm>
                  <a:off x="977903" y="2154161"/>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sp>
              <p:nvSpPr>
                <p:cNvPr id="349" name="Sechseck 348">
                  <a:extLst>
                    <a:ext uri="{FF2B5EF4-FFF2-40B4-BE49-F238E27FC236}">
                      <a16:creationId xmlns:a16="http://schemas.microsoft.com/office/drawing/2014/main" id="{57B9C13F-7D0B-F99C-A390-5B4DC50560B6}"/>
                    </a:ext>
                  </a:extLst>
                </p:cNvPr>
                <p:cNvSpPr>
                  <a:spLocks noChangeAspect="1"/>
                </p:cNvSpPr>
                <p:nvPr/>
              </p:nvSpPr>
              <p:spPr bwMode="auto">
                <a:xfrm>
                  <a:off x="1371670" y="1512215"/>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sp>
              <p:nvSpPr>
                <p:cNvPr id="350" name="Sechseck 349">
                  <a:extLst>
                    <a:ext uri="{FF2B5EF4-FFF2-40B4-BE49-F238E27FC236}">
                      <a16:creationId xmlns:a16="http://schemas.microsoft.com/office/drawing/2014/main" id="{465F3306-B622-9582-1A92-0B755ECB7EBB}"/>
                    </a:ext>
                  </a:extLst>
                </p:cNvPr>
                <p:cNvSpPr>
                  <a:spLocks noChangeAspect="1"/>
                </p:cNvSpPr>
                <p:nvPr/>
              </p:nvSpPr>
              <p:spPr bwMode="auto">
                <a:xfrm>
                  <a:off x="1370503" y="1942673"/>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sp>
              <p:nvSpPr>
                <p:cNvPr id="351" name="Sechseck 350">
                  <a:extLst>
                    <a:ext uri="{FF2B5EF4-FFF2-40B4-BE49-F238E27FC236}">
                      <a16:creationId xmlns:a16="http://schemas.microsoft.com/office/drawing/2014/main" id="{31B6E23F-2909-F72F-072A-E69019000337}"/>
                    </a:ext>
                  </a:extLst>
                </p:cNvPr>
                <p:cNvSpPr>
                  <a:spLocks noChangeAspect="1"/>
                </p:cNvSpPr>
                <p:nvPr/>
              </p:nvSpPr>
              <p:spPr bwMode="auto">
                <a:xfrm>
                  <a:off x="584011" y="1512215"/>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sp>
              <p:nvSpPr>
                <p:cNvPr id="192" name="Sechseck 191">
                  <a:extLst>
                    <a:ext uri="{FF2B5EF4-FFF2-40B4-BE49-F238E27FC236}">
                      <a16:creationId xmlns:a16="http://schemas.microsoft.com/office/drawing/2014/main" id="{72683632-6F46-8B16-54E6-2F757EA43F4C}"/>
                    </a:ext>
                  </a:extLst>
                </p:cNvPr>
                <p:cNvSpPr>
                  <a:spLocks noChangeAspect="1"/>
                </p:cNvSpPr>
                <p:nvPr/>
              </p:nvSpPr>
              <p:spPr bwMode="auto">
                <a:xfrm>
                  <a:off x="584011" y="1942673"/>
                  <a:ext cx="474268" cy="408541"/>
                </a:xfrm>
                <a:prstGeom prst="hexagon">
                  <a:avLst/>
                </a:prstGeom>
                <a:grpFill/>
                <a:ln>
                  <a:noFill/>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fontAlgn="base">
                    <a:spcAft>
                      <a:spcPct val="0"/>
                    </a:spcAft>
                    <a:defRPr/>
                  </a:pPr>
                  <a:endParaRPr lang="en-US" sz="1599">
                    <a:solidFill>
                      <a:schemeClr val="bg1">
                        <a:lumMod val="85000"/>
                        <a:lumOff val="15000"/>
                      </a:schemeClr>
                    </a:solidFill>
                    <a:latin typeface="Arial" pitchFamily="34" charset="0"/>
                    <a:ea typeface="ＭＳ Ｐゴシック" charset="-128"/>
                  </a:endParaRPr>
                </a:p>
              </p:txBody>
            </p:sp>
            <p:grpSp>
              <p:nvGrpSpPr>
                <p:cNvPr id="193" name="Gruppieren 192">
                  <a:extLst>
                    <a:ext uri="{FF2B5EF4-FFF2-40B4-BE49-F238E27FC236}">
                      <a16:creationId xmlns:a16="http://schemas.microsoft.com/office/drawing/2014/main" id="{ABFFCAC0-68E6-4D9B-B658-CFB329C8F62D}"/>
                    </a:ext>
                  </a:extLst>
                </p:cNvPr>
                <p:cNvGrpSpPr/>
                <p:nvPr/>
              </p:nvGrpSpPr>
              <p:grpSpPr>
                <a:xfrm>
                  <a:off x="1096632" y="1406839"/>
                  <a:ext cx="236810" cy="190062"/>
                  <a:chOff x="1096691" y="1409565"/>
                  <a:chExt cx="236810" cy="190062"/>
                </a:xfrm>
                <a:grpFill/>
              </p:grpSpPr>
              <p:sp>
                <p:nvSpPr>
                  <p:cNvPr id="199" name="Freeform 28">
                    <a:extLst>
                      <a:ext uri="{FF2B5EF4-FFF2-40B4-BE49-F238E27FC236}">
                        <a16:creationId xmlns:a16="http://schemas.microsoft.com/office/drawing/2014/main" id="{1B9D9FFA-096C-D270-4389-3400A3E098E8}"/>
                      </a:ext>
                    </a:extLst>
                  </p:cNvPr>
                  <p:cNvSpPr>
                    <a:spLocks/>
                  </p:cNvSpPr>
                  <p:nvPr/>
                </p:nvSpPr>
                <p:spPr bwMode="auto">
                  <a:xfrm>
                    <a:off x="1145318" y="1442095"/>
                    <a:ext cx="139557" cy="91347"/>
                  </a:xfrm>
                  <a:custGeom>
                    <a:avLst/>
                    <a:gdLst>
                      <a:gd name="T0" fmla="*/ 496 w 545"/>
                      <a:gd name="T1" fmla="*/ 166 h 357"/>
                      <a:gd name="T2" fmla="*/ 278 w 545"/>
                      <a:gd name="T3" fmla="*/ 166 h 357"/>
                      <a:gd name="T4" fmla="*/ 278 w 545"/>
                      <a:gd name="T5" fmla="*/ 128 h 357"/>
                      <a:gd name="T6" fmla="*/ 330 w 545"/>
                      <a:gd name="T7" fmla="*/ 128 h 357"/>
                      <a:gd name="T8" fmla="*/ 330 w 545"/>
                      <a:gd name="T9" fmla="*/ 0 h 357"/>
                      <a:gd name="T10" fmla="*/ 203 w 545"/>
                      <a:gd name="T11" fmla="*/ 0 h 357"/>
                      <a:gd name="T12" fmla="*/ 203 w 545"/>
                      <a:gd name="T13" fmla="*/ 128 h 357"/>
                      <a:gd name="T14" fmla="*/ 252 w 545"/>
                      <a:gd name="T15" fmla="*/ 128 h 357"/>
                      <a:gd name="T16" fmla="*/ 252 w 545"/>
                      <a:gd name="T17" fmla="*/ 166 h 357"/>
                      <a:gd name="T18" fmla="*/ 49 w 545"/>
                      <a:gd name="T19" fmla="*/ 166 h 357"/>
                      <a:gd name="T20" fmla="*/ 49 w 545"/>
                      <a:gd name="T21" fmla="*/ 230 h 357"/>
                      <a:gd name="T22" fmla="*/ 0 w 545"/>
                      <a:gd name="T23" fmla="*/ 230 h 357"/>
                      <a:gd name="T24" fmla="*/ 0 w 545"/>
                      <a:gd name="T25" fmla="*/ 357 h 357"/>
                      <a:gd name="T26" fmla="*/ 127 w 545"/>
                      <a:gd name="T27" fmla="*/ 357 h 357"/>
                      <a:gd name="T28" fmla="*/ 127 w 545"/>
                      <a:gd name="T29" fmla="*/ 230 h 357"/>
                      <a:gd name="T30" fmla="*/ 75 w 545"/>
                      <a:gd name="T31" fmla="*/ 230 h 357"/>
                      <a:gd name="T32" fmla="*/ 75 w 545"/>
                      <a:gd name="T33" fmla="*/ 192 h 357"/>
                      <a:gd name="T34" fmla="*/ 252 w 545"/>
                      <a:gd name="T35" fmla="*/ 192 h 357"/>
                      <a:gd name="T36" fmla="*/ 252 w 545"/>
                      <a:gd name="T37" fmla="*/ 230 h 357"/>
                      <a:gd name="T38" fmla="*/ 203 w 545"/>
                      <a:gd name="T39" fmla="*/ 230 h 357"/>
                      <a:gd name="T40" fmla="*/ 203 w 545"/>
                      <a:gd name="T41" fmla="*/ 357 h 357"/>
                      <a:gd name="T42" fmla="*/ 330 w 545"/>
                      <a:gd name="T43" fmla="*/ 357 h 357"/>
                      <a:gd name="T44" fmla="*/ 330 w 545"/>
                      <a:gd name="T45" fmla="*/ 230 h 357"/>
                      <a:gd name="T46" fmla="*/ 278 w 545"/>
                      <a:gd name="T47" fmla="*/ 230 h 357"/>
                      <a:gd name="T48" fmla="*/ 278 w 545"/>
                      <a:gd name="T49" fmla="*/ 192 h 357"/>
                      <a:gd name="T50" fmla="*/ 470 w 545"/>
                      <a:gd name="T51" fmla="*/ 192 h 357"/>
                      <a:gd name="T52" fmla="*/ 470 w 545"/>
                      <a:gd name="T53" fmla="*/ 230 h 357"/>
                      <a:gd name="T54" fmla="*/ 418 w 545"/>
                      <a:gd name="T55" fmla="*/ 230 h 357"/>
                      <a:gd name="T56" fmla="*/ 418 w 545"/>
                      <a:gd name="T57" fmla="*/ 357 h 357"/>
                      <a:gd name="T58" fmla="*/ 545 w 545"/>
                      <a:gd name="T59" fmla="*/ 357 h 357"/>
                      <a:gd name="T60" fmla="*/ 545 w 545"/>
                      <a:gd name="T61" fmla="*/ 230 h 357"/>
                      <a:gd name="T62" fmla="*/ 496 w 545"/>
                      <a:gd name="T63" fmla="*/ 230 h 357"/>
                      <a:gd name="T64" fmla="*/ 496 w 545"/>
                      <a:gd name="T65" fmla="*/ 166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5" h="357">
                        <a:moveTo>
                          <a:pt x="496" y="166"/>
                        </a:moveTo>
                        <a:lnTo>
                          <a:pt x="278" y="166"/>
                        </a:lnTo>
                        <a:lnTo>
                          <a:pt x="278" y="128"/>
                        </a:lnTo>
                        <a:lnTo>
                          <a:pt x="330" y="128"/>
                        </a:lnTo>
                        <a:lnTo>
                          <a:pt x="330" y="0"/>
                        </a:lnTo>
                        <a:lnTo>
                          <a:pt x="203" y="0"/>
                        </a:lnTo>
                        <a:lnTo>
                          <a:pt x="203" y="128"/>
                        </a:lnTo>
                        <a:lnTo>
                          <a:pt x="252" y="128"/>
                        </a:lnTo>
                        <a:lnTo>
                          <a:pt x="252" y="166"/>
                        </a:lnTo>
                        <a:lnTo>
                          <a:pt x="49" y="166"/>
                        </a:lnTo>
                        <a:lnTo>
                          <a:pt x="49" y="230"/>
                        </a:lnTo>
                        <a:lnTo>
                          <a:pt x="0" y="230"/>
                        </a:lnTo>
                        <a:lnTo>
                          <a:pt x="0" y="357"/>
                        </a:lnTo>
                        <a:lnTo>
                          <a:pt x="127" y="357"/>
                        </a:lnTo>
                        <a:lnTo>
                          <a:pt x="127" y="230"/>
                        </a:lnTo>
                        <a:lnTo>
                          <a:pt x="75" y="230"/>
                        </a:lnTo>
                        <a:lnTo>
                          <a:pt x="75" y="192"/>
                        </a:lnTo>
                        <a:lnTo>
                          <a:pt x="252" y="192"/>
                        </a:lnTo>
                        <a:lnTo>
                          <a:pt x="252" y="230"/>
                        </a:lnTo>
                        <a:lnTo>
                          <a:pt x="203" y="230"/>
                        </a:lnTo>
                        <a:lnTo>
                          <a:pt x="203" y="357"/>
                        </a:lnTo>
                        <a:lnTo>
                          <a:pt x="330" y="357"/>
                        </a:lnTo>
                        <a:lnTo>
                          <a:pt x="330" y="230"/>
                        </a:lnTo>
                        <a:lnTo>
                          <a:pt x="278" y="230"/>
                        </a:lnTo>
                        <a:lnTo>
                          <a:pt x="278" y="192"/>
                        </a:lnTo>
                        <a:lnTo>
                          <a:pt x="470" y="192"/>
                        </a:lnTo>
                        <a:lnTo>
                          <a:pt x="470" y="230"/>
                        </a:lnTo>
                        <a:lnTo>
                          <a:pt x="418" y="230"/>
                        </a:lnTo>
                        <a:lnTo>
                          <a:pt x="418" y="357"/>
                        </a:lnTo>
                        <a:lnTo>
                          <a:pt x="545" y="357"/>
                        </a:lnTo>
                        <a:lnTo>
                          <a:pt x="545" y="230"/>
                        </a:lnTo>
                        <a:lnTo>
                          <a:pt x="496" y="230"/>
                        </a:lnTo>
                        <a:lnTo>
                          <a:pt x="496"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200" name="Freeform 29">
                    <a:extLst>
                      <a:ext uri="{FF2B5EF4-FFF2-40B4-BE49-F238E27FC236}">
                        <a16:creationId xmlns:a16="http://schemas.microsoft.com/office/drawing/2014/main" id="{15AABB6D-76DA-ED62-7D37-C62CEEABC21C}"/>
                      </a:ext>
                    </a:extLst>
                  </p:cNvPr>
                  <p:cNvSpPr>
                    <a:spLocks noEditPoints="1"/>
                  </p:cNvSpPr>
                  <p:nvPr/>
                </p:nvSpPr>
                <p:spPr bwMode="auto">
                  <a:xfrm>
                    <a:off x="1096691" y="1409565"/>
                    <a:ext cx="236810" cy="190062"/>
                  </a:xfrm>
                  <a:custGeom>
                    <a:avLst/>
                    <a:gdLst>
                      <a:gd name="T0" fmla="*/ 31 w 1123"/>
                      <a:gd name="T1" fmla="*/ 2 h 902"/>
                      <a:gd name="T2" fmla="*/ 22 w 1123"/>
                      <a:gd name="T3" fmla="*/ 7 h 902"/>
                      <a:gd name="T4" fmla="*/ 15 w 1123"/>
                      <a:gd name="T5" fmla="*/ 14 h 902"/>
                      <a:gd name="T6" fmla="*/ 10 w 1123"/>
                      <a:gd name="T7" fmla="*/ 24 h 902"/>
                      <a:gd name="T8" fmla="*/ 5 w 1123"/>
                      <a:gd name="T9" fmla="*/ 31 h 902"/>
                      <a:gd name="T10" fmla="*/ 0 w 1123"/>
                      <a:gd name="T11" fmla="*/ 43 h 902"/>
                      <a:gd name="T12" fmla="*/ 0 w 1123"/>
                      <a:gd name="T13" fmla="*/ 52 h 902"/>
                      <a:gd name="T14" fmla="*/ 0 w 1123"/>
                      <a:gd name="T15" fmla="*/ 685 h 902"/>
                      <a:gd name="T16" fmla="*/ 0 w 1123"/>
                      <a:gd name="T17" fmla="*/ 694 h 902"/>
                      <a:gd name="T18" fmla="*/ 5 w 1123"/>
                      <a:gd name="T19" fmla="*/ 706 h 902"/>
                      <a:gd name="T20" fmla="*/ 10 w 1123"/>
                      <a:gd name="T21" fmla="*/ 716 h 902"/>
                      <a:gd name="T22" fmla="*/ 15 w 1123"/>
                      <a:gd name="T23" fmla="*/ 725 h 902"/>
                      <a:gd name="T24" fmla="*/ 22 w 1123"/>
                      <a:gd name="T25" fmla="*/ 730 h 902"/>
                      <a:gd name="T26" fmla="*/ 31 w 1123"/>
                      <a:gd name="T27" fmla="*/ 737 h 902"/>
                      <a:gd name="T28" fmla="*/ 43 w 1123"/>
                      <a:gd name="T29" fmla="*/ 739 h 902"/>
                      <a:gd name="T30" fmla="*/ 55 w 1123"/>
                      <a:gd name="T31" fmla="*/ 739 h 902"/>
                      <a:gd name="T32" fmla="*/ 466 w 1123"/>
                      <a:gd name="T33" fmla="*/ 739 h 902"/>
                      <a:gd name="T34" fmla="*/ 466 w 1123"/>
                      <a:gd name="T35" fmla="*/ 848 h 902"/>
                      <a:gd name="T36" fmla="*/ 329 w 1123"/>
                      <a:gd name="T37" fmla="*/ 848 h 902"/>
                      <a:gd name="T38" fmla="*/ 329 w 1123"/>
                      <a:gd name="T39" fmla="*/ 902 h 902"/>
                      <a:gd name="T40" fmla="*/ 794 w 1123"/>
                      <a:gd name="T41" fmla="*/ 902 h 902"/>
                      <a:gd name="T42" fmla="*/ 794 w 1123"/>
                      <a:gd name="T43" fmla="*/ 848 h 902"/>
                      <a:gd name="T44" fmla="*/ 657 w 1123"/>
                      <a:gd name="T45" fmla="*/ 848 h 902"/>
                      <a:gd name="T46" fmla="*/ 657 w 1123"/>
                      <a:gd name="T47" fmla="*/ 739 h 902"/>
                      <a:gd name="T48" fmla="*/ 1071 w 1123"/>
                      <a:gd name="T49" fmla="*/ 739 h 902"/>
                      <a:gd name="T50" fmla="*/ 1080 w 1123"/>
                      <a:gd name="T51" fmla="*/ 739 h 902"/>
                      <a:gd name="T52" fmla="*/ 1092 w 1123"/>
                      <a:gd name="T53" fmla="*/ 737 h 902"/>
                      <a:gd name="T54" fmla="*/ 1099 w 1123"/>
                      <a:gd name="T55" fmla="*/ 730 h 902"/>
                      <a:gd name="T56" fmla="*/ 1108 w 1123"/>
                      <a:gd name="T57" fmla="*/ 725 h 902"/>
                      <a:gd name="T58" fmla="*/ 1116 w 1123"/>
                      <a:gd name="T59" fmla="*/ 716 h 902"/>
                      <a:gd name="T60" fmla="*/ 1120 w 1123"/>
                      <a:gd name="T61" fmla="*/ 706 h 902"/>
                      <a:gd name="T62" fmla="*/ 1123 w 1123"/>
                      <a:gd name="T63" fmla="*/ 694 h 902"/>
                      <a:gd name="T64" fmla="*/ 1123 w 1123"/>
                      <a:gd name="T65" fmla="*/ 685 h 902"/>
                      <a:gd name="T66" fmla="*/ 1123 w 1123"/>
                      <a:gd name="T67" fmla="*/ 52 h 902"/>
                      <a:gd name="T68" fmla="*/ 1123 w 1123"/>
                      <a:gd name="T69" fmla="*/ 43 h 902"/>
                      <a:gd name="T70" fmla="*/ 1120 w 1123"/>
                      <a:gd name="T71" fmla="*/ 31 h 902"/>
                      <a:gd name="T72" fmla="*/ 1116 w 1123"/>
                      <a:gd name="T73" fmla="*/ 24 h 902"/>
                      <a:gd name="T74" fmla="*/ 1108 w 1123"/>
                      <a:gd name="T75" fmla="*/ 14 h 902"/>
                      <a:gd name="T76" fmla="*/ 1099 w 1123"/>
                      <a:gd name="T77" fmla="*/ 7 h 902"/>
                      <a:gd name="T78" fmla="*/ 1092 w 1123"/>
                      <a:gd name="T79" fmla="*/ 2 h 902"/>
                      <a:gd name="T80" fmla="*/ 1080 w 1123"/>
                      <a:gd name="T81" fmla="*/ 0 h 902"/>
                      <a:gd name="T82" fmla="*/ 43 w 1123"/>
                      <a:gd name="T83" fmla="*/ 0 h 902"/>
                      <a:gd name="T84" fmla="*/ 31 w 1123"/>
                      <a:gd name="T85" fmla="*/ 2 h 902"/>
                      <a:gd name="T86" fmla="*/ 55 w 1123"/>
                      <a:gd name="T87" fmla="*/ 52 h 902"/>
                      <a:gd name="T88" fmla="*/ 1071 w 1123"/>
                      <a:gd name="T89" fmla="*/ 52 h 902"/>
                      <a:gd name="T90" fmla="*/ 1071 w 1123"/>
                      <a:gd name="T91" fmla="*/ 685 h 902"/>
                      <a:gd name="T92" fmla="*/ 55 w 1123"/>
                      <a:gd name="T93" fmla="*/ 685 h 902"/>
                      <a:gd name="T94" fmla="*/ 55 w 1123"/>
                      <a:gd name="T95" fmla="*/ 52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3" h="902">
                        <a:moveTo>
                          <a:pt x="31" y="2"/>
                        </a:moveTo>
                        <a:lnTo>
                          <a:pt x="22" y="7"/>
                        </a:lnTo>
                        <a:lnTo>
                          <a:pt x="15" y="14"/>
                        </a:lnTo>
                        <a:lnTo>
                          <a:pt x="10" y="24"/>
                        </a:lnTo>
                        <a:lnTo>
                          <a:pt x="5" y="31"/>
                        </a:lnTo>
                        <a:lnTo>
                          <a:pt x="0" y="43"/>
                        </a:lnTo>
                        <a:lnTo>
                          <a:pt x="0" y="52"/>
                        </a:lnTo>
                        <a:lnTo>
                          <a:pt x="0" y="685"/>
                        </a:lnTo>
                        <a:lnTo>
                          <a:pt x="0" y="694"/>
                        </a:lnTo>
                        <a:lnTo>
                          <a:pt x="5" y="706"/>
                        </a:lnTo>
                        <a:lnTo>
                          <a:pt x="10" y="716"/>
                        </a:lnTo>
                        <a:lnTo>
                          <a:pt x="15" y="725"/>
                        </a:lnTo>
                        <a:lnTo>
                          <a:pt x="22" y="730"/>
                        </a:lnTo>
                        <a:lnTo>
                          <a:pt x="31" y="737"/>
                        </a:lnTo>
                        <a:lnTo>
                          <a:pt x="43" y="739"/>
                        </a:lnTo>
                        <a:lnTo>
                          <a:pt x="55" y="739"/>
                        </a:lnTo>
                        <a:lnTo>
                          <a:pt x="466" y="739"/>
                        </a:lnTo>
                        <a:lnTo>
                          <a:pt x="466" y="848"/>
                        </a:lnTo>
                        <a:lnTo>
                          <a:pt x="329" y="848"/>
                        </a:lnTo>
                        <a:lnTo>
                          <a:pt x="329" y="902"/>
                        </a:lnTo>
                        <a:lnTo>
                          <a:pt x="794" y="902"/>
                        </a:lnTo>
                        <a:lnTo>
                          <a:pt x="794" y="848"/>
                        </a:lnTo>
                        <a:lnTo>
                          <a:pt x="657" y="848"/>
                        </a:lnTo>
                        <a:lnTo>
                          <a:pt x="657" y="739"/>
                        </a:lnTo>
                        <a:lnTo>
                          <a:pt x="1071" y="739"/>
                        </a:lnTo>
                        <a:lnTo>
                          <a:pt x="1080" y="739"/>
                        </a:lnTo>
                        <a:lnTo>
                          <a:pt x="1092" y="737"/>
                        </a:lnTo>
                        <a:lnTo>
                          <a:pt x="1099" y="730"/>
                        </a:lnTo>
                        <a:lnTo>
                          <a:pt x="1108" y="725"/>
                        </a:lnTo>
                        <a:lnTo>
                          <a:pt x="1116" y="716"/>
                        </a:lnTo>
                        <a:lnTo>
                          <a:pt x="1120" y="706"/>
                        </a:lnTo>
                        <a:lnTo>
                          <a:pt x="1123" y="694"/>
                        </a:lnTo>
                        <a:lnTo>
                          <a:pt x="1123" y="685"/>
                        </a:lnTo>
                        <a:lnTo>
                          <a:pt x="1123" y="52"/>
                        </a:lnTo>
                        <a:lnTo>
                          <a:pt x="1123" y="43"/>
                        </a:lnTo>
                        <a:lnTo>
                          <a:pt x="1120" y="31"/>
                        </a:lnTo>
                        <a:lnTo>
                          <a:pt x="1116" y="24"/>
                        </a:lnTo>
                        <a:lnTo>
                          <a:pt x="1108" y="14"/>
                        </a:lnTo>
                        <a:lnTo>
                          <a:pt x="1099" y="7"/>
                        </a:lnTo>
                        <a:lnTo>
                          <a:pt x="1092" y="2"/>
                        </a:lnTo>
                        <a:lnTo>
                          <a:pt x="1080" y="0"/>
                        </a:lnTo>
                        <a:lnTo>
                          <a:pt x="43" y="0"/>
                        </a:lnTo>
                        <a:lnTo>
                          <a:pt x="31" y="2"/>
                        </a:lnTo>
                        <a:close/>
                        <a:moveTo>
                          <a:pt x="55" y="52"/>
                        </a:moveTo>
                        <a:lnTo>
                          <a:pt x="1071" y="52"/>
                        </a:lnTo>
                        <a:lnTo>
                          <a:pt x="1071" y="685"/>
                        </a:lnTo>
                        <a:lnTo>
                          <a:pt x="55" y="685"/>
                        </a:lnTo>
                        <a:lnTo>
                          <a:pt x="5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grpSp>
            <p:sp>
              <p:nvSpPr>
                <p:cNvPr id="194" name="SAGD, Siemens, Person, Figur, figure, mensch, human, menschen, humans, character, charakter, bildung, education, buch, lesen, book, read, reading">
                  <a:extLst>
                    <a:ext uri="{FF2B5EF4-FFF2-40B4-BE49-F238E27FC236}">
                      <a16:creationId xmlns:a16="http://schemas.microsoft.com/office/drawing/2014/main" id="{3195C7F3-1688-8ECA-6C2A-826C84F6DE27}"/>
                    </a:ext>
                  </a:extLst>
                </p:cNvPr>
                <p:cNvSpPr>
                  <a:spLocks noEditPoints="1"/>
                </p:cNvSpPr>
                <p:nvPr/>
              </p:nvSpPr>
              <p:spPr bwMode="auto">
                <a:xfrm>
                  <a:off x="1118674" y="2229421"/>
                  <a:ext cx="189426" cy="250546"/>
                </a:xfrm>
                <a:custGeom>
                  <a:avLst/>
                  <a:gdLst>
                    <a:gd name="T0" fmla="*/ 247 w 771"/>
                    <a:gd name="T1" fmla="*/ 158 h 1019"/>
                    <a:gd name="T2" fmla="*/ 386 w 771"/>
                    <a:gd name="T3" fmla="*/ 0 h 1019"/>
                    <a:gd name="T4" fmla="*/ 525 w 771"/>
                    <a:gd name="T5" fmla="*/ 158 h 1019"/>
                    <a:gd name="T6" fmla="*/ 386 w 771"/>
                    <a:gd name="T7" fmla="*/ 317 h 1019"/>
                    <a:gd name="T8" fmla="*/ 247 w 771"/>
                    <a:gd name="T9" fmla="*/ 158 h 1019"/>
                    <a:gd name="T10" fmla="*/ 385 w 771"/>
                    <a:gd name="T11" fmla="*/ 526 h 1019"/>
                    <a:gd name="T12" fmla="*/ 623 w 771"/>
                    <a:gd name="T13" fmla="*/ 377 h 1019"/>
                    <a:gd name="T14" fmla="*/ 586 w 771"/>
                    <a:gd name="T15" fmla="*/ 368 h 1019"/>
                    <a:gd name="T16" fmla="*/ 586 w 771"/>
                    <a:gd name="T17" fmla="*/ 367 h 1019"/>
                    <a:gd name="T18" fmla="*/ 485 w 771"/>
                    <a:gd name="T19" fmla="*/ 360 h 1019"/>
                    <a:gd name="T20" fmla="*/ 485 w 771"/>
                    <a:gd name="T21" fmla="*/ 360 h 1019"/>
                    <a:gd name="T22" fmla="*/ 484 w 771"/>
                    <a:gd name="T23" fmla="*/ 360 h 1019"/>
                    <a:gd name="T24" fmla="*/ 386 w 771"/>
                    <a:gd name="T25" fmla="*/ 459 h 1019"/>
                    <a:gd name="T26" fmla="*/ 386 w 771"/>
                    <a:gd name="T27" fmla="*/ 459 h 1019"/>
                    <a:gd name="T28" fmla="*/ 288 w 771"/>
                    <a:gd name="T29" fmla="*/ 360 h 1019"/>
                    <a:gd name="T30" fmla="*/ 288 w 771"/>
                    <a:gd name="T31" fmla="*/ 360 h 1019"/>
                    <a:gd name="T32" fmla="*/ 288 w 771"/>
                    <a:gd name="T33" fmla="*/ 360 h 1019"/>
                    <a:gd name="T34" fmla="*/ 186 w 771"/>
                    <a:gd name="T35" fmla="*/ 367 h 1019"/>
                    <a:gd name="T36" fmla="*/ 186 w 771"/>
                    <a:gd name="T37" fmla="*/ 368 h 1019"/>
                    <a:gd name="T38" fmla="*/ 148 w 771"/>
                    <a:gd name="T39" fmla="*/ 378 h 1019"/>
                    <a:gd name="T40" fmla="*/ 385 w 771"/>
                    <a:gd name="T41" fmla="*/ 526 h 1019"/>
                    <a:gd name="T42" fmla="*/ 771 w 771"/>
                    <a:gd name="T43" fmla="*/ 622 h 1019"/>
                    <a:gd name="T44" fmla="*/ 702 w 771"/>
                    <a:gd name="T45" fmla="*/ 690 h 1019"/>
                    <a:gd name="T46" fmla="*/ 702 w 771"/>
                    <a:gd name="T47" fmla="*/ 821 h 1019"/>
                    <a:gd name="T48" fmla="*/ 385 w 771"/>
                    <a:gd name="T49" fmla="*/ 1019 h 1019"/>
                    <a:gd name="T50" fmla="*/ 385 w 771"/>
                    <a:gd name="T51" fmla="*/ 1019 h 1019"/>
                    <a:gd name="T52" fmla="*/ 68 w 771"/>
                    <a:gd name="T53" fmla="*/ 821 h 1019"/>
                    <a:gd name="T54" fmla="*/ 68 w 771"/>
                    <a:gd name="T55" fmla="*/ 690 h 1019"/>
                    <a:gd name="T56" fmla="*/ 0 w 771"/>
                    <a:gd name="T57" fmla="*/ 622 h 1019"/>
                    <a:gd name="T58" fmla="*/ 68 w 771"/>
                    <a:gd name="T59" fmla="*/ 554 h 1019"/>
                    <a:gd name="T60" fmla="*/ 68 w 771"/>
                    <a:gd name="T61" fmla="*/ 520 h 1019"/>
                    <a:gd name="T62" fmla="*/ 68 w 771"/>
                    <a:gd name="T63" fmla="*/ 413 h 1019"/>
                    <a:gd name="T64" fmla="*/ 385 w 771"/>
                    <a:gd name="T65" fmla="*/ 611 h 1019"/>
                    <a:gd name="T66" fmla="*/ 702 w 771"/>
                    <a:gd name="T67" fmla="*/ 413 h 1019"/>
                    <a:gd name="T68" fmla="*/ 702 w 771"/>
                    <a:gd name="T69" fmla="*/ 520 h 1019"/>
                    <a:gd name="T70" fmla="*/ 702 w 771"/>
                    <a:gd name="T71" fmla="*/ 554 h 1019"/>
                    <a:gd name="T72" fmla="*/ 771 w 771"/>
                    <a:gd name="T73" fmla="*/ 622 h 1019"/>
                    <a:gd name="T74" fmla="*/ 113 w 771"/>
                    <a:gd name="T75" fmla="*/ 796 h 1019"/>
                    <a:gd name="T76" fmla="*/ 362 w 771"/>
                    <a:gd name="T77" fmla="*/ 951 h 1019"/>
                    <a:gd name="T78" fmla="*/ 362 w 771"/>
                    <a:gd name="T79" fmla="*/ 649 h 1019"/>
                    <a:gd name="T80" fmla="*/ 340 w 771"/>
                    <a:gd name="T81" fmla="*/ 636 h 1019"/>
                    <a:gd name="T82" fmla="*/ 113 w 771"/>
                    <a:gd name="T83" fmla="*/ 494 h 1019"/>
                    <a:gd name="T84" fmla="*/ 113 w 771"/>
                    <a:gd name="T85" fmla="*/ 520 h 1019"/>
                    <a:gd name="T86" fmla="*/ 113 w 771"/>
                    <a:gd name="T87" fmla="*/ 796 h 1019"/>
                    <a:gd name="T88" fmla="*/ 657 w 771"/>
                    <a:gd name="T89" fmla="*/ 494 h 1019"/>
                    <a:gd name="T90" fmla="*/ 408 w 771"/>
                    <a:gd name="T91" fmla="*/ 649 h 1019"/>
                    <a:gd name="T92" fmla="*/ 408 w 771"/>
                    <a:gd name="T93" fmla="*/ 951 h 1019"/>
                    <a:gd name="T94" fmla="*/ 657 w 771"/>
                    <a:gd name="T95" fmla="*/ 796 h 1019"/>
                    <a:gd name="T96" fmla="*/ 657 w 771"/>
                    <a:gd name="T97" fmla="*/ 520 h 1019"/>
                    <a:gd name="T98" fmla="*/ 657 w 771"/>
                    <a:gd name="T99" fmla="*/ 494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1" h="1019">
                      <a:moveTo>
                        <a:pt x="247" y="158"/>
                      </a:moveTo>
                      <a:cubicBezTo>
                        <a:pt x="247" y="63"/>
                        <a:pt x="303" y="0"/>
                        <a:pt x="386" y="0"/>
                      </a:cubicBezTo>
                      <a:cubicBezTo>
                        <a:pt x="469" y="0"/>
                        <a:pt x="525" y="63"/>
                        <a:pt x="525" y="158"/>
                      </a:cubicBezTo>
                      <a:cubicBezTo>
                        <a:pt x="525" y="254"/>
                        <a:pt x="469" y="317"/>
                        <a:pt x="386" y="317"/>
                      </a:cubicBezTo>
                      <a:cubicBezTo>
                        <a:pt x="303" y="317"/>
                        <a:pt x="247" y="254"/>
                        <a:pt x="247" y="158"/>
                      </a:cubicBezTo>
                      <a:close/>
                      <a:moveTo>
                        <a:pt x="385" y="526"/>
                      </a:moveTo>
                      <a:cubicBezTo>
                        <a:pt x="623" y="377"/>
                        <a:pt x="623" y="377"/>
                        <a:pt x="623" y="377"/>
                      </a:cubicBezTo>
                      <a:cubicBezTo>
                        <a:pt x="612" y="372"/>
                        <a:pt x="599" y="369"/>
                        <a:pt x="586" y="368"/>
                      </a:cubicBezTo>
                      <a:cubicBezTo>
                        <a:pt x="586" y="367"/>
                        <a:pt x="586" y="367"/>
                        <a:pt x="586" y="367"/>
                      </a:cubicBezTo>
                      <a:cubicBezTo>
                        <a:pt x="485" y="360"/>
                        <a:pt x="485" y="360"/>
                        <a:pt x="485" y="360"/>
                      </a:cubicBezTo>
                      <a:cubicBezTo>
                        <a:pt x="485" y="360"/>
                        <a:pt x="485" y="360"/>
                        <a:pt x="485" y="360"/>
                      </a:cubicBezTo>
                      <a:cubicBezTo>
                        <a:pt x="484" y="360"/>
                        <a:pt x="484" y="360"/>
                        <a:pt x="484" y="360"/>
                      </a:cubicBezTo>
                      <a:cubicBezTo>
                        <a:pt x="386" y="459"/>
                        <a:pt x="386" y="459"/>
                        <a:pt x="386" y="459"/>
                      </a:cubicBezTo>
                      <a:cubicBezTo>
                        <a:pt x="386" y="459"/>
                        <a:pt x="386" y="459"/>
                        <a:pt x="386" y="459"/>
                      </a:cubicBezTo>
                      <a:cubicBezTo>
                        <a:pt x="288" y="360"/>
                        <a:pt x="288" y="360"/>
                        <a:pt x="288" y="360"/>
                      </a:cubicBezTo>
                      <a:cubicBezTo>
                        <a:pt x="288" y="360"/>
                        <a:pt x="288" y="360"/>
                        <a:pt x="288" y="360"/>
                      </a:cubicBezTo>
                      <a:cubicBezTo>
                        <a:pt x="288" y="360"/>
                        <a:pt x="288" y="360"/>
                        <a:pt x="288" y="360"/>
                      </a:cubicBezTo>
                      <a:cubicBezTo>
                        <a:pt x="186" y="367"/>
                        <a:pt x="186" y="367"/>
                        <a:pt x="186" y="367"/>
                      </a:cubicBezTo>
                      <a:cubicBezTo>
                        <a:pt x="186" y="368"/>
                        <a:pt x="186" y="368"/>
                        <a:pt x="186" y="368"/>
                      </a:cubicBezTo>
                      <a:cubicBezTo>
                        <a:pt x="172" y="369"/>
                        <a:pt x="160" y="372"/>
                        <a:pt x="148" y="378"/>
                      </a:cubicBezTo>
                      <a:cubicBezTo>
                        <a:pt x="385" y="526"/>
                        <a:pt x="385" y="526"/>
                        <a:pt x="385" y="526"/>
                      </a:cubicBezTo>
                      <a:close/>
                      <a:moveTo>
                        <a:pt x="771" y="622"/>
                      </a:moveTo>
                      <a:cubicBezTo>
                        <a:pt x="771" y="660"/>
                        <a:pt x="740" y="690"/>
                        <a:pt x="702" y="690"/>
                      </a:cubicBezTo>
                      <a:cubicBezTo>
                        <a:pt x="702" y="821"/>
                        <a:pt x="702" y="821"/>
                        <a:pt x="702" y="821"/>
                      </a:cubicBezTo>
                      <a:cubicBezTo>
                        <a:pt x="385" y="1019"/>
                        <a:pt x="385" y="1019"/>
                        <a:pt x="385" y="1019"/>
                      </a:cubicBezTo>
                      <a:cubicBezTo>
                        <a:pt x="385" y="1019"/>
                        <a:pt x="385" y="1019"/>
                        <a:pt x="385" y="1019"/>
                      </a:cubicBezTo>
                      <a:cubicBezTo>
                        <a:pt x="68" y="821"/>
                        <a:pt x="68" y="821"/>
                        <a:pt x="68" y="821"/>
                      </a:cubicBezTo>
                      <a:cubicBezTo>
                        <a:pt x="68" y="690"/>
                        <a:pt x="68" y="690"/>
                        <a:pt x="68" y="690"/>
                      </a:cubicBezTo>
                      <a:cubicBezTo>
                        <a:pt x="30" y="690"/>
                        <a:pt x="0" y="660"/>
                        <a:pt x="0" y="622"/>
                      </a:cubicBezTo>
                      <a:cubicBezTo>
                        <a:pt x="0" y="585"/>
                        <a:pt x="30" y="554"/>
                        <a:pt x="68" y="554"/>
                      </a:cubicBezTo>
                      <a:cubicBezTo>
                        <a:pt x="68" y="520"/>
                        <a:pt x="68" y="520"/>
                        <a:pt x="68" y="520"/>
                      </a:cubicBezTo>
                      <a:cubicBezTo>
                        <a:pt x="68" y="413"/>
                        <a:pt x="68" y="413"/>
                        <a:pt x="68" y="413"/>
                      </a:cubicBezTo>
                      <a:cubicBezTo>
                        <a:pt x="385" y="611"/>
                        <a:pt x="385" y="611"/>
                        <a:pt x="385" y="611"/>
                      </a:cubicBezTo>
                      <a:cubicBezTo>
                        <a:pt x="702" y="413"/>
                        <a:pt x="702" y="413"/>
                        <a:pt x="702" y="413"/>
                      </a:cubicBezTo>
                      <a:cubicBezTo>
                        <a:pt x="702" y="520"/>
                        <a:pt x="702" y="520"/>
                        <a:pt x="702" y="520"/>
                      </a:cubicBezTo>
                      <a:cubicBezTo>
                        <a:pt x="702" y="554"/>
                        <a:pt x="702" y="554"/>
                        <a:pt x="702" y="554"/>
                      </a:cubicBezTo>
                      <a:cubicBezTo>
                        <a:pt x="740" y="554"/>
                        <a:pt x="771" y="584"/>
                        <a:pt x="771" y="622"/>
                      </a:cubicBezTo>
                      <a:close/>
                      <a:moveTo>
                        <a:pt x="113" y="796"/>
                      </a:moveTo>
                      <a:cubicBezTo>
                        <a:pt x="362" y="951"/>
                        <a:pt x="362" y="951"/>
                        <a:pt x="362" y="951"/>
                      </a:cubicBezTo>
                      <a:cubicBezTo>
                        <a:pt x="362" y="649"/>
                        <a:pt x="362" y="649"/>
                        <a:pt x="362" y="649"/>
                      </a:cubicBezTo>
                      <a:cubicBezTo>
                        <a:pt x="340" y="636"/>
                        <a:pt x="340" y="636"/>
                        <a:pt x="340" y="636"/>
                      </a:cubicBezTo>
                      <a:cubicBezTo>
                        <a:pt x="113" y="494"/>
                        <a:pt x="113" y="494"/>
                        <a:pt x="113" y="494"/>
                      </a:cubicBezTo>
                      <a:cubicBezTo>
                        <a:pt x="113" y="520"/>
                        <a:pt x="113" y="520"/>
                        <a:pt x="113" y="520"/>
                      </a:cubicBezTo>
                      <a:lnTo>
                        <a:pt x="113" y="796"/>
                      </a:lnTo>
                      <a:close/>
                      <a:moveTo>
                        <a:pt x="657" y="494"/>
                      </a:moveTo>
                      <a:cubicBezTo>
                        <a:pt x="408" y="649"/>
                        <a:pt x="408" y="649"/>
                        <a:pt x="408" y="649"/>
                      </a:cubicBezTo>
                      <a:cubicBezTo>
                        <a:pt x="408" y="951"/>
                        <a:pt x="408" y="951"/>
                        <a:pt x="408" y="951"/>
                      </a:cubicBezTo>
                      <a:cubicBezTo>
                        <a:pt x="657" y="796"/>
                        <a:pt x="657" y="796"/>
                        <a:pt x="657" y="796"/>
                      </a:cubicBezTo>
                      <a:cubicBezTo>
                        <a:pt x="657" y="520"/>
                        <a:pt x="657" y="520"/>
                        <a:pt x="657" y="520"/>
                      </a:cubicBezTo>
                      <a:lnTo>
                        <a:pt x="657" y="494"/>
                      </a:lnTo>
                      <a:close/>
                    </a:path>
                  </a:pathLst>
                </a:custGeom>
                <a:grpFill/>
                <a:ln>
                  <a:noFill/>
                </a:ln>
              </p:spPr>
              <p:txBody>
                <a:bodyPr vert="horz" wrap="square" lIns="91392" tIns="45696" rIns="91392" bIns="45696" numCol="1" anchor="t" anchorCtr="0" compatLnSpc="1">
                  <a:prstTxWarp prst="textNoShape">
                    <a:avLst/>
                  </a:prstTxWarp>
                </a:bodyP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195" name="Freihandform: Form 194">
                  <a:extLst>
                    <a:ext uri="{FF2B5EF4-FFF2-40B4-BE49-F238E27FC236}">
                      <a16:creationId xmlns:a16="http://schemas.microsoft.com/office/drawing/2014/main" id="{DE69C30E-12FE-A246-9058-9108B0360FE3}"/>
                    </a:ext>
                  </a:extLst>
                </p:cNvPr>
                <p:cNvSpPr/>
                <p:nvPr/>
              </p:nvSpPr>
              <p:spPr>
                <a:xfrm>
                  <a:off x="1510298" y="2052387"/>
                  <a:ext cx="194678" cy="189112"/>
                </a:xfrm>
                <a:custGeom>
                  <a:avLst/>
                  <a:gdLst>
                    <a:gd name="connsiteX0" fmla="*/ 917222 w 1605118"/>
                    <a:gd name="connsiteY0" fmla="*/ 1051258 h 1559253"/>
                    <a:gd name="connsiteX1" fmla="*/ 1284063 w 1605118"/>
                    <a:gd name="connsiteY1" fmla="*/ 791437 h 1559253"/>
                    <a:gd name="connsiteX2" fmla="*/ 1284063 w 1605118"/>
                    <a:gd name="connsiteY2" fmla="*/ 1559173 h 1559253"/>
                    <a:gd name="connsiteX3" fmla="*/ 917222 w 1605118"/>
                    <a:gd name="connsiteY3" fmla="*/ 1559173 h 1559253"/>
                    <a:gd name="connsiteX4" fmla="*/ 917222 w 1605118"/>
                    <a:gd name="connsiteY4" fmla="*/ 1051258 h 1559253"/>
                    <a:gd name="connsiteX5" fmla="*/ 1473105 w 1605118"/>
                    <a:gd name="connsiteY5" fmla="*/ 596166 h 1559253"/>
                    <a:gd name="connsiteX6" fmla="*/ 1375793 w 1605118"/>
                    <a:gd name="connsiteY6" fmla="*/ 703266 h 1559253"/>
                    <a:gd name="connsiteX7" fmla="*/ 1375793 w 1605118"/>
                    <a:gd name="connsiteY7" fmla="*/ 1559173 h 1559253"/>
                    <a:gd name="connsiteX8" fmla="*/ 1605119 w 1605118"/>
                    <a:gd name="connsiteY8" fmla="*/ 1559173 h 1559253"/>
                    <a:gd name="connsiteX9" fmla="*/ 1605119 w 1605118"/>
                    <a:gd name="connsiteY9" fmla="*/ 596166 h 1559253"/>
                    <a:gd name="connsiteX10" fmla="*/ 1473105 w 1605118"/>
                    <a:gd name="connsiteY10" fmla="*/ 596166 h 1559253"/>
                    <a:gd name="connsiteX11" fmla="*/ 0 w 1605118"/>
                    <a:gd name="connsiteY11" fmla="*/ 1559253 h 1559253"/>
                    <a:gd name="connsiteX12" fmla="*/ 825492 w 1605118"/>
                    <a:gd name="connsiteY12" fmla="*/ 1559253 h 1559253"/>
                    <a:gd name="connsiteX13" fmla="*/ 825492 w 1605118"/>
                    <a:gd name="connsiteY13" fmla="*/ 1098175 h 1559253"/>
                    <a:gd name="connsiteX14" fmla="*/ 0 w 1605118"/>
                    <a:gd name="connsiteY14" fmla="*/ 1284063 h 1559253"/>
                    <a:gd name="connsiteX15" fmla="*/ 0 w 1605118"/>
                    <a:gd name="connsiteY15" fmla="*/ 1559253 h 1559253"/>
                    <a:gd name="connsiteX16" fmla="*/ 1483539 w 1605118"/>
                    <a:gd name="connsiteY16" fmla="*/ 245908 h 1559253"/>
                    <a:gd name="connsiteX17" fmla="*/ 1497695 w 1605118"/>
                    <a:gd name="connsiteY17" fmla="*/ 448459 h 1559253"/>
                    <a:gd name="connsiteX18" fmla="*/ 1605119 w 1605118"/>
                    <a:gd name="connsiteY18" fmla="*/ 448459 h 1559253"/>
                    <a:gd name="connsiteX19" fmla="*/ 1605119 w 1605118"/>
                    <a:gd name="connsiteY19" fmla="*/ 0 h 1559253"/>
                    <a:gd name="connsiteX20" fmla="*/ 1156578 w 1605118"/>
                    <a:gd name="connsiteY20" fmla="*/ 0 h 1559253"/>
                    <a:gd name="connsiteX21" fmla="*/ 1156578 w 1605118"/>
                    <a:gd name="connsiteY21" fmla="*/ 107423 h 1559253"/>
                    <a:gd name="connsiteX22" fmla="*/ 1343275 w 1605118"/>
                    <a:gd name="connsiteY22" fmla="*/ 120447 h 1559253"/>
                    <a:gd name="connsiteX23" fmla="*/ 0 w 1605118"/>
                    <a:gd name="connsiteY23" fmla="*/ 928547 h 1559253"/>
                    <a:gd name="connsiteX24" fmla="*/ 0 w 1605118"/>
                    <a:gd name="connsiteY24" fmla="*/ 1112008 h 1559253"/>
                    <a:gd name="connsiteX25" fmla="*/ 1483539 w 1605118"/>
                    <a:gd name="connsiteY25" fmla="*/ 245908 h 15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05118" h="1559253">
                      <a:moveTo>
                        <a:pt x="917222" y="1051258"/>
                      </a:moveTo>
                      <a:cubicBezTo>
                        <a:pt x="1048023" y="979994"/>
                        <a:pt x="1171139" y="893117"/>
                        <a:pt x="1284063" y="791437"/>
                      </a:cubicBezTo>
                      <a:lnTo>
                        <a:pt x="1284063" y="1559173"/>
                      </a:lnTo>
                      <a:lnTo>
                        <a:pt x="917222" y="1559173"/>
                      </a:lnTo>
                      <a:lnTo>
                        <a:pt x="917222" y="1051258"/>
                      </a:lnTo>
                      <a:close/>
                      <a:moveTo>
                        <a:pt x="1473105" y="596166"/>
                      </a:moveTo>
                      <a:cubicBezTo>
                        <a:pt x="1442204" y="632891"/>
                        <a:pt x="1409686" y="668564"/>
                        <a:pt x="1375793" y="703266"/>
                      </a:cubicBezTo>
                      <a:lnTo>
                        <a:pt x="1375793" y="1559173"/>
                      </a:lnTo>
                      <a:lnTo>
                        <a:pt x="1605119" y="1559173"/>
                      </a:lnTo>
                      <a:lnTo>
                        <a:pt x="1605119" y="596166"/>
                      </a:lnTo>
                      <a:lnTo>
                        <a:pt x="1473105" y="596166"/>
                      </a:lnTo>
                      <a:close/>
                      <a:moveTo>
                        <a:pt x="0" y="1559253"/>
                      </a:moveTo>
                      <a:lnTo>
                        <a:pt x="825492" y="1559253"/>
                      </a:lnTo>
                      <a:lnTo>
                        <a:pt x="825492" y="1098175"/>
                      </a:lnTo>
                      <a:cubicBezTo>
                        <a:pt x="570848" y="1219512"/>
                        <a:pt x="290398" y="1283739"/>
                        <a:pt x="0" y="1284063"/>
                      </a:cubicBezTo>
                      <a:lnTo>
                        <a:pt x="0" y="1559253"/>
                      </a:lnTo>
                      <a:close/>
                      <a:moveTo>
                        <a:pt x="1483539" y="245908"/>
                      </a:moveTo>
                      <a:lnTo>
                        <a:pt x="1497695" y="448459"/>
                      </a:lnTo>
                      <a:lnTo>
                        <a:pt x="1605119" y="448459"/>
                      </a:lnTo>
                      <a:lnTo>
                        <a:pt x="1605119" y="0"/>
                      </a:lnTo>
                      <a:lnTo>
                        <a:pt x="1156578" y="0"/>
                      </a:lnTo>
                      <a:lnTo>
                        <a:pt x="1156578" y="107423"/>
                      </a:lnTo>
                      <a:lnTo>
                        <a:pt x="1343275" y="120447"/>
                      </a:lnTo>
                      <a:cubicBezTo>
                        <a:pt x="1086689" y="600292"/>
                        <a:pt x="580959" y="927738"/>
                        <a:pt x="0" y="928547"/>
                      </a:cubicBezTo>
                      <a:lnTo>
                        <a:pt x="0" y="1112008"/>
                      </a:lnTo>
                      <a:cubicBezTo>
                        <a:pt x="634994" y="1111199"/>
                        <a:pt x="1189825" y="762073"/>
                        <a:pt x="1483539" y="245908"/>
                      </a:cubicBezTo>
                      <a:close/>
                    </a:path>
                  </a:pathLst>
                </a:custGeom>
                <a:grpFill/>
                <a:ln w="8085"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196" name="Freihandform: Form 195">
                  <a:extLst>
                    <a:ext uri="{FF2B5EF4-FFF2-40B4-BE49-F238E27FC236}">
                      <a16:creationId xmlns:a16="http://schemas.microsoft.com/office/drawing/2014/main" id="{A3919F8A-68EC-DF62-6120-CB17EE213609}"/>
                    </a:ext>
                  </a:extLst>
                </p:cNvPr>
                <p:cNvSpPr/>
                <p:nvPr/>
              </p:nvSpPr>
              <p:spPr>
                <a:xfrm>
                  <a:off x="697025" y="2048798"/>
                  <a:ext cx="248240" cy="196290"/>
                </a:xfrm>
                <a:custGeom>
                  <a:avLst/>
                  <a:gdLst>
                    <a:gd name="connsiteX0" fmla="*/ 1267997 w 2234351"/>
                    <a:gd name="connsiteY0" fmla="*/ 803156 h 1766759"/>
                    <a:gd name="connsiteX1" fmla="*/ 674798 w 2234351"/>
                    <a:gd name="connsiteY1" fmla="*/ 1508210 h 1766759"/>
                    <a:gd name="connsiteX2" fmla="*/ 82516 w 2234351"/>
                    <a:gd name="connsiteY2" fmla="*/ 804073 h 1766759"/>
                    <a:gd name="connsiteX3" fmla="*/ 82516 w 2234351"/>
                    <a:gd name="connsiteY3" fmla="*/ 803156 h 1766759"/>
                    <a:gd name="connsiteX4" fmla="*/ 82516 w 2234351"/>
                    <a:gd name="connsiteY4" fmla="*/ 803156 h 1766759"/>
                    <a:gd name="connsiteX5" fmla="*/ 82516 w 2234351"/>
                    <a:gd name="connsiteY5" fmla="*/ 803156 h 1766759"/>
                    <a:gd name="connsiteX6" fmla="*/ 0 w 2234351"/>
                    <a:gd name="connsiteY6" fmla="*/ 572111 h 1766759"/>
                    <a:gd name="connsiteX7" fmla="*/ 363988 w 2234351"/>
                    <a:gd name="connsiteY7" fmla="*/ 208124 h 1766759"/>
                    <a:gd name="connsiteX8" fmla="*/ 675715 w 2234351"/>
                    <a:gd name="connsiteY8" fmla="*/ 384158 h 1766759"/>
                    <a:gd name="connsiteX9" fmla="*/ 987442 w 2234351"/>
                    <a:gd name="connsiteY9" fmla="*/ 208124 h 1766759"/>
                    <a:gd name="connsiteX10" fmla="*/ 1351430 w 2234351"/>
                    <a:gd name="connsiteY10" fmla="*/ 572111 h 1766759"/>
                    <a:gd name="connsiteX11" fmla="*/ 1267997 w 2234351"/>
                    <a:gd name="connsiteY11" fmla="*/ 803156 h 1766759"/>
                    <a:gd name="connsiteX12" fmla="*/ 1267997 w 2234351"/>
                    <a:gd name="connsiteY12" fmla="*/ 803156 h 1766759"/>
                    <a:gd name="connsiteX13" fmla="*/ 2234352 w 2234351"/>
                    <a:gd name="connsiteY13" fmla="*/ 0 h 1766759"/>
                    <a:gd name="connsiteX14" fmla="*/ 2234352 w 2234351"/>
                    <a:gd name="connsiteY14" fmla="*/ 467591 h 1766759"/>
                    <a:gd name="connsiteX15" fmla="*/ 1948296 w 2234351"/>
                    <a:gd name="connsiteY15" fmla="*/ 801322 h 1766759"/>
                    <a:gd name="connsiteX16" fmla="*/ 1948296 w 2234351"/>
                    <a:gd name="connsiteY16" fmla="*/ 1480704 h 1766759"/>
                    <a:gd name="connsiteX17" fmla="*/ 1662240 w 2234351"/>
                    <a:gd name="connsiteY17" fmla="*/ 1766760 h 1766759"/>
                    <a:gd name="connsiteX18" fmla="*/ 1376185 w 2234351"/>
                    <a:gd name="connsiteY18" fmla="*/ 1480704 h 1766759"/>
                    <a:gd name="connsiteX19" fmla="*/ 1376185 w 2234351"/>
                    <a:gd name="connsiteY19" fmla="*/ 1480704 h 1766759"/>
                    <a:gd name="connsiteX20" fmla="*/ 1376185 w 2234351"/>
                    <a:gd name="connsiteY20" fmla="*/ 1447698 h 1766759"/>
                    <a:gd name="connsiteX21" fmla="*/ 1245993 w 2234351"/>
                    <a:gd name="connsiteY21" fmla="*/ 1273498 h 1766759"/>
                    <a:gd name="connsiteX22" fmla="*/ 1427528 w 2234351"/>
                    <a:gd name="connsiteY22" fmla="*/ 1091962 h 1766759"/>
                    <a:gd name="connsiteX23" fmla="*/ 1609063 w 2234351"/>
                    <a:gd name="connsiteY23" fmla="*/ 1273498 h 1766759"/>
                    <a:gd name="connsiteX24" fmla="*/ 1478871 w 2234351"/>
                    <a:gd name="connsiteY24" fmla="*/ 1447698 h 1766759"/>
                    <a:gd name="connsiteX25" fmla="*/ 1478871 w 2234351"/>
                    <a:gd name="connsiteY25" fmla="*/ 1481622 h 1766759"/>
                    <a:gd name="connsiteX26" fmla="*/ 1478871 w 2234351"/>
                    <a:gd name="connsiteY26" fmla="*/ 1481622 h 1766759"/>
                    <a:gd name="connsiteX27" fmla="*/ 1660407 w 2234351"/>
                    <a:gd name="connsiteY27" fmla="*/ 1663157 h 1766759"/>
                    <a:gd name="connsiteX28" fmla="*/ 1841942 w 2234351"/>
                    <a:gd name="connsiteY28" fmla="*/ 1481622 h 1766759"/>
                    <a:gd name="connsiteX29" fmla="*/ 1841942 w 2234351"/>
                    <a:gd name="connsiteY29" fmla="*/ 1481622 h 1766759"/>
                    <a:gd name="connsiteX30" fmla="*/ 1841942 w 2234351"/>
                    <a:gd name="connsiteY30" fmla="*/ 802239 h 1766759"/>
                    <a:gd name="connsiteX31" fmla="*/ 1555886 w 2234351"/>
                    <a:gd name="connsiteY31" fmla="*/ 468508 h 1766759"/>
                    <a:gd name="connsiteX32" fmla="*/ 1555886 w 2234351"/>
                    <a:gd name="connsiteY32" fmla="*/ 917 h 1766759"/>
                    <a:gd name="connsiteX33" fmla="*/ 1711750 w 2234351"/>
                    <a:gd name="connsiteY33" fmla="*/ 917 h 1766759"/>
                    <a:gd name="connsiteX34" fmla="*/ 1764010 w 2234351"/>
                    <a:gd name="connsiteY34" fmla="*/ 53177 h 1766759"/>
                    <a:gd name="connsiteX35" fmla="*/ 1711750 w 2234351"/>
                    <a:gd name="connsiteY35" fmla="*/ 105437 h 1766759"/>
                    <a:gd name="connsiteX36" fmla="*/ 1659489 w 2234351"/>
                    <a:gd name="connsiteY36" fmla="*/ 105437 h 1766759"/>
                    <a:gd name="connsiteX37" fmla="*/ 1659489 w 2234351"/>
                    <a:gd name="connsiteY37" fmla="*/ 469424 h 1766759"/>
                    <a:gd name="connsiteX38" fmla="*/ 1659489 w 2234351"/>
                    <a:gd name="connsiteY38" fmla="*/ 469424 h 1766759"/>
                    <a:gd name="connsiteX39" fmla="*/ 1893285 w 2234351"/>
                    <a:gd name="connsiteY39" fmla="*/ 703220 h 1766759"/>
                    <a:gd name="connsiteX40" fmla="*/ 2127080 w 2234351"/>
                    <a:gd name="connsiteY40" fmla="*/ 469424 h 1766759"/>
                    <a:gd name="connsiteX41" fmla="*/ 2127080 w 2234351"/>
                    <a:gd name="connsiteY41" fmla="*/ 469424 h 1766759"/>
                    <a:gd name="connsiteX42" fmla="*/ 2127080 w 2234351"/>
                    <a:gd name="connsiteY42" fmla="*/ 105437 h 1766759"/>
                    <a:gd name="connsiteX43" fmla="*/ 2074821 w 2234351"/>
                    <a:gd name="connsiteY43" fmla="*/ 105437 h 1766759"/>
                    <a:gd name="connsiteX44" fmla="*/ 2022560 w 2234351"/>
                    <a:gd name="connsiteY44" fmla="*/ 53177 h 1766759"/>
                    <a:gd name="connsiteX45" fmla="*/ 2074821 w 2234351"/>
                    <a:gd name="connsiteY45" fmla="*/ 917 h 1766759"/>
                    <a:gd name="connsiteX46" fmla="*/ 2234352 w 2234351"/>
                    <a:gd name="connsiteY46" fmla="*/ 917 h 1766759"/>
                    <a:gd name="connsiteX47" fmla="*/ 1513711 w 2234351"/>
                    <a:gd name="connsiteY47" fmla="*/ 1272581 h 1766759"/>
                    <a:gd name="connsiteX48" fmla="*/ 1428445 w 2234351"/>
                    <a:gd name="connsiteY48" fmla="*/ 1189148 h 1766759"/>
                    <a:gd name="connsiteX49" fmla="*/ 1345012 w 2234351"/>
                    <a:gd name="connsiteY49" fmla="*/ 1274414 h 1766759"/>
                    <a:gd name="connsiteX50" fmla="*/ 1430278 w 2234351"/>
                    <a:gd name="connsiteY50" fmla="*/ 1357847 h 1766759"/>
                    <a:gd name="connsiteX51" fmla="*/ 1513711 w 2234351"/>
                    <a:gd name="connsiteY51" fmla="*/ 1272581 h 176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234351" h="1766759">
                      <a:moveTo>
                        <a:pt x="1267997" y="803156"/>
                      </a:moveTo>
                      <a:lnTo>
                        <a:pt x="674798" y="1508210"/>
                      </a:lnTo>
                      <a:lnTo>
                        <a:pt x="82516" y="804073"/>
                      </a:lnTo>
                      <a:cubicBezTo>
                        <a:pt x="82516" y="804073"/>
                        <a:pt x="82516" y="804073"/>
                        <a:pt x="82516" y="803156"/>
                      </a:cubicBezTo>
                      <a:lnTo>
                        <a:pt x="82516" y="803156"/>
                      </a:lnTo>
                      <a:lnTo>
                        <a:pt x="82516" y="803156"/>
                      </a:lnTo>
                      <a:cubicBezTo>
                        <a:pt x="31173" y="739894"/>
                        <a:pt x="0" y="660128"/>
                        <a:pt x="0" y="572111"/>
                      </a:cubicBezTo>
                      <a:cubicBezTo>
                        <a:pt x="0" y="371322"/>
                        <a:pt x="163199" y="208124"/>
                        <a:pt x="363988" y="208124"/>
                      </a:cubicBezTo>
                      <a:cubicBezTo>
                        <a:pt x="496013" y="208124"/>
                        <a:pt x="612453" y="278721"/>
                        <a:pt x="675715" y="384158"/>
                      </a:cubicBezTo>
                      <a:cubicBezTo>
                        <a:pt x="738977" y="278721"/>
                        <a:pt x="855417" y="208124"/>
                        <a:pt x="987442" y="208124"/>
                      </a:cubicBezTo>
                      <a:cubicBezTo>
                        <a:pt x="1188231" y="208124"/>
                        <a:pt x="1351430" y="371322"/>
                        <a:pt x="1351430" y="572111"/>
                      </a:cubicBezTo>
                      <a:cubicBezTo>
                        <a:pt x="1350513" y="660128"/>
                        <a:pt x="1320257" y="739894"/>
                        <a:pt x="1267997" y="803156"/>
                      </a:cubicBezTo>
                      <a:lnTo>
                        <a:pt x="1267997" y="803156"/>
                      </a:lnTo>
                      <a:close/>
                      <a:moveTo>
                        <a:pt x="2234352" y="0"/>
                      </a:moveTo>
                      <a:lnTo>
                        <a:pt x="2234352" y="467591"/>
                      </a:lnTo>
                      <a:cubicBezTo>
                        <a:pt x="2234352" y="636290"/>
                        <a:pt x="2110578" y="776568"/>
                        <a:pt x="1948296" y="801322"/>
                      </a:cubicBezTo>
                      <a:lnTo>
                        <a:pt x="1948296" y="1480704"/>
                      </a:lnTo>
                      <a:cubicBezTo>
                        <a:pt x="1948296" y="1638402"/>
                        <a:pt x="1819937" y="1766760"/>
                        <a:pt x="1662240" y="1766760"/>
                      </a:cubicBezTo>
                      <a:cubicBezTo>
                        <a:pt x="1504543" y="1766760"/>
                        <a:pt x="1376185" y="1638402"/>
                        <a:pt x="1376185" y="1480704"/>
                      </a:cubicBezTo>
                      <a:lnTo>
                        <a:pt x="1376185" y="1480704"/>
                      </a:lnTo>
                      <a:lnTo>
                        <a:pt x="1376185" y="1447698"/>
                      </a:lnTo>
                      <a:cubicBezTo>
                        <a:pt x="1301003" y="1425694"/>
                        <a:pt x="1245993" y="1356014"/>
                        <a:pt x="1245993" y="1273498"/>
                      </a:cubicBezTo>
                      <a:cubicBezTo>
                        <a:pt x="1245993" y="1172645"/>
                        <a:pt x="1327592" y="1091962"/>
                        <a:pt x="1427528" y="1091962"/>
                      </a:cubicBezTo>
                      <a:cubicBezTo>
                        <a:pt x="1528381" y="1091962"/>
                        <a:pt x="1609063" y="1173561"/>
                        <a:pt x="1609063" y="1273498"/>
                      </a:cubicBezTo>
                      <a:cubicBezTo>
                        <a:pt x="1609063" y="1356014"/>
                        <a:pt x="1554052" y="1425694"/>
                        <a:pt x="1478871" y="1447698"/>
                      </a:cubicBezTo>
                      <a:lnTo>
                        <a:pt x="1478871" y="1481622"/>
                      </a:lnTo>
                      <a:lnTo>
                        <a:pt x="1478871" y="1481622"/>
                      </a:lnTo>
                      <a:cubicBezTo>
                        <a:pt x="1478871" y="1581557"/>
                        <a:pt x="1560470" y="1663157"/>
                        <a:pt x="1660407" y="1663157"/>
                      </a:cubicBezTo>
                      <a:cubicBezTo>
                        <a:pt x="1760342" y="1663157"/>
                        <a:pt x="1841942" y="1581557"/>
                        <a:pt x="1841942" y="1481622"/>
                      </a:cubicBezTo>
                      <a:lnTo>
                        <a:pt x="1841942" y="1481622"/>
                      </a:lnTo>
                      <a:lnTo>
                        <a:pt x="1841942" y="802239"/>
                      </a:lnTo>
                      <a:cubicBezTo>
                        <a:pt x="1680577" y="777485"/>
                        <a:pt x="1555886" y="637207"/>
                        <a:pt x="1555886" y="468508"/>
                      </a:cubicBezTo>
                      <a:lnTo>
                        <a:pt x="1555886" y="917"/>
                      </a:lnTo>
                      <a:lnTo>
                        <a:pt x="1711750" y="917"/>
                      </a:lnTo>
                      <a:cubicBezTo>
                        <a:pt x="1740172" y="917"/>
                        <a:pt x="1764010" y="23838"/>
                        <a:pt x="1764010" y="53177"/>
                      </a:cubicBezTo>
                      <a:cubicBezTo>
                        <a:pt x="1764010" y="81599"/>
                        <a:pt x="1741089" y="105437"/>
                        <a:pt x="1711750" y="105437"/>
                      </a:cubicBezTo>
                      <a:lnTo>
                        <a:pt x="1659489" y="105437"/>
                      </a:lnTo>
                      <a:lnTo>
                        <a:pt x="1659489" y="469424"/>
                      </a:lnTo>
                      <a:lnTo>
                        <a:pt x="1659489" y="469424"/>
                      </a:lnTo>
                      <a:cubicBezTo>
                        <a:pt x="1659489" y="598700"/>
                        <a:pt x="1764010" y="703220"/>
                        <a:pt x="1893285" y="703220"/>
                      </a:cubicBezTo>
                      <a:cubicBezTo>
                        <a:pt x="2022560" y="703220"/>
                        <a:pt x="2127080" y="598700"/>
                        <a:pt x="2127080" y="469424"/>
                      </a:cubicBezTo>
                      <a:lnTo>
                        <a:pt x="2127080" y="469424"/>
                      </a:lnTo>
                      <a:lnTo>
                        <a:pt x="2127080" y="105437"/>
                      </a:lnTo>
                      <a:lnTo>
                        <a:pt x="2074821" y="105437"/>
                      </a:lnTo>
                      <a:cubicBezTo>
                        <a:pt x="2046399" y="105437"/>
                        <a:pt x="2022560" y="82516"/>
                        <a:pt x="2022560" y="53177"/>
                      </a:cubicBezTo>
                      <a:cubicBezTo>
                        <a:pt x="2022560" y="24755"/>
                        <a:pt x="2045481" y="917"/>
                        <a:pt x="2074821" y="917"/>
                      </a:cubicBezTo>
                      <a:lnTo>
                        <a:pt x="2234352" y="917"/>
                      </a:lnTo>
                      <a:close/>
                      <a:moveTo>
                        <a:pt x="1513711" y="1272581"/>
                      </a:moveTo>
                      <a:cubicBezTo>
                        <a:pt x="1512794" y="1225822"/>
                        <a:pt x="1475204" y="1188231"/>
                        <a:pt x="1428445" y="1189148"/>
                      </a:cubicBezTo>
                      <a:cubicBezTo>
                        <a:pt x="1381686" y="1190065"/>
                        <a:pt x="1344095" y="1227655"/>
                        <a:pt x="1345012" y="1274414"/>
                      </a:cubicBezTo>
                      <a:cubicBezTo>
                        <a:pt x="1345929" y="1321174"/>
                        <a:pt x="1383519" y="1358764"/>
                        <a:pt x="1430278" y="1357847"/>
                      </a:cubicBezTo>
                      <a:cubicBezTo>
                        <a:pt x="1477038" y="1357847"/>
                        <a:pt x="1513711" y="1319340"/>
                        <a:pt x="1513711" y="1272581"/>
                      </a:cubicBezTo>
                      <a:close/>
                    </a:path>
                  </a:pathLst>
                </a:custGeom>
                <a:grpFill/>
                <a:ln w="9162"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197" name="Freihandform: Form 196">
                  <a:extLst>
                    <a:ext uri="{FF2B5EF4-FFF2-40B4-BE49-F238E27FC236}">
                      <a16:creationId xmlns:a16="http://schemas.microsoft.com/office/drawing/2014/main" id="{8F43BD7D-F892-EB06-3FB6-845AADE66F6A}"/>
                    </a:ext>
                  </a:extLst>
                </p:cNvPr>
                <p:cNvSpPr/>
                <p:nvPr/>
              </p:nvSpPr>
              <p:spPr>
                <a:xfrm>
                  <a:off x="701237" y="1636252"/>
                  <a:ext cx="239816" cy="160466"/>
                </a:xfrm>
                <a:custGeom>
                  <a:avLst/>
                  <a:gdLst>
                    <a:gd name="connsiteX0" fmla="*/ 273797 w 680409"/>
                    <a:gd name="connsiteY0" fmla="*/ 391169 h 455278"/>
                    <a:gd name="connsiteX1" fmla="*/ 414076 w 680409"/>
                    <a:gd name="connsiteY1" fmla="*/ 391169 h 455278"/>
                    <a:gd name="connsiteX2" fmla="*/ 343673 w 680409"/>
                    <a:gd name="connsiteY2" fmla="*/ 455278 h 455278"/>
                    <a:gd name="connsiteX3" fmla="*/ 273797 w 680409"/>
                    <a:gd name="connsiteY3" fmla="*/ 391169 h 455278"/>
                    <a:gd name="connsiteX4" fmla="*/ 589953 w 680409"/>
                    <a:gd name="connsiteY4" fmla="*/ 41846 h 455278"/>
                    <a:gd name="connsiteX5" fmla="*/ 614046 w 680409"/>
                    <a:gd name="connsiteY5" fmla="*/ 130018 h 455278"/>
                    <a:gd name="connsiteX6" fmla="*/ 589572 w 680409"/>
                    <a:gd name="connsiteY6" fmla="*/ 218893 h 455278"/>
                    <a:gd name="connsiteX7" fmla="*/ 560621 w 680409"/>
                    <a:gd name="connsiteY7" fmla="*/ 202705 h 455278"/>
                    <a:gd name="connsiteX8" fmla="*/ 580849 w 680409"/>
                    <a:gd name="connsiteY8" fmla="*/ 130018 h 455278"/>
                    <a:gd name="connsiteX9" fmla="*/ 561001 w 680409"/>
                    <a:gd name="connsiteY9" fmla="*/ 58034 h 455278"/>
                    <a:gd name="connsiteX10" fmla="*/ 90865 w 680409"/>
                    <a:gd name="connsiteY10" fmla="*/ 41846 h 455278"/>
                    <a:gd name="connsiteX11" fmla="*/ 119818 w 680409"/>
                    <a:gd name="connsiteY11" fmla="*/ 58034 h 455278"/>
                    <a:gd name="connsiteX12" fmla="*/ 99590 w 680409"/>
                    <a:gd name="connsiteY12" fmla="*/ 130721 h 455278"/>
                    <a:gd name="connsiteX13" fmla="*/ 119437 w 680409"/>
                    <a:gd name="connsiteY13" fmla="*/ 202705 h 455278"/>
                    <a:gd name="connsiteX14" fmla="*/ 90485 w 680409"/>
                    <a:gd name="connsiteY14" fmla="*/ 218893 h 455278"/>
                    <a:gd name="connsiteX15" fmla="*/ 66393 w 680409"/>
                    <a:gd name="connsiteY15" fmla="*/ 130721 h 455278"/>
                    <a:gd name="connsiteX16" fmla="*/ 90865 w 680409"/>
                    <a:gd name="connsiteY16" fmla="*/ 41846 h 455278"/>
                    <a:gd name="connsiteX17" fmla="*/ 647914 w 680409"/>
                    <a:gd name="connsiteY17" fmla="*/ 9440 h 455278"/>
                    <a:gd name="connsiteX18" fmla="*/ 680409 w 680409"/>
                    <a:gd name="connsiteY18" fmla="*/ 130018 h 455278"/>
                    <a:gd name="connsiteX19" fmla="*/ 647476 w 680409"/>
                    <a:gd name="connsiteY19" fmla="*/ 251329 h 455278"/>
                    <a:gd name="connsiteX20" fmla="*/ 618495 w 680409"/>
                    <a:gd name="connsiteY20" fmla="*/ 235111 h 455278"/>
                    <a:gd name="connsiteX21" fmla="*/ 647212 w 680409"/>
                    <a:gd name="connsiteY21" fmla="*/ 130018 h 455278"/>
                    <a:gd name="connsiteX22" fmla="*/ 618905 w 680409"/>
                    <a:gd name="connsiteY22" fmla="*/ 25658 h 455278"/>
                    <a:gd name="connsiteX23" fmla="*/ 32933 w 680409"/>
                    <a:gd name="connsiteY23" fmla="*/ 9440 h 455278"/>
                    <a:gd name="connsiteX24" fmla="*/ 61943 w 680409"/>
                    <a:gd name="connsiteY24" fmla="*/ 25658 h 455278"/>
                    <a:gd name="connsiteX25" fmla="*/ 33225 w 680409"/>
                    <a:gd name="connsiteY25" fmla="*/ 130750 h 455278"/>
                    <a:gd name="connsiteX26" fmla="*/ 61533 w 680409"/>
                    <a:gd name="connsiteY26" fmla="*/ 235111 h 455278"/>
                    <a:gd name="connsiteX27" fmla="*/ 32523 w 680409"/>
                    <a:gd name="connsiteY27" fmla="*/ 251329 h 455278"/>
                    <a:gd name="connsiteX28" fmla="*/ 0 w 680409"/>
                    <a:gd name="connsiteY28" fmla="*/ 130750 h 455278"/>
                    <a:gd name="connsiteX29" fmla="*/ 32933 w 680409"/>
                    <a:gd name="connsiteY29" fmla="*/ 9440 h 455278"/>
                    <a:gd name="connsiteX30" fmla="*/ 339691 w 680409"/>
                    <a:gd name="connsiteY30" fmla="*/ 14 h 455278"/>
                    <a:gd name="connsiteX31" fmla="*/ 340219 w 680409"/>
                    <a:gd name="connsiteY31" fmla="*/ 14 h 455278"/>
                    <a:gd name="connsiteX32" fmla="*/ 340745 w 680409"/>
                    <a:gd name="connsiteY32" fmla="*/ 14 h 455278"/>
                    <a:gd name="connsiteX33" fmla="*/ 437758 w 680409"/>
                    <a:gd name="connsiteY33" fmla="*/ 21588 h 455278"/>
                    <a:gd name="connsiteX34" fmla="*/ 445194 w 680409"/>
                    <a:gd name="connsiteY34" fmla="*/ 32127 h 455278"/>
                    <a:gd name="connsiteX35" fmla="*/ 478595 w 680409"/>
                    <a:gd name="connsiteY35" fmla="*/ 221616 h 455278"/>
                    <a:gd name="connsiteX36" fmla="*/ 483367 w 680409"/>
                    <a:gd name="connsiteY36" fmla="*/ 248987 h 455278"/>
                    <a:gd name="connsiteX37" fmla="*/ 518876 w 680409"/>
                    <a:gd name="connsiteY37" fmla="*/ 286369 h 455278"/>
                    <a:gd name="connsiteX38" fmla="*/ 534772 w 680409"/>
                    <a:gd name="connsiteY38" fmla="*/ 303201 h 455278"/>
                    <a:gd name="connsiteX39" fmla="*/ 545954 w 680409"/>
                    <a:gd name="connsiteY39" fmla="*/ 327411 h 455278"/>
                    <a:gd name="connsiteX40" fmla="*/ 547008 w 680409"/>
                    <a:gd name="connsiteY40" fmla="*/ 357943 h 455278"/>
                    <a:gd name="connsiteX41" fmla="*/ 340775 w 680409"/>
                    <a:gd name="connsiteY41" fmla="*/ 357943 h 455278"/>
                    <a:gd name="connsiteX42" fmla="*/ 339721 w 680409"/>
                    <a:gd name="connsiteY42" fmla="*/ 357943 h 455278"/>
                    <a:gd name="connsiteX43" fmla="*/ 133487 w 680409"/>
                    <a:gd name="connsiteY43" fmla="*/ 357943 h 455278"/>
                    <a:gd name="connsiteX44" fmla="*/ 134542 w 680409"/>
                    <a:gd name="connsiteY44" fmla="*/ 327411 h 455278"/>
                    <a:gd name="connsiteX45" fmla="*/ 145666 w 680409"/>
                    <a:gd name="connsiteY45" fmla="*/ 303201 h 455278"/>
                    <a:gd name="connsiteX46" fmla="*/ 162088 w 680409"/>
                    <a:gd name="connsiteY46" fmla="*/ 286369 h 455278"/>
                    <a:gd name="connsiteX47" fmla="*/ 197070 w 680409"/>
                    <a:gd name="connsiteY47" fmla="*/ 248987 h 455278"/>
                    <a:gd name="connsiteX48" fmla="*/ 201842 w 680409"/>
                    <a:gd name="connsiteY48" fmla="*/ 221616 h 455278"/>
                    <a:gd name="connsiteX49" fmla="*/ 235770 w 680409"/>
                    <a:gd name="connsiteY49" fmla="*/ 32127 h 455278"/>
                    <a:gd name="connsiteX50" fmla="*/ 243205 w 680409"/>
                    <a:gd name="connsiteY50" fmla="*/ 21588 h 455278"/>
                    <a:gd name="connsiteX51" fmla="*/ 339691 w 680409"/>
                    <a:gd name="connsiteY51" fmla="*/ 14 h 45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80409" h="455278">
                      <a:moveTo>
                        <a:pt x="273797" y="391169"/>
                      </a:moveTo>
                      <a:lnTo>
                        <a:pt x="414076" y="391169"/>
                      </a:lnTo>
                      <a:cubicBezTo>
                        <a:pt x="409129" y="426971"/>
                        <a:pt x="379504" y="455278"/>
                        <a:pt x="343673" y="455278"/>
                      </a:cubicBezTo>
                      <a:cubicBezTo>
                        <a:pt x="307842" y="455278"/>
                        <a:pt x="278656" y="426971"/>
                        <a:pt x="273797" y="391169"/>
                      </a:cubicBezTo>
                      <a:close/>
                      <a:moveTo>
                        <a:pt x="589953" y="41846"/>
                      </a:moveTo>
                      <a:cubicBezTo>
                        <a:pt x="605234" y="67724"/>
                        <a:pt x="614046" y="97847"/>
                        <a:pt x="614046" y="130018"/>
                      </a:cubicBezTo>
                      <a:cubicBezTo>
                        <a:pt x="614046" y="162483"/>
                        <a:pt x="605088" y="192869"/>
                        <a:pt x="589572" y="218893"/>
                      </a:cubicBezTo>
                      <a:lnTo>
                        <a:pt x="560621" y="202705"/>
                      </a:lnTo>
                      <a:cubicBezTo>
                        <a:pt x="573443" y="181452"/>
                        <a:pt x="580849" y="156599"/>
                        <a:pt x="580849" y="130018"/>
                      </a:cubicBezTo>
                      <a:cubicBezTo>
                        <a:pt x="580849" y="103731"/>
                        <a:pt x="573589" y="79111"/>
                        <a:pt x="561001" y="58034"/>
                      </a:cubicBezTo>
                      <a:close/>
                      <a:moveTo>
                        <a:pt x="90865" y="41846"/>
                      </a:moveTo>
                      <a:lnTo>
                        <a:pt x="119818" y="58034"/>
                      </a:lnTo>
                      <a:cubicBezTo>
                        <a:pt x="106995" y="79287"/>
                        <a:pt x="99590" y="104140"/>
                        <a:pt x="99590" y="130721"/>
                      </a:cubicBezTo>
                      <a:cubicBezTo>
                        <a:pt x="99590" y="157009"/>
                        <a:pt x="106849" y="181628"/>
                        <a:pt x="119437" y="202705"/>
                      </a:cubicBezTo>
                      <a:lnTo>
                        <a:pt x="90485" y="218893"/>
                      </a:lnTo>
                      <a:cubicBezTo>
                        <a:pt x="75204" y="193015"/>
                        <a:pt x="66393" y="162893"/>
                        <a:pt x="66393" y="130721"/>
                      </a:cubicBezTo>
                      <a:cubicBezTo>
                        <a:pt x="66393" y="98256"/>
                        <a:pt x="75351" y="67870"/>
                        <a:pt x="90865" y="41846"/>
                      </a:cubicBezTo>
                      <a:close/>
                      <a:moveTo>
                        <a:pt x="647914" y="9440"/>
                      </a:moveTo>
                      <a:cubicBezTo>
                        <a:pt x="668582" y="44920"/>
                        <a:pt x="680438" y="86079"/>
                        <a:pt x="680409" y="130018"/>
                      </a:cubicBezTo>
                      <a:cubicBezTo>
                        <a:pt x="680409" y="174251"/>
                        <a:pt x="668377" y="215703"/>
                        <a:pt x="647476" y="251329"/>
                      </a:cubicBezTo>
                      <a:lnTo>
                        <a:pt x="618495" y="235111"/>
                      </a:lnTo>
                      <a:cubicBezTo>
                        <a:pt x="636703" y="204256"/>
                        <a:pt x="647212" y="168367"/>
                        <a:pt x="647212" y="130018"/>
                      </a:cubicBezTo>
                      <a:cubicBezTo>
                        <a:pt x="647212" y="91963"/>
                        <a:pt x="636878" y="56337"/>
                        <a:pt x="618905" y="25658"/>
                      </a:cubicBezTo>
                      <a:close/>
                      <a:moveTo>
                        <a:pt x="32933" y="9440"/>
                      </a:moveTo>
                      <a:lnTo>
                        <a:pt x="61943" y="25658"/>
                      </a:lnTo>
                      <a:cubicBezTo>
                        <a:pt x="43735" y="56512"/>
                        <a:pt x="33225" y="92402"/>
                        <a:pt x="33225" y="130750"/>
                      </a:cubicBezTo>
                      <a:cubicBezTo>
                        <a:pt x="33225" y="168806"/>
                        <a:pt x="43559" y="204432"/>
                        <a:pt x="61533" y="235111"/>
                      </a:cubicBezTo>
                      <a:lnTo>
                        <a:pt x="32523" y="251329"/>
                      </a:lnTo>
                      <a:cubicBezTo>
                        <a:pt x="11855" y="215849"/>
                        <a:pt x="0" y="174661"/>
                        <a:pt x="0" y="130750"/>
                      </a:cubicBezTo>
                      <a:cubicBezTo>
                        <a:pt x="0" y="86518"/>
                        <a:pt x="12031" y="45066"/>
                        <a:pt x="32933" y="9440"/>
                      </a:cubicBezTo>
                      <a:close/>
                      <a:moveTo>
                        <a:pt x="339691" y="14"/>
                      </a:moveTo>
                      <a:cubicBezTo>
                        <a:pt x="340219" y="14"/>
                        <a:pt x="340219" y="14"/>
                        <a:pt x="340219" y="14"/>
                      </a:cubicBezTo>
                      <a:lnTo>
                        <a:pt x="340745" y="14"/>
                      </a:lnTo>
                      <a:cubicBezTo>
                        <a:pt x="392706" y="-513"/>
                        <a:pt x="425024" y="14212"/>
                        <a:pt x="437758" y="21588"/>
                      </a:cubicBezTo>
                      <a:cubicBezTo>
                        <a:pt x="441476" y="23696"/>
                        <a:pt x="444140" y="27385"/>
                        <a:pt x="445194" y="32127"/>
                      </a:cubicBezTo>
                      <a:cubicBezTo>
                        <a:pt x="445194" y="32127"/>
                        <a:pt x="445194" y="32127"/>
                        <a:pt x="478595" y="221616"/>
                      </a:cubicBezTo>
                      <a:cubicBezTo>
                        <a:pt x="478595" y="221616"/>
                        <a:pt x="478595" y="221616"/>
                        <a:pt x="483367" y="248987"/>
                      </a:cubicBezTo>
                      <a:cubicBezTo>
                        <a:pt x="492354" y="273723"/>
                        <a:pt x="510386" y="280573"/>
                        <a:pt x="518876" y="286369"/>
                      </a:cubicBezTo>
                      <a:cubicBezTo>
                        <a:pt x="520984" y="288477"/>
                        <a:pt x="528419" y="293717"/>
                        <a:pt x="534772" y="303201"/>
                      </a:cubicBezTo>
                      <a:cubicBezTo>
                        <a:pt x="542207" y="313213"/>
                        <a:pt x="544842" y="322669"/>
                        <a:pt x="545954" y="327411"/>
                      </a:cubicBezTo>
                      <a:cubicBezTo>
                        <a:pt x="549115" y="338476"/>
                        <a:pt x="547008" y="357943"/>
                        <a:pt x="547008" y="357943"/>
                      </a:cubicBezTo>
                      <a:cubicBezTo>
                        <a:pt x="547008" y="357943"/>
                        <a:pt x="547008" y="357943"/>
                        <a:pt x="340775" y="357943"/>
                      </a:cubicBezTo>
                      <a:cubicBezTo>
                        <a:pt x="340775" y="357943"/>
                        <a:pt x="340775" y="357943"/>
                        <a:pt x="339721" y="357943"/>
                      </a:cubicBezTo>
                      <a:cubicBezTo>
                        <a:pt x="339721" y="357943"/>
                        <a:pt x="339721" y="357943"/>
                        <a:pt x="133487" y="357943"/>
                      </a:cubicBezTo>
                      <a:cubicBezTo>
                        <a:pt x="133487" y="357943"/>
                        <a:pt x="131351" y="338476"/>
                        <a:pt x="134542" y="327411"/>
                      </a:cubicBezTo>
                      <a:cubicBezTo>
                        <a:pt x="135595" y="322669"/>
                        <a:pt x="138230" y="313213"/>
                        <a:pt x="145666" y="303201"/>
                      </a:cubicBezTo>
                      <a:cubicBezTo>
                        <a:pt x="152018" y="293746"/>
                        <a:pt x="159980" y="288477"/>
                        <a:pt x="162088" y="286369"/>
                      </a:cubicBezTo>
                      <a:cubicBezTo>
                        <a:pt x="170021" y="280573"/>
                        <a:pt x="188054" y="273723"/>
                        <a:pt x="197070" y="248987"/>
                      </a:cubicBezTo>
                      <a:cubicBezTo>
                        <a:pt x="197070" y="248987"/>
                        <a:pt x="197070" y="248987"/>
                        <a:pt x="201842" y="221616"/>
                      </a:cubicBezTo>
                      <a:cubicBezTo>
                        <a:pt x="201842" y="221616"/>
                        <a:pt x="201842" y="221616"/>
                        <a:pt x="235770" y="32127"/>
                      </a:cubicBezTo>
                      <a:cubicBezTo>
                        <a:pt x="236326" y="27385"/>
                        <a:pt x="238961" y="23696"/>
                        <a:pt x="243205" y="21588"/>
                      </a:cubicBezTo>
                      <a:cubicBezTo>
                        <a:pt x="255384" y="14212"/>
                        <a:pt x="287730" y="-513"/>
                        <a:pt x="339691" y="14"/>
                      </a:cubicBezTo>
                      <a:close/>
                    </a:path>
                  </a:pathLst>
                </a:custGeom>
                <a:grpFill/>
                <a:ln w="2926"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198" name="Freihandform: Form 197">
                  <a:extLst>
                    <a:ext uri="{FF2B5EF4-FFF2-40B4-BE49-F238E27FC236}">
                      <a16:creationId xmlns:a16="http://schemas.microsoft.com/office/drawing/2014/main" id="{C0582443-0A85-615D-6AF9-2D958138B1CC}"/>
                    </a:ext>
                  </a:extLst>
                </p:cNvPr>
                <p:cNvSpPr/>
                <p:nvPr/>
              </p:nvSpPr>
              <p:spPr>
                <a:xfrm>
                  <a:off x="1493583" y="1633419"/>
                  <a:ext cx="230442" cy="166132"/>
                </a:xfrm>
                <a:custGeom>
                  <a:avLst/>
                  <a:gdLst>
                    <a:gd name="connsiteX0" fmla="*/ 599818 w 713605"/>
                    <a:gd name="connsiteY0" fmla="*/ 350875 h 514456"/>
                    <a:gd name="connsiteX1" fmla="*/ 713605 w 713605"/>
                    <a:gd name="connsiteY1" fmla="*/ 464691 h 514456"/>
                    <a:gd name="connsiteX2" fmla="*/ 665216 w 713605"/>
                    <a:gd name="connsiteY2" fmla="*/ 514456 h 514456"/>
                    <a:gd name="connsiteX3" fmla="*/ 550053 w 713605"/>
                    <a:gd name="connsiteY3" fmla="*/ 400670 h 514456"/>
                    <a:gd name="connsiteX4" fmla="*/ 599818 w 713605"/>
                    <a:gd name="connsiteY4" fmla="*/ 350875 h 514456"/>
                    <a:gd name="connsiteX5" fmla="*/ 398298 w 713605"/>
                    <a:gd name="connsiteY5" fmla="*/ 116158 h 514456"/>
                    <a:gd name="connsiteX6" fmla="*/ 431494 w 713605"/>
                    <a:gd name="connsiteY6" fmla="*/ 116158 h 514456"/>
                    <a:gd name="connsiteX7" fmla="*/ 431494 w 713605"/>
                    <a:gd name="connsiteY7" fmla="*/ 248914 h 514456"/>
                    <a:gd name="connsiteX8" fmla="*/ 464691 w 713605"/>
                    <a:gd name="connsiteY8" fmla="*/ 248914 h 514456"/>
                    <a:gd name="connsiteX9" fmla="*/ 464691 w 713605"/>
                    <a:gd name="connsiteY9" fmla="*/ 215718 h 514456"/>
                    <a:gd name="connsiteX10" fmla="*/ 497887 w 713605"/>
                    <a:gd name="connsiteY10" fmla="*/ 215718 h 514456"/>
                    <a:gd name="connsiteX11" fmla="*/ 497887 w 713605"/>
                    <a:gd name="connsiteY11" fmla="*/ 248914 h 514456"/>
                    <a:gd name="connsiteX12" fmla="*/ 497887 w 713605"/>
                    <a:gd name="connsiteY12" fmla="*/ 265512 h 514456"/>
                    <a:gd name="connsiteX13" fmla="*/ 497887 w 713605"/>
                    <a:gd name="connsiteY13" fmla="*/ 282111 h 514456"/>
                    <a:gd name="connsiteX14" fmla="*/ 215747 w 713605"/>
                    <a:gd name="connsiteY14" fmla="*/ 282111 h 514456"/>
                    <a:gd name="connsiteX15" fmla="*/ 215747 w 713605"/>
                    <a:gd name="connsiteY15" fmla="*/ 331905 h 514456"/>
                    <a:gd name="connsiteX16" fmla="*/ 182551 w 713605"/>
                    <a:gd name="connsiteY16" fmla="*/ 331905 h 514456"/>
                    <a:gd name="connsiteX17" fmla="*/ 182551 w 713605"/>
                    <a:gd name="connsiteY17" fmla="*/ 282111 h 514456"/>
                    <a:gd name="connsiteX18" fmla="*/ 116158 w 713605"/>
                    <a:gd name="connsiteY18" fmla="*/ 282111 h 514456"/>
                    <a:gd name="connsiteX19" fmla="*/ 116158 w 713605"/>
                    <a:gd name="connsiteY19" fmla="*/ 331905 h 514456"/>
                    <a:gd name="connsiteX20" fmla="*/ 82991 w 713605"/>
                    <a:gd name="connsiteY20" fmla="*/ 331905 h 514456"/>
                    <a:gd name="connsiteX21" fmla="*/ 82991 w 713605"/>
                    <a:gd name="connsiteY21" fmla="*/ 282111 h 514456"/>
                    <a:gd name="connsiteX22" fmla="*/ 0 w 713605"/>
                    <a:gd name="connsiteY22" fmla="*/ 282111 h 514456"/>
                    <a:gd name="connsiteX23" fmla="*/ 0 w 713605"/>
                    <a:gd name="connsiteY23" fmla="*/ 265512 h 514456"/>
                    <a:gd name="connsiteX24" fmla="*/ 0 w 713605"/>
                    <a:gd name="connsiteY24" fmla="*/ 248914 h 514456"/>
                    <a:gd name="connsiteX25" fmla="*/ 0 w 713605"/>
                    <a:gd name="connsiteY25" fmla="*/ 165923 h 514456"/>
                    <a:gd name="connsiteX26" fmla="*/ 33196 w 713605"/>
                    <a:gd name="connsiteY26" fmla="*/ 165923 h 514456"/>
                    <a:gd name="connsiteX27" fmla="*/ 33196 w 713605"/>
                    <a:gd name="connsiteY27" fmla="*/ 248914 h 514456"/>
                    <a:gd name="connsiteX28" fmla="*/ 66393 w 713605"/>
                    <a:gd name="connsiteY28" fmla="*/ 248914 h 514456"/>
                    <a:gd name="connsiteX29" fmla="*/ 66393 w 713605"/>
                    <a:gd name="connsiteY29" fmla="*/ 132756 h 514456"/>
                    <a:gd name="connsiteX30" fmla="*/ 99589 w 713605"/>
                    <a:gd name="connsiteY30" fmla="*/ 132756 h 514456"/>
                    <a:gd name="connsiteX31" fmla="*/ 99589 w 713605"/>
                    <a:gd name="connsiteY31" fmla="*/ 248914 h 514456"/>
                    <a:gd name="connsiteX32" fmla="*/ 132756 w 713605"/>
                    <a:gd name="connsiteY32" fmla="*/ 248914 h 514456"/>
                    <a:gd name="connsiteX33" fmla="*/ 132756 w 713605"/>
                    <a:gd name="connsiteY33" fmla="*/ 165923 h 514456"/>
                    <a:gd name="connsiteX34" fmla="*/ 165952 w 713605"/>
                    <a:gd name="connsiteY34" fmla="*/ 165923 h 514456"/>
                    <a:gd name="connsiteX35" fmla="*/ 165952 w 713605"/>
                    <a:gd name="connsiteY35" fmla="*/ 248914 h 514456"/>
                    <a:gd name="connsiteX36" fmla="*/ 199149 w 713605"/>
                    <a:gd name="connsiteY36" fmla="*/ 248914 h 514456"/>
                    <a:gd name="connsiteX37" fmla="*/ 199149 w 713605"/>
                    <a:gd name="connsiteY37" fmla="*/ 232316 h 514456"/>
                    <a:gd name="connsiteX38" fmla="*/ 232345 w 713605"/>
                    <a:gd name="connsiteY38" fmla="*/ 232316 h 514456"/>
                    <a:gd name="connsiteX39" fmla="*/ 232345 w 713605"/>
                    <a:gd name="connsiteY39" fmla="*/ 248914 h 514456"/>
                    <a:gd name="connsiteX40" fmla="*/ 265542 w 713605"/>
                    <a:gd name="connsiteY40" fmla="*/ 248914 h 514456"/>
                    <a:gd name="connsiteX41" fmla="*/ 265542 w 713605"/>
                    <a:gd name="connsiteY41" fmla="*/ 182521 h 514456"/>
                    <a:gd name="connsiteX42" fmla="*/ 298738 w 713605"/>
                    <a:gd name="connsiteY42" fmla="*/ 182521 h 514456"/>
                    <a:gd name="connsiteX43" fmla="*/ 298738 w 713605"/>
                    <a:gd name="connsiteY43" fmla="*/ 248914 h 514456"/>
                    <a:gd name="connsiteX44" fmla="*/ 331935 w 713605"/>
                    <a:gd name="connsiteY44" fmla="*/ 248914 h 514456"/>
                    <a:gd name="connsiteX45" fmla="*/ 331935 w 713605"/>
                    <a:gd name="connsiteY45" fmla="*/ 149354 h 514456"/>
                    <a:gd name="connsiteX46" fmla="*/ 365101 w 713605"/>
                    <a:gd name="connsiteY46" fmla="*/ 149354 h 514456"/>
                    <a:gd name="connsiteX47" fmla="*/ 365101 w 713605"/>
                    <a:gd name="connsiteY47" fmla="*/ 248914 h 514456"/>
                    <a:gd name="connsiteX48" fmla="*/ 398298 w 713605"/>
                    <a:gd name="connsiteY48" fmla="*/ 248914 h 514456"/>
                    <a:gd name="connsiteX49" fmla="*/ 406582 w 713605"/>
                    <a:gd name="connsiteY49" fmla="*/ 0 h 514456"/>
                    <a:gd name="connsiteX50" fmla="*/ 614045 w 713605"/>
                    <a:gd name="connsiteY50" fmla="*/ 207433 h 514456"/>
                    <a:gd name="connsiteX51" fmla="*/ 406582 w 713605"/>
                    <a:gd name="connsiteY51" fmla="*/ 414896 h 514456"/>
                    <a:gd name="connsiteX52" fmla="*/ 240600 w 713605"/>
                    <a:gd name="connsiteY52" fmla="*/ 331905 h 514456"/>
                    <a:gd name="connsiteX53" fmla="*/ 309774 w 713605"/>
                    <a:gd name="connsiteY53" fmla="*/ 331905 h 514456"/>
                    <a:gd name="connsiteX54" fmla="*/ 406582 w 713605"/>
                    <a:gd name="connsiteY54" fmla="*/ 365101 h 514456"/>
                    <a:gd name="connsiteX55" fmla="*/ 564250 w 713605"/>
                    <a:gd name="connsiteY55" fmla="*/ 207433 h 514456"/>
                    <a:gd name="connsiteX56" fmla="*/ 406582 w 713605"/>
                    <a:gd name="connsiteY56" fmla="*/ 49765 h 514456"/>
                    <a:gd name="connsiteX57" fmla="*/ 291624 w 713605"/>
                    <a:gd name="connsiteY57" fmla="*/ 99560 h 514456"/>
                    <a:gd name="connsiteX58" fmla="*/ 229359 w 713605"/>
                    <a:gd name="connsiteY58" fmla="*/ 99560 h 514456"/>
                    <a:gd name="connsiteX59" fmla="*/ 406582 w 713605"/>
                    <a:gd name="connsiteY59" fmla="*/ 0 h 5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13605" h="514456">
                      <a:moveTo>
                        <a:pt x="599818" y="350875"/>
                      </a:moveTo>
                      <a:lnTo>
                        <a:pt x="713605" y="464691"/>
                      </a:lnTo>
                      <a:lnTo>
                        <a:pt x="665216" y="514456"/>
                      </a:lnTo>
                      <a:lnTo>
                        <a:pt x="550053" y="400670"/>
                      </a:lnTo>
                      <a:cubicBezTo>
                        <a:pt x="568964" y="386589"/>
                        <a:pt x="585767" y="369786"/>
                        <a:pt x="599818" y="350875"/>
                      </a:cubicBezTo>
                      <a:close/>
                      <a:moveTo>
                        <a:pt x="398298" y="116158"/>
                      </a:moveTo>
                      <a:lnTo>
                        <a:pt x="431494" y="116158"/>
                      </a:lnTo>
                      <a:lnTo>
                        <a:pt x="431494" y="248914"/>
                      </a:lnTo>
                      <a:lnTo>
                        <a:pt x="464691" y="248914"/>
                      </a:lnTo>
                      <a:lnTo>
                        <a:pt x="464691" y="215718"/>
                      </a:lnTo>
                      <a:lnTo>
                        <a:pt x="497887" y="215718"/>
                      </a:lnTo>
                      <a:lnTo>
                        <a:pt x="497887" y="248914"/>
                      </a:lnTo>
                      <a:lnTo>
                        <a:pt x="497887" y="265512"/>
                      </a:lnTo>
                      <a:lnTo>
                        <a:pt x="497887" y="282111"/>
                      </a:lnTo>
                      <a:lnTo>
                        <a:pt x="215747" y="282111"/>
                      </a:lnTo>
                      <a:lnTo>
                        <a:pt x="215747" y="331905"/>
                      </a:lnTo>
                      <a:lnTo>
                        <a:pt x="182551" y="331905"/>
                      </a:lnTo>
                      <a:lnTo>
                        <a:pt x="182551" y="282111"/>
                      </a:lnTo>
                      <a:lnTo>
                        <a:pt x="116158" y="282111"/>
                      </a:lnTo>
                      <a:lnTo>
                        <a:pt x="116158" y="331905"/>
                      </a:lnTo>
                      <a:lnTo>
                        <a:pt x="82991" y="331905"/>
                      </a:lnTo>
                      <a:lnTo>
                        <a:pt x="82991" y="282111"/>
                      </a:lnTo>
                      <a:lnTo>
                        <a:pt x="0" y="282111"/>
                      </a:lnTo>
                      <a:lnTo>
                        <a:pt x="0" y="265512"/>
                      </a:lnTo>
                      <a:lnTo>
                        <a:pt x="0" y="248914"/>
                      </a:lnTo>
                      <a:lnTo>
                        <a:pt x="0" y="165923"/>
                      </a:lnTo>
                      <a:lnTo>
                        <a:pt x="33196" y="165923"/>
                      </a:lnTo>
                      <a:lnTo>
                        <a:pt x="33196" y="248914"/>
                      </a:lnTo>
                      <a:lnTo>
                        <a:pt x="66393" y="248914"/>
                      </a:lnTo>
                      <a:lnTo>
                        <a:pt x="66393" y="132756"/>
                      </a:lnTo>
                      <a:lnTo>
                        <a:pt x="99589" y="132756"/>
                      </a:lnTo>
                      <a:lnTo>
                        <a:pt x="99589" y="248914"/>
                      </a:lnTo>
                      <a:lnTo>
                        <a:pt x="132756" y="248914"/>
                      </a:lnTo>
                      <a:lnTo>
                        <a:pt x="132756" y="165923"/>
                      </a:lnTo>
                      <a:lnTo>
                        <a:pt x="165952" y="165923"/>
                      </a:lnTo>
                      <a:lnTo>
                        <a:pt x="165952" y="248914"/>
                      </a:lnTo>
                      <a:lnTo>
                        <a:pt x="199149" y="248914"/>
                      </a:lnTo>
                      <a:lnTo>
                        <a:pt x="199149" y="232316"/>
                      </a:lnTo>
                      <a:lnTo>
                        <a:pt x="232345" y="232316"/>
                      </a:lnTo>
                      <a:lnTo>
                        <a:pt x="232345" y="248914"/>
                      </a:lnTo>
                      <a:lnTo>
                        <a:pt x="265542" y="248914"/>
                      </a:lnTo>
                      <a:lnTo>
                        <a:pt x="265542" y="182521"/>
                      </a:lnTo>
                      <a:lnTo>
                        <a:pt x="298738" y="182521"/>
                      </a:lnTo>
                      <a:lnTo>
                        <a:pt x="298738" y="248914"/>
                      </a:lnTo>
                      <a:lnTo>
                        <a:pt x="331935" y="248914"/>
                      </a:lnTo>
                      <a:lnTo>
                        <a:pt x="331935" y="149354"/>
                      </a:lnTo>
                      <a:lnTo>
                        <a:pt x="365101" y="149354"/>
                      </a:lnTo>
                      <a:lnTo>
                        <a:pt x="365101" y="248914"/>
                      </a:lnTo>
                      <a:lnTo>
                        <a:pt x="398298" y="248914"/>
                      </a:lnTo>
                      <a:close/>
                      <a:moveTo>
                        <a:pt x="406582" y="0"/>
                      </a:moveTo>
                      <a:cubicBezTo>
                        <a:pt x="521159" y="0"/>
                        <a:pt x="614045" y="92856"/>
                        <a:pt x="614045" y="207433"/>
                      </a:cubicBezTo>
                      <a:cubicBezTo>
                        <a:pt x="614045" y="322011"/>
                        <a:pt x="521159" y="414896"/>
                        <a:pt x="406582" y="414896"/>
                      </a:cubicBezTo>
                      <a:cubicBezTo>
                        <a:pt x="338696" y="414896"/>
                        <a:pt x="278451" y="382314"/>
                        <a:pt x="240600" y="331905"/>
                      </a:cubicBezTo>
                      <a:lnTo>
                        <a:pt x="309774" y="331905"/>
                      </a:lnTo>
                      <a:cubicBezTo>
                        <a:pt x="336501" y="352689"/>
                        <a:pt x="370078" y="365101"/>
                        <a:pt x="406582" y="365101"/>
                      </a:cubicBezTo>
                      <a:cubicBezTo>
                        <a:pt x="493671" y="365101"/>
                        <a:pt x="564250" y="294523"/>
                        <a:pt x="564250" y="207433"/>
                      </a:cubicBezTo>
                      <a:cubicBezTo>
                        <a:pt x="564250" y="120373"/>
                        <a:pt x="493671" y="49765"/>
                        <a:pt x="406582" y="49765"/>
                      </a:cubicBezTo>
                      <a:cubicBezTo>
                        <a:pt x="361237" y="49765"/>
                        <a:pt x="320371" y="68910"/>
                        <a:pt x="291624" y="99560"/>
                      </a:cubicBezTo>
                      <a:lnTo>
                        <a:pt x="229359" y="99560"/>
                      </a:lnTo>
                      <a:cubicBezTo>
                        <a:pt x="265776" y="39871"/>
                        <a:pt x="331524" y="0"/>
                        <a:pt x="406582" y="0"/>
                      </a:cubicBezTo>
                      <a:close/>
                    </a:path>
                  </a:pathLst>
                </a:custGeom>
                <a:grpFill/>
                <a:ln w="2926"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grpSp>
          <p:grpSp>
            <p:nvGrpSpPr>
              <p:cNvPr id="201" name="Gruppieren 200">
                <a:extLst>
                  <a:ext uri="{FF2B5EF4-FFF2-40B4-BE49-F238E27FC236}">
                    <a16:creationId xmlns:a16="http://schemas.microsoft.com/office/drawing/2014/main" id="{2C564246-90BC-ED69-6C5A-4DBCFC654C7A}"/>
                  </a:ext>
                </a:extLst>
              </p:cNvPr>
              <p:cNvGrpSpPr>
                <a:grpSpLocks/>
              </p:cNvGrpSpPr>
              <p:nvPr/>
            </p:nvGrpSpPr>
            <p:grpSpPr>
              <a:xfrm>
                <a:off x="6758901" y="3260511"/>
                <a:ext cx="416595" cy="219258"/>
                <a:chOff x="2916390" y="1073334"/>
                <a:chExt cx="683616" cy="352368"/>
              </a:xfrm>
              <a:solidFill>
                <a:schemeClr val="tx1"/>
              </a:solidFill>
            </p:grpSpPr>
            <p:sp>
              <p:nvSpPr>
                <p:cNvPr id="202" name="Freihandform: Form 201">
                  <a:extLst>
                    <a:ext uri="{FF2B5EF4-FFF2-40B4-BE49-F238E27FC236}">
                      <a16:creationId xmlns:a16="http://schemas.microsoft.com/office/drawing/2014/main" id="{F5D3F2BF-A286-2BEA-650E-B5215BC6762B}"/>
                    </a:ext>
                  </a:extLst>
                </p:cNvPr>
                <p:cNvSpPr/>
                <p:nvPr/>
              </p:nvSpPr>
              <p:spPr>
                <a:xfrm>
                  <a:off x="3255141" y="1073334"/>
                  <a:ext cx="344865" cy="344864"/>
                </a:xfrm>
                <a:custGeom>
                  <a:avLst/>
                  <a:gdLst>
                    <a:gd name="connsiteX0" fmla="*/ 564147 w 1128239"/>
                    <a:gd name="connsiteY0" fmla="*/ 0 h 1128239"/>
                    <a:gd name="connsiteX1" fmla="*/ 546720 w 1128239"/>
                    <a:gd name="connsiteY1" fmla="*/ 484 h 1128239"/>
                    <a:gd name="connsiteX2" fmla="*/ 159794 w 1128239"/>
                    <a:gd name="connsiteY2" fmla="*/ 171412 h 1128239"/>
                    <a:gd name="connsiteX3" fmla="*/ 0 w 1128239"/>
                    <a:gd name="connsiteY3" fmla="*/ 564093 h 1128239"/>
                    <a:gd name="connsiteX4" fmla="*/ 159794 w 1128239"/>
                    <a:gd name="connsiteY4" fmla="*/ 956989 h 1128239"/>
                    <a:gd name="connsiteX5" fmla="*/ 545860 w 1128239"/>
                    <a:gd name="connsiteY5" fmla="*/ 1127756 h 1128239"/>
                    <a:gd name="connsiteX6" fmla="*/ 564147 w 1128239"/>
                    <a:gd name="connsiteY6" fmla="*/ 1128240 h 1128239"/>
                    <a:gd name="connsiteX7" fmla="*/ 842805 w 1128239"/>
                    <a:gd name="connsiteY7" fmla="*/ 1054447 h 1128239"/>
                    <a:gd name="connsiteX8" fmla="*/ 1038850 w 1128239"/>
                    <a:gd name="connsiteY8" fmla="*/ 868460 h 1128239"/>
                    <a:gd name="connsiteX9" fmla="*/ 1048370 w 1128239"/>
                    <a:gd name="connsiteY9" fmla="*/ 853777 h 1128239"/>
                    <a:gd name="connsiteX10" fmla="*/ 1128240 w 1128239"/>
                    <a:gd name="connsiteY10" fmla="*/ 564147 h 1128239"/>
                    <a:gd name="connsiteX11" fmla="*/ 564147 w 1128239"/>
                    <a:gd name="connsiteY11" fmla="*/ 0 h 1128239"/>
                    <a:gd name="connsiteX12" fmla="*/ 837265 w 1128239"/>
                    <a:gd name="connsiteY12" fmla="*/ 796227 h 1128239"/>
                    <a:gd name="connsiteX13" fmla="*/ 862652 w 1128239"/>
                    <a:gd name="connsiteY13" fmla="*/ 600398 h 1128239"/>
                    <a:gd name="connsiteX14" fmla="*/ 1054501 w 1128239"/>
                    <a:gd name="connsiteY14" fmla="*/ 600398 h 1128239"/>
                    <a:gd name="connsiteX15" fmla="*/ 997274 w 1128239"/>
                    <a:gd name="connsiteY15" fmla="*/ 796227 h 1128239"/>
                    <a:gd name="connsiteX16" fmla="*/ 837265 w 1128239"/>
                    <a:gd name="connsiteY16" fmla="*/ 796227 h 1128239"/>
                    <a:gd name="connsiteX17" fmla="*/ 738785 w 1128239"/>
                    <a:gd name="connsiteY17" fmla="*/ 868406 h 1128239"/>
                    <a:gd name="connsiteX18" fmla="*/ 715443 w 1128239"/>
                    <a:gd name="connsiteY18" fmla="*/ 921061 h 1128239"/>
                    <a:gd name="connsiteX19" fmla="*/ 600559 w 1128239"/>
                    <a:gd name="connsiteY19" fmla="*/ 1046487 h 1128239"/>
                    <a:gd name="connsiteX20" fmla="*/ 600559 w 1128239"/>
                    <a:gd name="connsiteY20" fmla="*/ 868406 h 1128239"/>
                    <a:gd name="connsiteX21" fmla="*/ 738785 w 1128239"/>
                    <a:gd name="connsiteY21" fmla="*/ 868406 h 1128239"/>
                    <a:gd name="connsiteX22" fmla="*/ 736957 w 1128239"/>
                    <a:gd name="connsiteY22" fmla="*/ 1024328 h 1128239"/>
                    <a:gd name="connsiteX23" fmla="*/ 816773 w 1128239"/>
                    <a:gd name="connsiteY23" fmla="*/ 868460 h 1128239"/>
                    <a:gd name="connsiteX24" fmla="*/ 949836 w 1128239"/>
                    <a:gd name="connsiteY24" fmla="*/ 868460 h 1128239"/>
                    <a:gd name="connsiteX25" fmla="*/ 736957 w 1128239"/>
                    <a:gd name="connsiteY25" fmla="*/ 1024328 h 1128239"/>
                    <a:gd name="connsiteX26" fmla="*/ 600559 w 1128239"/>
                    <a:gd name="connsiteY26" fmla="*/ 796227 h 1128239"/>
                    <a:gd name="connsiteX27" fmla="*/ 600559 w 1128239"/>
                    <a:gd name="connsiteY27" fmla="*/ 600398 h 1128239"/>
                    <a:gd name="connsiteX28" fmla="*/ 789827 w 1128239"/>
                    <a:gd name="connsiteY28" fmla="*/ 600398 h 1128239"/>
                    <a:gd name="connsiteX29" fmla="*/ 761967 w 1128239"/>
                    <a:gd name="connsiteY29" fmla="*/ 796227 h 1128239"/>
                    <a:gd name="connsiteX30" fmla="*/ 600559 w 1128239"/>
                    <a:gd name="connsiteY30" fmla="*/ 796227 h 1128239"/>
                    <a:gd name="connsiteX31" fmla="*/ 600559 w 1128239"/>
                    <a:gd name="connsiteY31" fmla="*/ 527788 h 1128239"/>
                    <a:gd name="connsiteX32" fmla="*/ 600559 w 1128239"/>
                    <a:gd name="connsiteY32" fmla="*/ 334702 h 1128239"/>
                    <a:gd name="connsiteX33" fmla="*/ 762773 w 1128239"/>
                    <a:gd name="connsiteY33" fmla="*/ 334702 h 1128239"/>
                    <a:gd name="connsiteX34" fmla="*/ 789827 w 1128239"/>
                    <a:gd name="connsiteY34" fmla="*/ 527788 h 1128239"/>
                    <a:gd name="connsiteX35" fmla="*/ 600559 w 1128239"/>
                    <a:gd name="connsiteY35" fmla="*/ 527788 h 1128239"/>
                    <a:gd name="connsiteX36" fmla="*/ 600559 w 1128239"/>
                    <a:gd name="connsiteY36" fmla="*/ 262039 h 1128239"/>
                    <a:gd name="connsiteX37" fmla="*/ 600559 w 1128239"/>
                    <a:gd name="connsiteY37" fmla="*/ 81860 h 1128239"/>
                    <a:gd name="connsiteX38" fmla="*/ 715550 w 1128239"/>
                    <a:gd name="connsiteY38" fmla="*/ 207770 h 1128239"/>
                    <a:gd name="connsiteX39" fmla="*/ 739700 w 1128239"/>
                    <a:gd name="connsiteY39" fmla="*/ 262092 h 1128239"/>
                    <a:gd name="connsiteX40" fmla="*/ 600559 w 1128239"/>
                    <a:gd name="connsiteY40" fmla="*/ 262092 h 1128239"/>
                    <a:gd name="connsiteX41" fmla="*/ 817311 w 1128239"/>
                    <a:gd name="connsiteY41" fmla="*/ 262039 h 1128239"/>
                    <a:gd name="connsiteX42" fmla="*/ 736903 w 1128239"/>
                    <a:gd name="connsiteY42" fmla="*/ 103751 h 1128239"/>
                    <a:gd name="connsiteX43" fmla="*/ 951826 w 1128239"/>
                    <a:gd name="connsiteY43" fmla="*/ 262039 h 1128239"/>
                    <a:gd name="connsiteX44" fmla="*/ 817311 w 1128239"/>
                    <a:gd name="connsiteY44" fmla="*/ 262039 h 1128239"/>
                    <a:gd name="connsiteX45" fmla="*/ 1054501 w 1128239"/>
                    <a:gd name="connsiteY45" fmla="*/ 527788 h 1128239"/>
                    <a:gd name="connsiteX46" fmla="*/ 862652 w 1128239"/>
                    <a:gd name="connsiteY46" fmla="*/ 527788 h 1128239"/>
                    <a:gd name="connsiteX47" fmla="*/ 837803 w 1128239"/>
                    <a:gd name="connsiteY47" fmla="*/ 334702 h 1128239"/>
                    <a:gd name="connsiteX48" fmla="*/ 998619 w 1128239"/>
                    <a:gd name="connsiteY48" fmla="*/ 334702 h 1128239"/>
                    <a:gd name="connsiteX49" fmla="*/ 1054501 w 1128239"/>
                    <a:gd name="connsiteY49" fmla="*/ 527788 h 1128239"/>
                    <a:gd name="connsiteX50" fmla="*/ 527788 w 1128239"/>
                    <a:gd name="connsiteY50" fmla="*/ 868406 h 1128239"/>
                    <a:gd name="connsiteX51" fmla="*/ 527788 w 1128239"/>
                    <a:gd name="connsiteY51" fmla="*/ 1051704 h 1128239"/>
                    <a:gd name="connsiteX52" fmla="*/ 397845 w 1128239"/>
                    <a:gd name="connsiteY52" fmla="*/ 921115 h 1128239"/>
                    <a:gd name="connsiteX53" fmla="*/ 374341 w 1128239"/>
                    <a:gd name="connsiteY53" fmla="*/ 868406 h 1128239"/>
                    <a:gd name="connsiteX54" fmla="*/ 527788 w 1128239"/>
                    <a:gd name="connsiteY54" fmla="*/ 868406 h 1128239"/>
                    <a:gd name="connsiteX55" fmla="*/ 296515 w 1128239"/>
                    <a:gd name="connsiteY55" fmla="*/ 868406 h 1128239"/>
                    <a:gd name="connsiteX56" fmla="*/ 369500 w 1128239"/>
                    <a:gd name="connsiteY56" fmla="*/ 1015346 h 1128239"/>
                    <a:gd name="connsiteX57" fmla="*/ 178565 w 1128239"/>
                    <a:gd name="connsiteY57" fmla="*/ 868406 h 1128239"/>
                    <a:gd name="connsiteX58" fmla="*/ 296515 w 1128239"/>
                    <a:gd name="connsiteY58" fmla="*/ 868406 h 1128239"/>
                    <a:gd name="connsiteX59" fmla="*/ 527788 w 1128239"/>
                    <a:gd name="connsiteY59" fmla="*/ 600451 h 1128239"/>
                    <a:gd name="connsiteX60" fmla="*/ 527788 w 1128239"/>
                    <a:gd name="connsiteY60" fmla="*/ 796281 h 1128239"/>
                    <a:gd name="connsiteX61" fmla="*/ 350945 w 1128239"/>
                    <a:gd name="connsiteY61" fmla="*/ 796281 h 1128239"/>
                    <a:gd name="connsiteX62" fmla="*/ 323084 w 1128239"/>
                    <a:gd name="connsiteY62" fmla="*/ 600451 h 1128239"/>
                    <a:gd name="connsiteX63" fmla="*/ 527788 w 1128239"/>
                    <a:gd name="connsiteY63" fmla="*/ 600451 h 1128239"/>
                    <a:gd name="connsiteX64" fmla="*/ 250636 w 1128239"/>
                    <a:gd name="connsiteY64" fmla="*/ 600451 h 1128239"/>
                    <a:gd name="connsiteX65" fmla="*/ 276023 w 1128239"/>
                    <a:gd name="connsiteY65" fmla="*/ 796281 h 1128239"/>
                    <a:gd name="connsiteX66" fmla="*/ 131127 w 1128239"/>
                    <a:gd name="connsiteY66" fmla="*/ 796281 h 1128239"/>
                    <a:gd name="connsiteX67" fmla="*/ 74277 w 1128239"/>
                    <a:gd name="connsiteY67" fmla="*/ 600451 h 1128239"/>
                    <a:gd name="connsiteX68" fmla="*/ 250636 w 1128239"/>
                    <a:gd name="connsiteY68" fmla="*/ 600451 h 1128239"/>
                    <a:gd name="connsiteX69" fmla="*/ 275162 w 1128239"/>
                    <a:gd name="connsiteY69" fmla="*/ 334702 h 1128239"/>
                    <a:gd name="connsiteX70" fmla="*/ 250636 w 1128239"/>
                    <a:gd name="connsiteY70" fmla="*/ 527788 h 1128239"/>
                    <a:gd name="connsiteX71" fmla="*/ 74223 w 1128239"/>
                    <a:gd name="connsiteY71" fmla="*/ 527788 h 1128239"/>
                    <a:gd name="connsiteX72" fmla="*/ 129782 w 1128239"/>
                    <a:gd name="connsiteY72" fmla="*/ 334702 h 1128239"/>
                    <a:gd name="connsiteX73" fmla="*/ 275162 w 1128239"/>
                    <a:gd name="connsiteY73" fmla="*/ 334702 h 1128239"/>
                    <a:gd name="connsiteX74" fmla="*/ 176682 w 1128239"/>
                    <a:gd name="connsiteY74" fmla="*/ 262039 h 1128239"/>
                    <a:gd name="connsiteX75" fmla="*/ 369608 w 1128239"/>
                    <a:gd name="connsiteY75" fmla="*/ 112894 h 1128239"/>
                    <a:gd name="connsiteX76" fmla="*/ 295600 w 1128239"/>
                    <a:gd name="connsiteY76" fmla="*/ 262039 h 1128239"/>
                    <a:gd name="connsiteX77" fmla="*/ 176682 w 1128239"/>
                    <a:gd name="connsiteY77" fmla="*/ 262039 h 1128239"/>
                    <a:gd name="connsiteX78" fmla="*/ 527788 w 1128239"/>
                    <a:gd name="connsiteY78" fmla="*/ 334702 h 1128239"/>
                    <a:gd name="connsiteX79" fmla="*/ 527788 w 1128239"/>
                    <a:gd name="connsiteY79" fmla="*/ 527788 h 1128239"/>
                    <a:gd name="connsiteX80" fmla="*/ 323138 w 1128239"/>
                    <a:gd name="connsiteY80" fmla="*/ 527788 h 1128239"/>
                    <a:gd name="connsiteX81" fmla="*/ 350568 w 1128239"/>
                    <a:gd name="connsiteY81" fmla="*/ 334702 h 1128239"/>
                    <a:gd name="connsiteX82" fmla="*/ 527788 w 1128239"/>
                    <a:gd name="connsiteY82" fmla="*/ 334702 h 1128239"/>
                    <a:gd name="connsiteX83" fmla="*/ 527788 w 1128239"/>
                    <a:gd name="connsiteY83" fmla="*/ 76482 h 1128239"/>
                    <a:gd name="connsiteX84" fmla="*/ 527788 w 1128239"/>
                    <a:gd name="connsiteY84" fmla="*/ 262092 h 1128239"/>
                    <a:gd name="connsiteX85" fmla="*/ 373588 w 1128239"/>
                    <a:gd name="connsiteY85" fmla="*/ 262092 h 1128239"/>
                    <a:gd name="connsiteX86" fmla="*/ 397845 w 1128239"/>
                    <a:gd name="connsiteY86" fmla="*/ 207555 h 1128239"/>
                    <a:gd name="connsiteX87" fmla="*/ 527788 w 1128239"/>
                    <a:gd name="connsiteY87" fmla="*/ 76482 h 112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28239" h="1128239">
                      <a:moveTo>
                        <a:pt x="564147" y="0"/>
                      </a:moveTo>
                      <a:lnTo>
                        <a:pt x="546720" y="484"/>
                      </a:lnTo>
                      <a:cubicBezTo>
                        <a:pt x="399996" y="5056"/>
                        <a:pt x="262576" y="65779"/>
                        <a:pt x="159794" y="171412"/>
                      </a:cubicBezTo>
                      <a:cubicBezTo>
                        <a:pt x="56743" y="277367"/>
                        <a:pt x="0" y="416831"/>
                        <a:pt x="0" y="564093"/>
                      </a:cubicBezTo>
                      <a:cubicBezTo>
                        <a:pt x="0" y="711463"/>
                        <a:pt x="56743" y="850980"/>
                        <a:pt x="159794" y="956989"/>
                      </a:cubicBezTo>
                      <a:cubicBezTo>
                        <a:pt x="262415" y="1062569"/>
                        <a:pt x="399512" y="1123184"/>
                        <a:pt x="545860" y="1127756"/>
                      </a:cubicBezTo>
                      <a:cubicBezTo>
                        <a:pt x="549894" y="1128240"/>
                        <a:pt x="564147" y="1128240"/>
                        <a:pt x="564147" y="1128240"/>
                      </a:cubicBezTo>
                      <a:cubicBezTo>
                        <a:pt x="661820" y="1128240"/>
                        <a:pt x="758202" y="1102746"/>
                        <a:pt x="842805" y="1054447"/>
                      </a:cubicBezTo>
                      <a:cubicBezTo>
                        <a:pt x="921976" y="1009268"/>
                        <a:pt x="989583" y="945103"/>
                        <a:pt x="1038850" y="868460"/>
                      </a:cubicBezTo>
                      <a:lnTo>
                        <a:pt x="1048370" y="853777"/>
                      </a:lnTo>
                      <a:cubicBezTo>
                        <a:pt x="1100648" y="766377"/>
                        <a:pt x="1128240" y="666337"/>
                        <a:pt x="1128240" y="564147"/>
                      </a:cubicBezTo>
                      <a:cubicBezTo>
                        <a:pt x="1128293" y="253057"/>
                        <a:pt x="875237" y="0"/>
                        <a:pt x="564147" y="0"/>
                      </a:cubicBezTo>
                      <a:close/>
                      <a:moveTo>
                        <a:pt x="837265" y="796227"/>
                      </a:moveTo>
                      <a:cubicBezTo>
                        <a:pt x="851948" y="734106"/>
                        <a:pt x="860446" y="668435"/>
                        <a:pt x="862652" y="600398"/>
                      </a:cubicBezTo>
                      <a:lnTo>
                        <a:pt x="1054501" y="600398"/>
                      </a:lnTo>
                      <a:cubicBezTo>
                        <a:pt x="1049338" y="668865"/>
                        <a:pt x="1029706" y="736042"/>
                        <a:pt x="997274" y="796227"/>
                      </a:cubicBezTo>
                      <a:lnTo>
                        <a:pt x="837265" y="796227"/>
                      </a:lnTo>
                      <a:close/>
                      <a:moveTo>
                        <a:pt x="738785" y="868406"/>
                      </a:moveTo>
                      <a:cubicBezTo>
                        <a:pt x="731847" y="886532"/>
                        <a:pt x="724048" y="904173"/>
                        <a:pt x="715443" y="921061"/>
                      </a:cubicBezTo>
                      <a:cubicBezTo>
                        <a:pt x="682580" y="985011"/>
                        <a:pt x="642403" y="1028631"/>
                        <a:pt x="600559" y="1046487"/>
                      </a:cubicBezTo>
                      <a:lnTo>
                        <a:pt x="600559" y="868406"/>
                      </a:lnTo>
                      <a:lnTo>
                        <a:pt x="738785" y="868406"/>
                      </a:lnTo>
                      <a:close/>
                      <a:moveTo>
                        <a:pt x="736957" y="1024328"/>
                      </a:moveTo>
                      <a:cubicBezTo>
                        <a:pt x="768690" y="982645"/>
                        <a:pt x="795743" y="929882"/>
                        <a:pt x="816773" y="868460"/>
                      </a:cubicBezTo>
                      <a:lnTo>
                        <a:pt x="949836" y="868460"/>
                      </a:lnTo>
                      <a:cubicBezTo>
                        <a:pt x="894062" y="939133"/>
                        <a:pt x="820538" y="992864"/>
                        <a:pt x="736957" y="1024328"/>
                      </a:cubicBezTo>
                      <a:close/>
                      <a:moveTo>
                        <a:pt x="600559" y="796227"/>
                      </a:moveTo>
                      <a:lnTo>
                        <a:pt x="600559" y="600398"/>
                      </a:lnTo>
                      <a:lnTo>
                        <a:pt x="789827" y="600398"/>
                      </a:lnTo>
                      <a:cubicBezTo>
                        <a:pt x="787460" y="669457"/>
                        <a:pt x="777941" y="736580"/>
                        <a:pt x="761967" y="796227"/>
                      </a:cubicBezTo>
                      <a:lnTo>
                        <a:pt x="600559" y="796227"/>
                      </a:lnTo>
                      <a:close/>
                      <a:moveTo>
                        <a:pt x="600559" y="527788"/>
                      </a:moveTo>
                      <a:lnTo>
                        <a:pt x="600559" y="334702"/>
                      </a:lnTo>
                      <a:lnTo>
                        <a:pt x="762773" y="334702"/>
                      </a:lnTo>
                      <a:cubicBezTo>
                        <a:pt x="778210" y="394295"/>
                        <a:pt x="787460" y="460450"/>
                        <a:pt x="789827" y="527788"/>
                      </a:cubicBezTo>
                      <a:lnTo>
                        <a:pt x="600559" y="527788"/>
                      </a:lnTo>
                      <a:close/>
                      <a:moveTo>
                        <a:pt x="600559" y="262039"/>
                      </a:moveTo>
                      <a:lnTo>
                        <a:pt x="600559" y="81860"/>
                      </a:lnTo>
                      <a:cubicBezTo>
                        <a:pt x="642672" y="100039"/>
                        <a:pt x="682849" y="143766"/>
                        <a:pt x="715550" y="207770"/>
                      </a:cubicBezTo>
                      <a:cubicBezTo>
                        <a:pt x="724102" y="223959"/>
                        <a:pt x="732062" y="241869"/>
                        <a:pt x="739700" y="262092"/>
                      </a:cubicBezTo>
                      <a:lnTo>
                        <a:pt x="600559" y="262092"/>
                      </a:lnTo>
                      <a:close/>
                      <a:moveTo>
                        <a:pt x="817311" y="262039"/>
                      </a:moveTo>
                      <a:cubicBezTo>
                        <a:pt x="796496" y="199702"/>
                        <a:pt x="769227" y="146079"/>
                        <a:pt x="736903" y="103751"/>
                      </a:cubicBezTo>
                      <a:cubicBezTo>
                        <a:pt x="821398" y="135376"/>
                        <a:pt x="895675" y="189967"/>
                        <a:pt x="951826" y="262039"/>
                      </a:cubicBezTo>
                      <a:lnTo>
                        <a:pt x="817311" y="262039"/>
                      </a:lnTo>
                      <a:close/>
                      <a:moveTo>
                        <a:pt x="1054501" y="527788"/>
                      </a:moveTo>
                      <a:lnTo>
                        <a:pt x="862652" y="527788"/>
                      </a:lnTo>
                      <a:cubicBezTo>
                        <a:pt x="860500" y="459858"/>
                        <a:pt x="852163" y="395048"/>
                        <a:pt x="837803" y="334702"/>
                      </a:cubicBezTo>
                      <a:lnTo>
                        <a:pt x="998619" y="334702"/>
                      </a:lnTo>
                      <a:cubicBezTo>
                        <a:pt x="1030190" y="394026"/>
                        <a:pt x="1049392" y="460235"/>
                        <a:pt x="1054501" y="527788"/>
                      </a:cubicBezTo>
                      <a:close/>
                      <a:moveTo>
                        <a:pt x="527788" y="868406"/>
                      </a:moveTo>
                      <a:lnTo>
                        <a:pt x="527788" y="1051704"/>
                      </a:lnTo>
                      <a:cubicBezTo>
                        <a:pt x="480350" y="1038688"/>
                        <a:pt x="434795" y="993133"/>
                        <a:pt x="397845" y="921115"/>
                      </a:cubicBezTo>
                      <a:cubicBezTo>
                        <a:pt x="389454" y="904657"/>
                        <a:pt x="381602" y="887016"/>
                        <a:pt x="374341" y="868406"/>
                      </a:cubicBezTo>
                      <a:lnTo>
                        <a:pt x="527788" y="868406"/>
                      </a:lnTo>
                      <a:close/>
                      <a:moveTo>
                        <a:pt x="296515" y="868406"/>
                      </a:moveTo>
                      <a:cubicBezTo>
                        <a:pt x="315931" y="925633"/>
                        <a:pt x="340672" y="975330"/>
                        <a:pt x="369500" y="1015346"/>
                      </a:cubicBezTo>
                      <a:cubicBezTo>
                        <a:pt x="294901" y="983021"/>
                        <a:pt x="229069" y="932464"/>
                        <a:pt x="178565" y="868406"/>
                      </a:cubicBezTo>
                      <a:lnTo>
                        <a:pt x="296515" y="868406"/>
                      </a:lnTo>
                      <a:close/>
                      <a:moveTo>
                        <a:pt x="527788" y="600451"/>
                      </a:moveTo>
                      <a:lnTo>
                        <a:pt x="527788" y="796281"/>
                      </a:lnTo>
                      <a:lnTo>
                        <a:pt x="350945" y="796281"/>
                      </a:lnTo>
                      <a:cubicBezTo>
                        <a:pt x="335347" y="736688"/>
                        <a:pt x="325827" y="669565"/>
                        <a:pt x="323084" y="600451"/>
                      </a:cubicBezTo>
                      <a:lnTo>
                        <a:pt x="527788" y="600451"/>
                      </a:lnTo>
                      <a:close/>
                      <a:moveTo>
                        <a:pt x="250636" y="600451"/>
                      </a:moveTo>
                      <a:cubicBezTo>
                        <a:pt x="252788" y="668489"/>
                        <a:pt x="261339" y="734160"/>
                        <a:pt x="276023" y="796281"/>
                      </a:cubicBezTo>
                      <a:lnTo>
                        <a:pt x="131127" y="796281"/>
                      </a:lnTo>
                      <a:cubicBezTo>
                        <a:pt x="98533" y="735881"/>
                        <a:pt x="79063" y="668704"/>
                        <a:pt x="74277" y="600451"/>
                      </a:cubicBezTo>
                      <a:lnTo>
                        <a:pt x="250636" y="600451"/>
                      </a:lnTo>
                      <a:close/>
                      <a:moveTo>
                        <a:pt x="275162" y="334702"/>
                      </a:moveTo>
                      <a:cubicBezTo>
                        <a:pt x="261017" y="395478"/>
                        <a:pt x="252788" y="460289"/>
                        <a:pt x="250636" y="527788"/>
                      </a:cubicBezTo>
                      <a:lnTo>
                        <a:pt x="74223" y="527788"/>
                      </a:lnTo>
                      <a:cubicBezTo>
                        <a:pt x="79010" y="460450"/>
                        <a:pt x="97996" y="394241"/>
                        <a:pt x="129782" y="334702"/>
                      </a:cubicBezTo>
                      <a:lnTo>
                        <a:pt x="275162" y="334702"/>
                      </a:lnTo>
                      <a:close/>
                      <a:moveTo>
                        <a:pt x="176682" y="262039"/>
                      </a:moveTo>
                      <a:cubicBezTo>
                        <a:pt x="227778" y="196959"/>
                        <a:pt x="294255" y="145649"/>
                        <a:pt x="369608" y="112894"/>
                      </a:cubicBezTo>
                      <a:cubicBezTo>
                        <a:pt x="340134" y="153716"/>
                        <a:pt x="315070" y="204166"/>
                        <a:pt x="295600" y="262039"/>
                      </a:cubicBezTo>
                      <a:lnTo>
                        <a:pt x="176682" y="262039"/>
                      </a:lnTo>
                      <a:close/>
                      <a:moveTo>
                        <a:pt x="527788" y="334702"/>
                      </a:moveTo>
                      <a:lnTo>
                        <a:pt x="527788" y="527788"/>
                      </a:lnTo>
                      <a:lnTo>
                        <a:pt x="323138" y="527788"/>
                      </a:lnTo>
                      <a:cubicBezTo>
                        <a:pt x="325827" y="460020"/>
                        <a:pt x="335240" y="393918"/>
                        <a:pt x="350568" y="334702"/>
                      </a:cubicBezTo>
                      <a:lnTo>
                        <a:pt x="527788" y="334702"/>
                      </a:lnTo>
                      <a:close/>
                      <a:moveTo>
                        <a:pt x="527788" y="76482"/>
                      </a:moveTo>
                      <a:lnTo>
                        <a:pt x="527788" y="262092"/>
                      </a:lnTo>
                      <a:lnTo>
                        <a:pt x="373588" y="262092"/>
                      </a:lnTo>
                      <a:cubicBezTo>
                        <a:pt x="381225" y="241869"/>
                        <a:pt x="389239" y="223905"/>
                        <a:pt x="397845" y="207555"/>
                      </a:cubicBezTo>
                      <a:cubicBezTo>
                        <a:pt x="434741" y="135215"/>
                        <a:pt x="480297" y="89498"/>
                        <a:pt x="527788" y="76482"/>
                      </a:cubicBezTo>
                      <a:close/>
                    </a:path>
                  </a:pathLst>
                </a:custGeom>
                <a:grpFill/>
                <a:ln w="4604"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203" name="Freihandform: Form 202">
                  <a:extLst>
                    <a:ext uri="{FF2B5EF4-FFF2-40B4-BE49-F238E27FC236}">
                      <a16:creationId xmlns:a16="http://schemas.microsoft.com/office/drawing/2014/main" id="{6155494B-9135-6B3F-4B25-45A4CC362618}"/>
                    </a:ext>
                  </a:extLst>
                </p:cNvPr>
                <p:cNvSpPr/>
                <p:nvPr/>
              </p:nvSpPr>
              <p:spPr>
                <a:xfrm>
                  <a:off x="2916390" y="1076865"/>
                  <a:ext cx="285425" cy="348837"/>
                </a:xfrm>
                <a:custGeom>
                  <a:avLst/>
                  <a:gdLst>
                    <a:gd name="connsiteX0" fmla="*/ 352591 w 705182"/>
                    <a:gd name="connsiteY0" fmla="*/ 0 h 861853"/>
                    <a:gd name="connsiteX1" fmla="*/ 0 w 705182"/>
                    <a:gd name="connsiteY1" fmla="*/ 160357 h 861853"/>
                    <a:gd name="connsiteX2" fmla="*/ 0 w 705182"/>
                    <a:gd name="connsiteY2" fmla="*/ 391748 h 861853"/>
                    <a:gd name="connsiteX3" fmla="*/ 352591 w 705182"/>
                    <a:gd name="connsiteY3" fmla="*/ 861854 h 861853"/>
                    <a:gd name="connsiteX4" fmla="*/ 705182 w 705182"/>
                    <a:gd name="connsiteY4" fmla="*/ 391748 h 861853"/>
                    <a:gd name="connsiteX5" fmla="*/ 705182 w 705182"/>
                    <a:gd name="connsiteY5" fmla="*/ 160357 h 861853"/>
                    <a:gd name="connsiteX6" fmla="*/ 352591 w 705182"/>
                    <a:gd name="connsiteY6" fmla="*/ 0 h 861853"/>
                    <a:gd name="connsiteX7" fmla="*/ 352591 w 705182"/>
                    <a:gd name="connsiteY7" fmla="*/ 430535 h 861853"/>
                    <a:gd name="connsiteX8" fmla="*/ 626824 w 705182"/>
                    <a:gd name="connsiteY8" fmla="*/ 430535 h 861853"/>
                    <a:gd name="connsiteX9" fmla="*/ 352591 w 705182"/>
                    <a:gd name="connsiteY9" fmla="*/ 780547 h 861853"/>
                    <a:gd name="connsiteX10" fmla="*/ 352591 w 705182"/>
                    <a:gd name="connsiteY10" fmla="*/ 430904 h 861853"/>
                    <a:gd name="connsiteX11" fmla="*/ 78359 w 705182"/>
                    <a:gd name="connsiteY11" fmla="*/ 430904 h 861853"/>
                    <a:gd name="connsiteX12" fmla="*/ 78359 w 705182"/>
                    <a:gd name="connsiteY12" fmla="*/ 207621 h 861853"/>
                    <a:gd name="connsiteX13" fmla="*/ 352591 w 705182"/>
                    <a:gd name="connsiteY13" fmla="*/ 85775 h 861853"/>
                    <a:gd name="connsiteX14" fmla="*/ 352591 w 705182"/>
                    <a:gd name="connsiteY14" fmla="*/ 430535 h 86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5182" h="861853">
                      <a:moveTo>
                        <a:pt x="352591" y="0"/>
                      </a:moveTo>
                      <a:lnTo>
                        <a:pt x="0" y="160357"/>
                      </a:lnTo>
                      <a:lnTo>
                        <a:pt x="0" y="391748"/>
                      </a:lnTo>
                      <a:cubicBezTo>
                        <a:pt x="0" y="609365"/>
                        <a:pt x="150222" y="812287"/>
                        <a:pt x="352591" y="861854"/>
                      </a:cubicBezTo>
                      <a:cubicBezTo>
                        <a:pt x="554914" y="812287"/>
                        <a:pt x="705182" y="609365"/>
                        <a:pt x="705182" y="391748"/>
                      </a:cubicBezTo>
                      <a:lnTo>
                        <a:pt x="705182" y="160357"/>
                      </a:lnTo>
                      <a:lnTo>
                        <a:pt x="352591" y="0"/>
                      </a:lnTo>
                      <a:close/>
                      <a:moveTo>
                        <a:pt x="352591" y="430535"/>
                      </a:moveTo>
                      <a:lnTo>
                        <a:pt x="626824" y="430535"/>
                      </a:lnTo>
                      <a:cubicBezTo>
                        <a:pt x="606048" y="591952"/>
                        <a:pt x="498529" y="735724"/>
                        <a:pt x="352591" y="780547"/>
                      </a:cubicBezTo>
                      <a:lnTo>
                        <a:pt x="352591" y="430904"/>
                      </a:lnTo>
                      <a:lnTo>
                        <a:pt x="78359" y="430904"/>
                      </a:lnTo>
                      <a:lnTo>
                        <a:pt x="78359" y="207621"/>
                      </a:lnTo>
                      <a:lnTo>
                        <a:pt x="352591" y="85775"/>
                      </a:lnTo>
                      <a:lnTo>
                        <a:pt x="352591" y="430535"/>
                      </a:lnTo>
                      <a:close/>
                    </a:path>
                  </a:pathLst>
                </a:custGeom>
                <a:grpFill/>
                <a:ln w="4604"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grpSp>
          <p:pic>
            <p:nvPicPr>
              <p:cNvPr id="204" name="Grafik 203">
                <a:extLst>
                  <a:ext uri="{FF2B5EF4-FFF2-40B4-BE49-F238E27FC236}">
                    <a16:creationId xmlns:a16="http://schemas.microsoft.com/office/drawing/2014/main" id="{39903018-D42D-A4C2-310F-75855749DF8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66080" y="3632711"/>
                <a:ext cx="518697" cy="363282"/>
              </a:xfrm>
              <a:prstGeom prst="rect">
                <a:avLst/>
              </a:prstGeom>
            </p:spPr>
          </p:pic>
          <p:sp>
            <p:nvSpPr>
              <p:cNvPr id="205" name="Freihandform: Form 204">
                <a:extLst>
                  <a:ext uri="{FF2B5EF4-FFF2-40B4-BE49-F238E27FC236}">
                    <a16:creationId xmlns:a16="http://schemas.microsoft.com/office/drawing/2014/main" id="{955EFD2A-E757-571A-4FE9-8868BA2BCDBA}"/>
                  </a:ext>
                </a:extLst>
              </p:cNvPr>
              <p:cNvSpPr/>
              <p:nvPr/>
            </p:nvSpPr>
            <p:spPr>
              <a:xfrm>
                <a:off x="7360568" y="3123284"/>
                <a:ext cx="381129" cy="453062"/>
              </a:xfrm>
              <a:custGeom>
                <a:avLst/>
                <a:gdLst>
                  <a:gd name="connsiteX0" fmla="*/ 597894 w 1018525"/>
                  <a:gd name="connsiteY0" fmla="*/ 247054 h 1227436"/>
                  <a:gd name="connsiteX1" fmla="*/ 420769 w 1018525"/>
                  <a:gd name="connsiteY1" fmla="*/ 247054 h 1227436"/>
                  <a:gd name="connsiteX2" fmla="*/ 420769 w 1018525"/>
                  <a:gd name="connsiteY2" fmla="*/ 162107 h 1227436"/>
                  <a:gd name="connsiteX3" fmla="*/ 421092 w 1018525"/>
                  <a:gd name="connsiteY3" fmla="*/ 161785 h 1227436"/>
                  <a:gd name="connsiteX4" fmla="*/ 449607 w 1018525"/>
                  <a:gd name="connsiteY4" fmla="*/ 125254 h 1227436"/>
                  <a:gd name="connsiteX5" fmla="*/ 479918 w 1018525"/>
                  <a:gd name="connsiteY5" fmla="*/ 122997 h 1227436"/>
                  <a:gd name="connsiteX6" fmla="*/ 509355 w 1018525"/>
                  <a:gd name="connsiteY6" fmla="*/ 154414 h 1227436"/>
                  <a:gd name="connsiteX7" fmla="*/ 539068 w 1018525"/>
                  <a:gd name="connsiteY7" fmla="*/ 122997 h 1227436"/>
                  <a:gd name="connsiteX8" fmla="*/ 569379 w 1018525"/>
                  <a:gd name="connsiteY8" fmla="*/ 125254 h 1227436"/>
                  <a:gd name="connsiteX9" fmla="*/ 597894 w 1018525"/>
                  <a:gd name="connsiteY9" fmla="*/ 161785 h 1227436"/>
                  <a:gd name="connsiteX10" fmla="*/ 597894 w 1018525"/>
                  <a:gd name="connsiteY10" fmla="*/ 162107 h 1227436"/>
                  <a:gd name="connsiteX11" fmla="*/ 597894 w 1018525"/>
                  <a:gd name="connsiteY11" fmla="*/ 247054 h 1227436"/>
                  <a:gd name="connsiteX12" fmla="*/ 509355 w 1018525"/>
                  <a:gd name="connsiteY12" fmla="*/ 101899 h 1227436"/>
                  <a:gd name="connsiteX13" fmla="*/ 551091 w 1018525"/>
                  <a:gd name="connsiteY13" fmla="*/ 50949 h 1227436"/>
                  <a:gd name="connsiteX14" fmla="*/ 509355 w 1018525"/>
                  <a:gd name="connsiteY14" fmla="*/ 0 h 1227436"/>
                  <a:gd name="connsiteX15" fmla="*/ 467619 w 1018525"/>
                  <a:gd name="connsiteY15" fmla="*/ 50949 h 1227436"/>
                  <a:gd name="connsiteX16" fmla="*/ 509355 w 1018525"/>
                  <a:gd name="connsiteY16" fmla="*/ 101899 h 1227436"/>
                  <a:gd name="connsiteX17" fmla="*/ 990010 w 1018525"/>
                  <a:gd name="connsiteY17" fmla="*/ 400546 h 1227436"/>
                  <a:gd name="connsiteX18" fmla="*/ 959699 w 1018525"/>
                  <a:gd name="connsiteY18" fmla="*/ 398289 h 1227436"/>
                  <a:gd name="connsiteX19" fmla="*/ 929986 w 1018525"/>
                  <a:gd name="connsiteY19" fmla="*/ 429706 h 1227436"/>
                  <a:gd name="connsiteX20" fmla="*/ 900550 w 1018525"/>
                  <a:gd name="connsiteY20" fmla="*/ 398289 h 1227436"/>
                  <a:gd name="connsiteX21" fmla="*/ 870238 w 1018525"/>
                  <a:gd name="connsiteY21" fmla="*/ 400546 h 1227436"/>
                  <a:gd name="connsiteX22" fmla="*/ 841723 w 1018525"/>
                  <a:gd name="connsiteY22" fmla="*/ 437077 h 1227436"/>
                  <a:gd name="connsiteX23" fmla="*/ 841401 w 1018525"/>
                  <a:gd name="connsiteY23" fmla="*/ 437399 h 1227436"/>
                  <a:gd name="connsiteX24" fmla="*/ 841401 w 1018525"/>
                  <a:gd name="connsiteY24" fmla="*/ 522346 h 1227436"/>
                  <a:gd name="connsiteX25" fmla="*/ 1018525 w 1018525"/>
                  <a:gd name="connsiteY25" fmla="*/ 522346 h 1227436"/>
                  <a:gd name="connsiteX26" fmla="*/ 1018525 w 1018525"/>
                  <a:gd name="connsiteY26" fmla="*/ 437399 h 1227436"/>
                  <a:gd name="connsiteX27" fmla="*/ 1018525 w 1018525"/>
                  <a:gd name="connsiteY27" fmla="*/ 437077 h 1227436"/>
                  <a:gd name="connsiteX28" fmla="*/ 990010 w 1018525"/>
                  <a:gd name="connsiteY28" fmla="*/ 400546 h 1227436"/>
                  <a:gd name="connsiteX29" fmla="*/ 929986 w 1018525"/>
                  <a:gd name="connsiteY29" fmla="*/ 377145 h 1227436"/>
                  <a:gd name="connsiteX30" fmla="*/ 971722 w 1018525"/>
                  <a:gd name="connsiteY30" fmla="*/ 326195 h 1227436"/>
                  <a:gd name="connsiteX31" fmla="*/ 929986 w 1018525"/>
                  <a:gd name="connsiteY31" fmla="*/ 275246 h 1227436"/>
                  <a:gd name="connsiteX32" fmla="*/ 888250 w 1018525"/>
                  <a:gd name="connsiteY32" fmla="*/ 326195 h 1227436"/>
                  <a:gd name="connsiteX33" fmla="*/ 929986 w 1018525"/>
                  <a:gd name="connsiteY33" fmla="*/ 377145 h 1227436"/>
                  <a:gd name="connsiteX34" fmla="*/ 569932 w 1018525"/>
                  <a:gd name="connsiteY34" fmla="*/ 1105637 h 1227436"/>
                  <a:gd name="connsiteX35" fmla="*/ 539620 w 1018525"/>
                  <a:gd name="connsiteY35" fmla="*/ 1103380 h 1227436"/>
                  <a:gd name="connsiteX36" fmla="*/ 509908 w 1018525"/>
                  <a:gd name="connsiteY36" fmla="*/ 1134797 h 1227436"/>
                  <a:gd name="connsiteX37" fmla="*/ 480471 w 1018525"/>
                  <a:gd name="connsiteY37" fmla="*/ 1103380 h 1227436"/>
                  <a:gd name="connsiteX38" fmla="*/ 450160 w 1018525"/>
                  <a:gd name="connsiteY38" fmla="*/ 1105637 h 1227436"/>
                  <a:gd name="connsiteX39" fmla="*/ 421645 w 1018525"/>
                  <a:gd name="connsiteY39" fmla="*/ 1142168 h 1227436"/>
                  <a:gd name="connsiteX40" fmla="*/ 421322 w 1018525"/>
                  <a:gd name="connsiteY40" fmla="*/ 1142490 h 1227436"/>
                  <a:gd name="connsiteX41" fmla="*/ 421322 w 1018525"/>
                  <a:gd name="connsiteY41" fmla="*/ 1227436 h 1227436"/>
                  <a:gd name="connsiteX42" fmla="*/ 598447 w 1018525"/>
                  <a:gd name="connsiteY42" fmla="*/ 1227436 h 1227436"/>
                  <a:gd name="connsiteX43" fmla="*/ 598447 w 1018525"/>
                  <a:gd name="connsiteY43" fmla="*/ 1142490 h 1227436"/>
                  <a:gd name="connsiteX44" fmla="*/ 598447 w 1018525"/>
                  <a:gd name="connsiteY44" fmla="*/ 1142168 h 1227436"/>
                  <a:gd name="connsiteX45" fmla="*/ 569932 w 1018525"/>
                  <a:gd name="connsiteY45" fmla="*/ 1105637 h 1227436"/>
                  <a:gd name="connsiteX46" fmla="*/ 509861 w 1018525"/>
                  <a:gd name="connsiteY46" fmla="*/ 1082281 h 1227436"/>
                  <a:gd name="connsiteX47" fmla="*/ 551598 w 1018525"/>
                  <a:gd name="connsiteY47" fmla="*/ 1031332 h 1227436"/>
                  <a:gd name="connsiteX48" fmla="*/ 509861 w 1018525"/>
                  <a:gd name="connsiteY48" fmla="*/ 980383 h 1227436"/>
                  <a:gd name="connsiteX49" fmla="*/ 468125 w 1018525"/>
                  <a:gd name="connsiteY49" fmla="*/ 1031332 h 1227436"/>
                  <a:gd name="connsiteX50" fmla="*/ 509861 w 1018525"/>
                  <a:gd name="connsiteY50" fmla="*/ 1082281 h 1227436"/>
                  <a:gd name="connsiteX51" fmla="*/ 963937 w 1018525"/>
                  <a:gd name="connsiteY51" fmla="*/ 844487 h 1227436"/>
                  <a:gd name="connsiteX52" fmla="*/ 933625 w 1018525"/>
                  <a:gd name="connsiteY52" fmla="*/ 842230 h 1227436"/>
                  <a:gd name="connsiteX53" fmla="*/ 903913 w 1018525"/>
                  <a:gd name="connsiteY53" fmla="*/ 873647 h 1227436"/>
                  <a:gd name="connsiteX54" fmla="*/ 874476 w 1018525"/>
                  <a:gd name="connsiteY54" fmla="*/ 842230 h 1227436"/>
                  <a:gd name="connsiteX55" fmla="*/ 844164 w 1018525"/>
                  <a:gd name="connsiteY55" fmla="*/ 844487 h 1227436"/>
                  <a:gd name="connsiteX56" fmla="*/ 815649 w 1018525"/>
                  <a:gd name="connsiteY56" fmla="*/ 881018 h 1227436"/>
                  <a:gd name="connsiteX57" fmla="*/ 815327 w 1018525"/>
                  <a:gd name="connsiteY57" fmla="*/ 881340 h 1227436"/>
                  <a:gd name="connsiteX58" fmla="*/ 815327 w 1018525"/>
                  <a:gd name="connsiteY58" fmla="*/ 966287 h 1227436"/>
                  <a:gd name="connsiteX59" fmla="*/ 992452 w 1018525"/>
                  <a:gd name="connsiteY59" fmla="*/ 966287 h 1227436"/>
                  <a:gd name="connsiteX60" fmla="*/ 992452 w 1018525"/>
                  <a:gd name="connsiteY60" fmla="*/ 881340 h 1227436"/>
                  <a:gd name="connsiteX61" fmla="*/ 992452 w 1018525"/>
                  <a:gd name="connsiteY61" fmla="*/ 881018 h 1227436"/>
                  <a:gd name="connsiteX62" fmla="*/ 963937 w 1018525"/>
                  <a:gd name="connsiteY62" fmla="*/ 844487 h 1227436"/>
                  <a:gd name="connsiteX63" fmla="*/ 903866 w 1018525"/>
                  <a:gd name="connsiteY63" fmla="*/ 821086 h 1227436"/>
                  <a:gd name="connsiteX64" fmla="*/ 945602 w 1018525"/>
                  <a:gd name="connsiteY64" fmla="*/ 770136 h 1227436"/>
                  <a:gd name="connsiteX65" fmla="*/ 903866 w 1018525"/>
                  <a:gd name="connsiteY65" fmla="*/ 719187 h 1227436"/>
                  <a:gd name="connsiteX66" fmla="*/ 862130 w 1018525"/>
                  <a:gd name="connsiteY66" fmla="*/ 770136 h 1227436"/>
                  <a:gd name="connsiteX67" fmla="*/ 903866 w 1018525"/>
                  <a:gd name="connsiteY67" fmla="*/ 821086 h 1227436"/>
                  <a:gd name="connsiteX68" fmla="*/ 200849 w 1018525"/>
                  <a:gd name="connsiteY68" fmla="*/ 844441 h 1227436"/>
                  <a:gd name="connsiteX69" fmla="*/ 170537 w 1018525"/>
                  <a:gd name="connsiteY69" fmla="*/ 842184 h 1227436"/>
                  <a:gd name="connsiteX70" fmla="*/ 140825 w 1018525"/>
                  <a:gd name="connsiteY70" fmla="*/ 873601 h 1227436"/>
                  <a:gd name="connsiteX71" fmla="*/ 111388 w 1018525"/>
                  <a:gd name="connsiteY71" fmla="*/ 842184 h 1227436"/>
                  <a:gd name="connsiteX72" fmla="*/ 81077 w 1018525"/>
                  <a:gd name="connsiteY72" fmla="*/ 844441 h 1227436"/>
                  <a:gd name="connsiteX73" fmla="*/ 52562 w 1018525"/>
                  <a:gd name="connsiteY73" fmla="*/ 880972 h 1227436"/>
                  <a:gd name="connsiteX74" fmla="*/ 52239 w 1018525"/>
                  <a:gd name="connsiteY74" fmla="*/ 881294 h 1227436"/>
                  <a:gd name="connsiteX75" fmla="*/ 52239 w 1018525"/>
                  <a:gd name="connsiteY75" fmla="*/ 966240 h 1227436"/>
                  <a:gd name="connsiteX76" fmla="*/ 229364 w 1018525"/>
                  <a:gd name="connsiteY76" fmla="*/ 966240 h 1227436"/>
                  <a:gd name="connsiteX77" fmla="*/ 229364 w 1018525"/>
                  <a:gd name="connsiteY77" fmla="*/ 881294 h 1227436"/>
                  <a:gd name="connsiteX78" fmla="*/ 229364 w 1018525"/>
                  <a:gd name="connsiteY78" fmla="*/ 880972 h 1227436"/>
                  <a:gd name="connsiteX79" fmla="*/ 200849 w 1018525"/>
                  <a:gd name="connsiteY79" fmla="*/ 844441 h 1227436"/>
                  <a:gd name="connsiteX80" fmla="*/ 140779 w 1018525"/>
                  <a:gd name="connsiteY80" fmla="*/ 719141 h 1227436"/>
                  <a:gd name="connsiteX81" fmla="*/ 99042 w 1018525"/>
                  <a:gd name="connsiteY81" fmla="*/ 770090 h 1227436"/>
                  <a:gd name="connsiteX82" fmla="*/ 140779 w 1018525"/>
                  <a:gd name="connsiteY82" fmla="*/ 821039 h 1227436"/>
                  <a:gd name="connsiteX83" fmla="*/ 182515 w 1018525"/>
                  <a:gd name="connsiteY83" fmla="*/ 770090 h 1227436"/>
                  <a:gd name="connsiteX84" fmla="*/ 140779 w 1018525"/>
                  <a:gd name="connsiteY84" fmla="*/ 719141 h 1227436"/>
                  <a:gd name="connsiteX85" fmla="*/ 88585 w 1018525"/>
                  <a:gd name="connsiteY85" fmla="*/ 377145 h 1227436"/>
                  <a:gd name="connsiteX86" fmla="*/ 130321 w 1018525"/>
                  <a:gd name="connsiteY86" fmla="*/ 326195 h 1227436"/>
                  <a:gd name="connsiteX87" fmla="*/ 88585 w 1018525"/>
                  <a:gd name="connsiteY87" fmla="*/ 275246 h 1227436"/>
                  <a:gd name="connsiteX88" fmla="*/ 46849 w 1018525"/>
                  <a:gd name="connsiteY88" fmla="*/ 326195 h 1227436"/>
                  <a:gd name="connsiteX89" fmla="*/ 88585 w 1018525"/>
                  <a:gd name="connsiteY89" fmla="*/ 377145 h 1227436"/>
                  <a:gd name="connsiteX90" fmla="*/ 177125 w 1018525"/>
                  <a:gd name="connsiteY90" fmla="*/ 437399 h 1227436"/>
                  <a:gd name="connsiteX91" fmla="*/ 177125 w 1018525"/>
                  <a:gd name="connsiteY91" fmla="*/ 437077 h 1227436"/>
                  <a:gd name="connsiteX92" fmla="*/ 148610 w 1018525"/>
                  <a:gd name="connsiteY92" fmla="*/ 400546 h 1227436"/>
                  <a:gd name="connsiteX93" fmla="*/ 118298 w 1018525"/>
                  <a:gd name="connsiteY93" fmla="*/ 398289 h 1227436"/>
                  <a:gd name="connsiteX94" fmla="*/ 88585 w 1018525"/>
                  <a:gd name="connsiteY94" fmla="*/ 429706 h 1227436"/>
                  <a:gd name="connsiteX95" fmla="*/ 59149 w 1018525"/>
                  <a:gd name="connsiteY95" fmla="*/ 398289 h 1227436"/>
                  <a:gd name="connsiteX96" fmla="*/ 28837 w 1018525"/>
                  <a:gd name="connsiteY96" fmla="*/ 400546 h 1227436"/>
                  <a:gd name="connsiteX97" fmla="*/ 322 w 1018525"/>
                  <a:gd name="connsiteY97" fmla="*/ 437077 h 1227436"/>
                  <a:gd name="connsiteX98" fmla="*/ 0 w 1018525"/>
                  <a:gd name="connsiteY98" fmla="*/ 437399 h 1227436"/>
                  <a:gd name="connsiteX99" fmla="*/ 0 w 1018525"/>
                  <a:gd name="connsiteY99" fmla="*/ 522346 h 1227436"/>
                  <a:gd name="connsiteX100" fmla="*/ 177125 w 1018525"/>
                  <a:gd name="connsiteY100" fmla="*/ 522346 h 1227436"/>
                  <a:gd name="connsiteX101" fmla="*/ 177125 w 1018525"/>
                  <a:gd name="connsiteY101" fmla="*/ 437399 h 1227436"/>
                  <a:gd name="connsiteX102" fmla="*/ 327439 w 1018525"/>
                  <a:gd name="connsiteY102" fmla="*/ 716838 h 1227436"/>
                  <a:gd name="connsiteX103" fmla="*/ 327900 w 1018525"/>
                  <a:gd name="connsiteY103" fmla="*/ 716607 h 1227436"/>
                  <a:gd name="connsiteX104" fmla="*/ 327439 w 1018525"/>
                  <a:gd name="connsiteY104" fmla="*/ 716607 h 1227436"/>
                  <a:gd name="connsiteX105" fmla="*/ 327439 w 1018525"/>
                  <a:gd name="connsiteY105" fmla="*/ 716838 h 1227436"/>
                  <a:gd name="connsiteX106" fmla="*/ 294317 w 1018525"/>
                  <a:gd name="connsiteY106" fmla="*/ 484571 h 1227436"/>
                  <a:gd name="connsiteX107" fmla="*/ 294548 w 1018525"/>
                  <a:gd name="connsiteY107" fmla="*/ 484157 h 1227436"/>
                  <a:gd name="connsiteX108" fmla="*/ 294824 w 1018525"/>
                  <a:gd name="connsiteY108" fmla="*/ 483742 h 1227436"/>
                  <a:gd name="connsiteX109" fmla="*/ 302287 w 1018525"/>
                  <a:gd name="connsiteY109" fmla="*/ 471581 h 1227436"/>
                  <a:gd name="connsiteX110" fmla="*/ 302748 w 1018525"/>
                  <a:gd name="connsiteY110" fmla="*/ 470844 h 1227436"/>
                  <a:gd name="connsiteX111" fmla="*/ 303254 w 1018525"/>
                  <a:gd name="connsiteY111" fmla="*/ 470106 h 1227436"/>
                  <a:gd name="connsiteX112" fmla="*/ 311316 w 1018525"/>
                  <a:gd name="connsiteY112" fmla="*/ 458866 h 1227436"/>
                  <a:gd name="connsiteX113" fmla="*/ 250416 w 1018525"/>
                  <a:gd name="connsiteY113" fmla="*/ 418374 h 1227436"/>
                  <a:gd name="connsiteX114" fmla="*/ 228719 w 1018525"/>
                  <a:gd name="connsiteY114" fmla="*/ 450989 h 1227436"/>
                  <a:gd name="connsiteX115" fmla="*/ 290264 w 1018525"/>
                  <a:gd name="connsiteY115" fmla="*/ 491942 h 1227436"/>
                  <a:gd name="connsiteX116" fmla="*/ 294317 w 1018525"/>
                  <a:gd name="connsiteY116" fmla="*/ 484571 h 1227436"/>
                  <a:gd name="connsiteX117" fmla="*/ 725498 w 1018525"/>
                  <a:gd name="connsiteY117" fmla="*/ 486782 h 1227436"/>
                  <a:gd name="connsiteX118" fmla="*/ 728032 w 1018525"/>
                  <a:gd name="connsiteY118" fmla="*/ 491481 h 1227436"/>
                  <a:gd name="connsiteX119" fmla="*/ 790958 w 1018525"/>
                  <a:gd name="connsiteY119" fmla="*/ 449008 h 1227436"/>
                  <a:gd name="connsiteX120" fmla="*/ 769030 w 1018525"/>
                  <a:gd name="connsiteY120" fmla="*/ 416531 h 1227436"/>
                  <a:gd name="connsiteX121" fmla="*/ 706979 w 1018525"/>
                  <a:gd name="connsiteY121" fmla="*/ 458452 h 1227436"/>
                  <a:gd name="connsiteX122" fmla="*/ 724300 w 1018525"/>
                  <a:gd name="connsiteY122" fmla="*/ 484663 h 1227436"/>
                  <a:gd name="connsiteX123" fmla="*/ 725498 w 1018525"/>
                  <a:gd name="connsiteY123" fmla="*/ 486782 h 1227436"/>
                  <a:gd name="connsiteX124" fmla="*/ 528933 w 1018525"/>
                  <a:gd name="connsiteY124" fmla="*/ 289527 h 1227436"/>
                  <a:gd name="connsiteX125" fmla="*/ 489777 w 1018525"/>
                  <a:gd name="connsiteY125" fmla="*/ 289527 h 1227436"/>
                  <a:gd name="connsiteX126" fmla="*/ 489777 w 1018525"/>
                  <a:gd name="connsiteY126" fmla="*/ 360653 h 1227436"/>
                  <a:gd name="connsiteX127" fmla="*/ 490053 w 1018525"/>
                  <a:gd name="connsiteY127" fmla="*/ 360607 h 1227436"/>
                  <a:gd name="connsiteX128" fmla="*/ 493877 w 1018525"/>
                  <a:gd name="connsiteY128" fmla="*/ 360331 h 1227436"/>
                  <a:gd name="connsiteX129" fmla="*/ 509309 w 1018525"/>
                  <a:gd name="connsiteY129" fmla="*/ 359870 h 1227436"/>
                  <a:gd name="connsiteX130" fmla="*/ 521056 w 1018525"/>
                  <a:gd name="connsiteY130" fmla="*/ 360146 h 1227436"/>
                  <a:gd name="connsiteX131" fmla="*/ 524188 w 1018525"/>
                  <a:gd name="connsiteY131" fmla="*/ 360284 h 1227436"/>
                  <a:gd name="connsiteX132" fmla="*/ 524419 w 1018525"/>
                  <a:gd name="connsiteY132" fmla="*/ 360284 h 1227436"/>
                  <a:gd name="connsiteX133" fmla="*/ 524649 w 1018525"/>
                  <a:gd name="connsiteY133" fmla="*/ 360284 h 1227436"/>
                  <a:gd name="connsiteX134" fmla="*/ 524879 w 1018525"/>
                  <a:gd name="connsiteY134" fmla="*/ 360284 h 1227436"/>
                  <a:gd name="connsiteX135" fmla="*/ 528979 w 1018525"/>
                  <a:gd name="connsiteY135" fmla="*/ 360607 h 1227436"/>
                  <a:gd name="connsiteX136" fmla="*/ 528979 w 1018525"/>
                  <a:gd name="connsiteY136" fmla="*/ 289527 h 1227436"/>
                  <a:gd name="connsiteX137" fmla="*/ 719509 w 1018525"/>
                  <a:gd name="connsiteY137" fmla="*/ 738535 h 1227436"/>
                  <a:gd name="connsiteX138" fmla="*/ 715870 w 1018525"/>
                  <a:gd name="connsiteY138" fmla="*/ 744293 h 1227436"/>
                  <a:gd name="connsiteX139" fmla="*/ 715732 w 1018525"/>
                  <a:gd name="connsiteY139" fmla="*/ 744523 h 1227436"/>
                  <a:gd name="connsiteX140" fmla="*/ 715594 w 1018525"/>
                  <a:gd name="connsiteY140" fmla="*/ 744754 h 1227436"/>
                  <a:gd name="connsiteX141" fmla="*/ 700668 w 1018525"/>
                  <a:gd name="connsiteY141" fmla="*/ 764885 h 1227436"/>
                  <a:gd name="connsiteX142" fmla="*/ 770551 w 1018525"/>
                  <a:gd name="connsiteY142" fmla="*/ 811366 h 1227436"/>
                  <a:gd name="connsiteX143" fmla="*/ 792248 w 1018525"/>
                  <a:gd name="connsiteY143" fmla="*/ 778751 h 1227436"/>
                  <a:gd name="connsiteX144" fmla="*/ 723056 w 1018525"/>
                  <a:gd name="connsiteY144" fmla="*/ 732730 h 1227436"/>
                  <a:gd name="connsiteX145" fmla="*/ 719509 w 1018525"/>
                  <a:gd name="connsiteY145" fmla="*/ 738535 h 1227436"/>
                  <a:gd name="connsiteX146" fmla="*/ 299062 w 1018525"/>
                  <a:gd name="connsiteY146" fmla="*/ 738443 h 1227436"/>
                  <a:gd name="connsiteX147" fmla="*/ 298970 w 1018525"/>
                  <a:gd name="connsiteY147" fmla="*/ 738258 h 1227436"/>
                  <a:gd name="connsiteX148" fmla="*/ 298463 w 1018525"/>
                  <a:gd name="connsiteY148" fmla="*/ 737429 h 1227436"/>
                  <a:gd name="connsiteX149" fmla="*/ 297450 w 1018525"/>
                  <a:gd name="connsiteY149" fmla="*/ 735817 h 1227436"/>
                  <a:gd name="connsiteX150" fmla="*/ 297358 w 1018525"/>
                  <a:gd name="connsiteY150" fmla="*/ 735679 h 1227436"/>
                  <a:gd name="connsiteX151" fmla="*/ 297266 w 1018525"/>
                  <a:gd name="connsiteY151" fmla="*/ 735540 h 1227436"/>
                  <a:gd name="connsiteX152" fmla="*/ 297082 w 1018525"/>
                  <a:gd name="connsiteY152" fmla="*/ 735218 h 1227436"/>
                  <a:gd name="connsiteX153" fmla="*/ 229825 w 1018525"/>
                  <a:gd name="connsiteY153" fmla="*/ 780639 h 1227436"/>
                  <a:gd name="connsiteX154" fmla="*/ 251752 w 1018525"/>
                  <a:gd name="connsiteY154" fmla="*/ 813116 h 1227436"/>
                  <a:gd name="connsiteX155" fmla="*/ 319930 w 1018525"/>
                  <a:gd name="connsiteY155" fmla="*/ 767096 h 1227436"/>
                  <a:gd name="connsiteX156" fmla="*/ 299108 w 1018525"/>
                  <a:gd name="connsiteY156" fmla="*/ 738581 h 1227436"/>
                  <a:gd name="connsiteX157" fmla="*/ 299062 w 1018525"/>
                  <a:gd name="connsiteY157" fmla="*/ 738443 h 1227436"/>
                  <a:gd name="connsiteX158" fmla="*/ 524188 w 1018525"/>
                  <a:gd name="connsiteY158" fmla="*/ 854760 h 1227436"/>
                  <a:gd name="connsiteX159" fmla="*/ 521056 w 1018525"/>
                  <a:gd name="connsiteY159" fmla="*/ 854898 h 1227436"/>
                  <a:gd name="connsiteX160" fmla="*/ 509309 w 1018525"/>
                  <a:gd name="connsiteY160" fmla="*/ 855175 h 1227436"/>
                  <a:gd name="connsiteX161" fmla="*/ 493877 w 1018525"/>
                  <a:gd name="connsiteY161" fmla="*/ 854714 h 1227436"/>
                  <a:gd name="connsiteX162" fmla="*/ 490145 w 1018525"/>
                  <a:gd name="connsiteY162" fmla="*/ 854484 h 1227436"/>
                  <a:gd name="connsiteX163" fmla="*/ 489730 w 1018525"/>
                  <a:gd name="connsiteY163" fmla="*/ 854438 h 1227436"/>
                  <a:gd name="connsiteX164" fmla="*/ 489730 w 1018525"/>
                  <a:gd name="connsiteY164" fmla="*/ 940167 h 1227436"/>
                  <a:gd name="connsiteX165" fmla="*/ 528887 w 1018525"/>
                  <a:gd name="connsiteY165" fmla="*/ 940167 h 1227436"/>
                  <a:gd name="connsiteX166" fmla="*/ 528887 w 1018525"/>
                  <a:gd name="connsiteY166" fmla="*/ 854438 h 1227436"/>
                  <a:gd name="connsiteX167" fmla="*/ 524465 w 1018525"/>
                  <a:gd name="connsiteY167" fmla="*/ 854760 h 1227436"/>
                  <a:gd name="connsiteX168" fmla="*/ 524188 w 1018525"/>
                  <a:gd name="connsiteY168" fmla="*/ 854760 h 1227436"/>
                  <a:gd name="connsiteX169" fmla="*/ 625857 w 1018525"/>
                  <a:gd name="connsiteY169" fmla="*/ 609872 h 1227436"/>
                  <a:gd name="connsiteX170" fmla="*/ 620329 w 1018525"/>
                  <a:gd name="connsiteY170" fmla="*/ 561640 h 1227436"/>
                  <a:gd name="connsiteX171" fmla="*/ 529394 w 1018525"/>
                  <a:gd name="connsiteY171" fmla="*/ 561640 h 1227436"/>
                  <a:gd name="connsiteX172" fmla="*/ 529394 w 1018525"/>
                  <a:gd name="connsiteY172" fmla="*/ 665842 h 1227436"/>
                  <a:gd name="connsiteX173" fmla="*/ 618394 w 1018525"/>
                  <a:gd name="connsiteY173" fmla="*/ 665842 h 1227436"/>
                  <a:gd name="connsiteX174" fmla="*/ 625857 w 1018525"/>
                  <a:gd name="connsiteY174" fmla="*/ 609872 h 1227436"/>
                  <a:gd name="connsiteX175" fmla="*/ 649534 w 1018525"/>
                  <a:gd name="connsiteY175" fmla="*/ 522300 h 1227436"/>
                  <a:gd name="connsiteX176" fmla="*/ 696983 w 1018525"/>
                  <a:gd name="connsiteY176" fmla="*/ 522300 h 1227436"/>
                  <a:gd name="connsiteX177" fmla="*/ 688921 w 1018525"/>
                  <a:gd name="connsiteY177" fmla="*/ 506315 h 1227436"/>
                  <a:gd name="connsiteX178" fmla="*/ 688414 w 1018525"/>
                  <a:gd name="connsiteY178" fmla="*/ 505393 h 1227436"/>
                  <a:gd name="connsiteX179" fmla="*/ 670725 w 1018525"/>
                  <a:gd name="connsiteY179" fmla="*/ 479274 h 1227436"/>
                  <a:gd name="connsiteX180" fmla="*/ 569287 w 1018525"/>
                  <a:gd name="connsiteY180" fmla="*/ 410220 h 1227436"/>
                  <a:gd name="connsiteX181" fmla="*/ 649534 w 1018525"/>
                  <a:gd name="connsiteY181" fmla="*/ 522300 h 1227436"/>
                  <a:gd name="connsiteX182" fmla="*/ 308368 w 1018525"/>
                  <a:gd name="connsiteY182" fmla="*/ 561594 h 1227436"/>
                  <a:gd name="connsiteX183" fmla="*/ 303346 w 1018525"/>
                  <a:gd name="connsiteY183" fmla="*/ 599092 h 1227436"/>
                  <a:gd name="connsiteX184" fmla="*/ 303162 w 1018525"/>
                  <a:gd name="connsiteY184" fmla="*/ 607522 h 1227436"/>
                  <a:gd name="connsiteX185" fmla="*/ 303945 w 1018525"/>
                  <a:gd name="connsiteY185" fmla="*/ 625212 h 1227436"/>
                  <a:gd name="connsiteX186" fmla="*/ 311546 w 1018525"/>
                  <a:gd name="connsiteY186" fmla="*/ 665796 h 1227436"/>
                  <a:gd name="connsiteX187" fmla="*/ 360100 w 1018525"/>
                  <a:gd name="connsiteY187" fmla="*/ 665796 h 1227436"/>
                  <a:gd name="connsiteX188" fmla="*/ 353513 w 1018525"/>
                  <a:gd name="connsiteY188" fmla="*/ 609595 h 1227436"/>
                  <a:gd name="connsiteX189" fmla="*/ 358442 w 1018525"/>
                  <a:gd name="connsiteY189" fmla="*/ 561594 h 1227436"/>
                  <a:gd name="connsiteX190" fmla="*/ 308368 w 1018525"/>
                  <a:gd name="connsiteY190" fmla="*/ 561594 h 1227436"/>
                  <a:gd name="connsiteX191" fmla="*/ 707071 w 1018525"/>
                  <a:gd name="connsiteY191" fmla="*/ 665842 h 1227436"/>
                  <a:gd name="connsiteX192" fmla="*/ 714672 w 1018525"/>
                  <a:gd name="connsiteY192" fmla="*/ 625258 h 1227436"/>
                  <a:gd name="connsiteX193" fmla="*/ 715455 w 1018525"/>
                  <a:gd name="connsiteY193" fmla="*/ 607568 h 1227436"/>
                  <a:gd name="connsiteX194" fmla="*/ 715271 w 1018525"/>
                  <a:gd name="connsiteY194" fmla="*/ 599138 h 1227436"/>
                  <a:gd name="connsiteX195" fmla="*/ 710296 w 1018525"/>
                  <a:gd name="connsiteY195" fmla="*/ 561640 h 1227436"/>
                  <a:gd name="connsiteX196" fmla="*/ 660176 w 1018525"/>
                  <a:gd name="connsiteY196" fmla="*/ 561640 h 1227436"/>
                  <a:gd name="connsiteX197" fmla="*/ 665105 w 1018525"/>
                  <a:gd name="connsiteY197" fmla="*/ 609641 h 1227436"/>
                  <a:gd name="connsiteX198" fmla="*/ 658517 w 1018525"/>
                  <a:gd name="connsiteY198" fmla="*/ 665842 h 1227436"/>
                  <a:gd name="connsiteX199" fmla="*/ 707071 w 1018525"/>
                  <a:gd name="connsiteY199" fmla="*/ 665842 h 1227436"/>
                  <a:gd name="connsiteX200" fmla="*/ 392761 w 1018525"/>
                  <a:gd name="connsiteY200" fmla="*/ 609872 h 1227436"/>
                  <a:gd name="connsiteX201" fmla="*/ 400224 w 1018525"/>
                  <a:gd name="connsiteY201" fmla="*/ 665842 h 1227436"/>
                  <a:gd name="connsiteX202" fmla="*/ 490237 w 1018525"/>
                  <a:gd name="connsiteY202" fmla="*/ 665842 h 1227436"/>
                  <a:gd name="connsiteX203" fmla="*/ 490237 w 1018525"/>
                  <a:gd name="connsiteY203" fmla="*/ 561640 h 1227436"/>
                  <a:gd name="connsiteX204" fmla="*/ 398289 w 1018525"/>
                  <a:gd name="connsiteY204" fmla="*/ 561640 h 1227436"/>
                  <a:gd name="connsiteX205" fmla="*/ 392761 w 1018525"/>
                  <a:gd name="connsiteY205" fmla="*/ 609872 h 1227436"/>
                  <a:gd name="connsiteX206" fmla="*/ 529394 w 1018525"/>
                  <a:gd name="connsiteY206" fmla="*/ 428555 h 1227436"/>
                  <a:gd name="connsiteX207" fmla="*/ 529394 w 1018525"/>
                  <a:gd name="connsiteY207" fmla="*/ 522300 h 1227436"/>
                  <a:gd name="connsiteX208" fmla="*/ 608489 w 1018525"/>
                  <a:gd name="connsiteY208" fmla="*/ 522300 h 1227436"/>
                  <a:gd name="connsiteX209" fmla="*/ 529394 w 1018525"/>
                  <a:gd name="connsiteY209" fmla="*/ 428555 h 1227436"/>
                  <a:gd name="connsiteX210" fmla="*/ 449284 w 1018525"/>
                  <a:gd name="connsiteY210" fmla="*/ 410266 h 1227436"/>
                  <a:gd name="connsiteX211" fmla="*/ 347892 w 1018525"/>
                  <a:gd name="connsiteY211" fmla="*/ 479320 h 1227436"/>
                  <a:gd name="connsiteX212" fmla="*/ 337620 w 1018525"/>
                  <a:gd name="connsiteY212" fmla="*/ 493278 h 1227436"/>
                  <a:gd name="connsiteX213" fmla="*/ 330157 w 1018525"/>
                  <a:gd name="connsiteY213" fmla="*/ 505439 h 1227436"/>
                  <a:gd name="connsiteX214" fmla="*/ 324583 w 1018525"/>
                  <a:gd name="connsiteY214" fmla="*/ 515896 h 1227436"/>
                  <a:gd name="connsiteX215" fmla="*/ 321589 w 1018525"/>
                  <a:gd name="connsiteY215" fmla="*/ 522346 h 1227436"/>
                  <a:gd name="connsiteX216" fmla="*/ 369083 w 1018525"/>
                  <a:gd name="connsiteY216" fmla="*/ 522346 h 1227436"/>
                  <a:gd name="connsiteX217" fmla="*/ 449284 w 1018525"/>
                  <a:gd name="connsiteY217" fmla="*/ 410266 h 1227436"/>
                  <a:gd name="connsiteX218" fmla="*/ 569149 w 1018525"/>
                  <a:gd name="connsiteY218" fmla="*/ 804916 h 1227436"/>
                  <a:gd name="connsiteX219" fmla="*/ 665013 w 1018525"/>
                  <a:gd name="connsiteY219" fmla="*/ 742727 h 1227436"/>
                  <a:gd name="connsiteX220" fmla="*/ 681090 w 1018525"/>
                  <a:gd name="connsiteY220" fmla="*/ 721675 h 1227436"/>
                  <a:gd name="connsiteX221" fmla="*/ 684315 w 1018525"/>
                  <a:gd name="connsiteY221" fmla="*/ 716607 h 1227436"/>
                  <a:gd name="connsiteX222" fmla="*/ 690948 w 1018525"/>
                  <a:gd name="connsiteY222" fmla="*/ 705091 h 1227436"/>
                  <a:gd name="connsiteX223" fmla="*/ 646356 w 1018525"/>
                  <a:gd name="connsiteY223" fmla="*/ 705091 h 1227436"/>
                  <a:gd name="connsiteX224" fmla="*/ 569149 w 1018525"/>
                  <a:gd name="connsiteY224" fmla="*/ 804916 h 1227436"/>
                  <a:gd name="connsiteX225" fmla="*/ 410082 w 1018525"/>
                  <a:gd name="connsiteY225" fmla="*/ 522300 h 1227436"/>
                  <a:gd name="connsiteX226" fmla="*/ 490191 w 1018525"/>
                  <a:gd name="connsiteY226" fmla="*/ 522300 h 1227436"/>
                  <a:gd name="connsiteX227" fmla="*/ 490191 w 1018525"/>
                  <a:gd name="connsiteY227" fmla="*/ 428232 h 1227436"/>
                  <a:gd name="connsiteX228" fmla="*/ 410082 w 1018525"/>
                  <a:gd name="connsiteY228" fmla="*/ 522300 h 1227436"/>
                  <a:gd name="connsiteX229" fmla="*/ 604712 w 1018525"/>
                  <a:gd name="connsiteY229" fmla="*/ 705137 h 1227436"/>
                  <a:gd name="connsiteX230" fmla="*/ 529394 w 1018525"/>
                  <a:gd name="connsiteY230" fmla="*/ 705137 h 1227436"/>
                  <a:gd name="connsiteX231" fmla="*/ 529394 w 1018525"/>
                  <a:gd name="connsiteY231" fmla="*/ 786720 h 1227436"/>
                  <a:gd name="connsiteX232" fmla="*/ 604712 w 1018525"/>
                  <a:gd name="connsiteY232" fmla="*/ 705137 h 1227436"/>
                  <a:gd name="connsiteX233" fmla="*/ 490237 w 1018525"/>
                  <a:gd name="connsiteY233" fmla="*/ 787043 h 1227436"/>
                  <a:gd name="connsiteX234" fmla="*/ 490237 w 1018525"/>
                  <a:gd name="connsiteY234" fmla="*/ 705137 h 1227436"/>
                  <a:gd name="connsiteX235" fmla="*/ 413906 w 1018525"/>
                  <a:gd name="connsiteY235" fmla="*/ 705137 h 1227436"/>
                  <a:gd name="connsiteX236" fmla="*/ 490237 w 1018525"/>
                  <a:gd name="connsiteY236" fmla="*/ 787043 h 1227436"/>
                  <a:gd name="connsiteX237" fmla="*/ 372308 w 1018525"/>
                  <a:gd name="connsiteY237" fmla="*/ 705137 h 1227436"/>
                  <a:gd name="connsiteX238" fmla="*/ 327715 w 1018525"/>
                  <a:gd name="connsiteY238" fmla="*/ 705137 h 1227436"/>
                  <a:gd name="connsiteX239" fmla="*/ 332829 w 1018525"/>
                  <a:gd name="connsiteY239" fmla="*/ 714212 h 1227436"/>
                  <a:gd name="connsiteX240" fmla="*/ 334349 w 1018525"/>
                  <a:gd name="connsiteY240" fmla="*/ 716653 h 1227436"/>
                  <a:gd name="connsiteX241" fmla="*/ 353651 w 1018525"/>
                  <a:gd name="connsiteY241" fmla="*/ 742773 h 1227436"/>
                  <a:gd name="connsiteX242" fmla="*/ 449469 w 1018525"/>
                  <a:gd name="connsiteY242" fmla="*/ 804916 h 1227436"/>
                  <a:gd name="connsiteX243" fmla="*/ 372308 w 1018525"/>
                  <a:gd name="connsiteY243" fmla="*/ 705137 h 122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1018525" h="1227436">
                    <a:moveTo>
                      <a:pt x="597894" y="247054"/>
                    </a:moveTo>
                    <a:cubicBezTo>
                      <a:pt x="597894" y="247054"/>
                      <a:pt x="597894" y="247054"/>
                      <a:pt x="420769" y="247054"/>
                    </a:cubicBezTo>
                    <a:cubicBezTo>
                      <a:pt x="420769" y="209878"/>
                      <a:pt x="420769" y="169201"/>
                      <a:pt x="420769" y="162107"/>
                    </a:cubicBezTo>
                    <a:lnTo>
                      <a:pt x="421092" y="161785"/>
                    </a:lnTo>
                    <a:cubicBezTo>
                      <a:pt x="421414" y="140963"/>
                      <a:pt x="432793" y="126544"/>
                      <a:pt x="449607" y="125254"/>
                    </a:cubicBezTo>
                    <a:cubicBezTo>
                      <a:pt x="449607" y="125254"/>
                      <a:pt x="449607" y="125254"/>
                      <a:pt x="479918" y="122997"/>
                    </a:cubicBezTo>
                    <a:cubicBezTo>
                      <a:pt x="479918" y="122997"/>
                      <a:pt x="479918" y="122997"/>
                      <a:pt x="509355" y="154414"/>
                    </a:cubicBezTo>
                    <a:cubicBezTo>
                      <a:pt x="509355" y="154414"/>
                      <a:pt x="509355" y="154414"/>
                      <a:pt x="539068" y="122997"/>
                    </a:cubicBezTo>
                    <a:cubicBezTo>
                      <a:pt x="539068" y="122997"/>
                      <a:pt x="539068" y="122997"/>
                      <a:pt x="569379" y="125254"/>
                    </a:cubicBezTo>
                    <a:cubicBezTo>
                      <a:pt x="586193" y="126544"/>
                      <a:pt x="597618" y="140963"/>
                      <a:pt x="597894" y="161785"/>
                    </a:cubicBezTo>
                    <a:lnTo>
                      <a:pt x="597894" y="162107"/>
                    </a:lnTo>
                    <a:cubicBezTo>
                      <a:pt x="597894" y="169201"/>
                      <a:pt x="597894" y="209878"/>
                      <a:pt x="597894" y="247054"/>
                    </a:cubicBezTo>
                    <a:close/>
                    <a:moveTo>
                      <a:pt x="509355" y="101899"/>
                    </a:moveTo>
                    <a:cubicBezTo>
                      <a:pt x="534277" y="101899"/>
                      <a:pt x="551091" y="81399"/>
                      <a:pt x="551091" y="50949"/>
                    </a:cubicBezTo>
                    <a:cubicBezTo>
                      <a:pt x="551091" y="20500"/>
                      <a:pt x="534277" y="0"/>
                      <a:pt x="509355" y="0"/>
                    </a:cubicBezTo>
                    <a:cubicBezTo>
                      <a:pt x="484755" y="0"/>
                      <a:pt x="467619" y="20500"/>
                      <a:pt x="467619" y="50949"/>
                    </a:cubicBezTo>
                    <a:cubicBezTo>
                      <a:pt x="467619" y="81399"/>
                      <a:pt x="484755" y="101899"/>
                      <a:pt x="509355" y="101899"/>
                    </a:cubicBezTo>
                    <a:close/>
                    <a:moveTo>
                      <a:pt x="990010" y="400546"/>
                    </a:moveTo>
                    <a:cubicBezTo>
                      <a:pt x="959699" y="398289"/>
                      <a:pt x="959699" y="398289"/>
                      <a:pt x="959699" y="398289"/>
                    </a:cubicBezTo>
                    <a:cubicBezTo>
                      <a:pt x="929986" y="429706"/>
                      <a:pt x="929986" y="429706"/>
                      <a:pt x="929986" y="429706"/>
                    </a:cubicBezTo>
                    <a:cubicBezTo>
                      <a:pt x="900550" y="398289"/>
                      <a:pt x="900550" y="398289"/>
                      <a:pt x="900550" y="398289"/>
                    </a:cubicBezTo>
                    <a:cubicBezTo>
                      <a:pt x="870238" y="400546"/>
                      <a:pt x="870238" y="400546"/>
                      <a:pt x="870238" y="400546"/>
                    </a:cubicBezTo>
                    <a:cubicBezTo>
                      <a:pt x="853424" y="401836"/>
                      <a:pt x="841999" y="416255"/>
                      <a:pt x="841723" y="437077"/>
                    </a:cubicBezTo>
                    <a:lnTo>
                      <a:pt x="841401" y="437399"/>
                    </a:lnTo>
                    <a:cubicBezTo>
                      <a:pt x="841401" y="444448"/>
                      <a:pt x="841401" y="485170"/>
                      <a:pt x="841401" y="522346"/>
                    </a:cubicBezTo>
                    <a:cubicBezTo>
                      <a:pt x="1018525" y="522346"/>
                      <a:pt x="1018525" y="522346"/>
                      <a:pt x="1018525" y="522346"/>
                    </a:cubicBezTo>
                    <a:cubicBezTo>
                      <a:pt x="1018525" y="485170"/>
                      <a:pt x="1018525" y="444448"/>
                      <a:pt x="1018525" y="437399"/>
                    </a:cubicBezTo>
                    <a:lnTo>
                      <a:pt x="1018525" y="437077"/>
                    </a:lnTo>
                    <a:cubicBezTo>
                      <a:pt x="1018249" y="416209"/>
                      <a:pt x="1006824" y="401790"/>
                      <a:pt x="990010" y="400546"/>
                    </a:cubicBezTo>
                    <a:close/>
                    <a:moveTo>
                      <a:pt x="929986" y="377145"/>
                    </a:moveTo>
                    <a:cubicBezTo>
                      <a:pt x="954908" y="377145"/>
                      <a:pt x="971722" y="356645"/>
                      <a:pt x="971722" y="326195"/>
                    </a:cubicBezTo>
                    <a:cubicBezTo>
                      <a:pt x="971722" y="295746"/>
                      <a:pt x="954908" y="275246"/>
                      <a:pt x="929986" y="275246"/>
                    </a:cubicBezTo>
                    <a:cubicBezTo>
                      <a:pt x="905387" y="275246"/>
                      <a:pt x="888250" y="295746"/>
                      <a:pt x="888250" y="326195"/>
                    </a:cubicBezTo>
                    <a:cubicBezTo>
                      <a:pt x="888250" y="356599"/>
                      <a:pt x="905387" y="377145"/>
                      <a:pt x="929986" y="377145"/>
                    </a:cubicBezTo>
                    <a:close/>
                    <a:moveTo>
                      <a:pt x="569932" y="1105637"/>
                    </a:moveTo>
                    <a:cubicBezTo>
                      <a:pt x="539620" y="1103380"/>
                      <a:pt x="539620" y="1103380"/>
                      <a:pt x="539620" y="1103380"/>
                    </a:cubicBezTo>
                    <a:cubicBezTo>
                      <a:pt x="509908" y="1134797"/>
                      <a:pt x="509908" y="1134797"/>
                      <a:pt x="509908" y="1134797"/>
                    </a:cubicBezTo>
                    <a:cubicBezTo>
                      <a:pt x="480471" y="1103380"/>
                      <a:pt x="480471" y="1103380"/>
                      <a:pt x="480471" y="1103380"/>
                    </a:cubicBezTo>
                    <a:cubicBezTo>
                      <a:pt x="450160" y="1105637"/>
                      <a:pt x="450160" y="1105637"/>
                      <a:pt x="450160" y="1105637"/>
                    </a:cubicBezTo>
                    <a:cubicBezTo>
                      <a:pt x="433345" y="1106927"/>
                      <a:pt x="421921" y="1121346"/>
                      <a:pt x="421645" y="1142168"/>
                    </a:cubicBezTo>
                    <a:lnTo>
                      <a:pt x="421322" y="1142490"/>
                    </a:lnTo>
                    <a:cubicBezTo>
                      <a:pt x="421322" y="1149538"/>
                      <a:pt x="421322" y="1190261"/>
                      <a:pt x="421322" y="1227436"/>
                    </a:cubicBezTo>
                    <a:cubicBezTo>
                      <a:pt x="598447" y="1227436"/>
                      <a:pt x="598447" y="1227436"/>
                      <a:pt x="598447" y="1227436"/>
                    </a:cubicBezTo>
                    <a:cubicBezTo>
                      <a:pt x="598447" y="1190261"/>
                      <a:pt x="598447" y="1149584"/>
                      <a:pt x="598447" y="1142490"/>
                    </a:cubicBezTo>
                    <a:lnTo>
                      <a:pt x="598447" y="1142168"/>
                    </a:lnTo>
                    <a:cubicBezTo>
                      <a:pt x="598125" y="1121346"/>
                      <a:pt x="586746" y="1106927"/>
                      <a:pt x="569932" y="1105637"/>
                    </a:cubicBezTo>
                    <a:close/>
                    <a:moveTo>
                      <a:pt x="509861" y="1082281"/>
                    </a:moveTo>
                    <a:cubicBezTo>
                      <a:pt x="534783" y="1082281"/>
                      <a:pt x="551598" y="1061782"/>
                      <a:pt x="551598" y="1031332"/>
                    </a:cubicBezTo>
                    <a:cubicBezTo>
                      <a:pt x="551598" y="1000882"/>
                      <a:pt x="534783" y="980383"/>
                      <a:pt x="509861" y="980383"/>
                    </a:cubicBezTo>
                    <a:cubicBezTo>
                      <a:pt x="485262" y="980383"/>
                      <a:pt x="468125" y="1000882"/>
                      <a:pt x="468125" y="1031332"/>
                    </a:cubicBezTo>
                    <a:cubicBezTo>
                      <a:pt x="468171" y="1061736"/>
                      <a:pt x="485262" y="1082281"/>
                      <a:pt x="509861" y="1082281"/>
                    </a:cubicBezTo>
                    <a:close/>
                    <a:moveTo>
                      <a:pt x="963937" y="844487"/>
                    </a:moveTo>
                    <a:cubicBezTo>
                      <a:pt x="933625" y="842230"/>
                      <a:pt x="933625" y="842230"/>
                      <a:pt x="933625" y="842230"/>
                    </a:cubicBezTo>
                    <a:cubicBezTo>
                      <a:pt x="903913" y="873647"/>
                      <a:pt x="903913" y="873647"/>
                      <a:pt x="903913" y="873647"/>
                    </a:cubicBezTo>
                    <a:cubicBezTo>
                      <a:pt x="874476" y="842230"/>
                      <a:pt x="874476" y="842230"/>
                      <a:pt x="874476" y="842230"/>
                    </a:cubicBezTo>
                    <a:cubicBezTo>
                      <a:pt x="844164" y="844487"/>
                      <a:pt x="844164" y="844487"/>
                      <a:pt x="844164" y="844487"/>
                    </a:cubicBezTo>
                    <a:cubicBezTo>
                      <a:pt x="827350" y="845777"/>
                      <a:pt x="815926" y="860196"/>
                      <a:pt x="815649" y="881018"/>
                    </a:cubicBezTo>
                    <a:lnTo>
                      <a:pt x="815327" y="881340"/>
                    </a:lnTo>
                    <a:cubicBezTo>
                      <a:pt x="815327" y="888388"/>
                      <a:pt x="815327" y="929111"/>
                      <a:pt x="815327" y="966287"/>
                    </a:cubicBezTo>
                    <a:cubicBezTo>
                      <a:pt x="992452" y="966287"/>
                      <a:pt x="992452" y="966287"/>
                      <a:pt x="992452" y="966287"/>
                    </a:cubicBezTo>
                    <a:cubicBezTo>
                      <a:pt x="992452" y="929111"/>
                      <a:pt x="992452" y="888388"/>
                      <a:pt x="992452" y="881340"/>
                    </a:cubicBezTo>
                    <a:lnTo>
                      <a:pt x="992452" y="881018"/>
                    </a:lnTo>
                    <a:cubicBezTo>
                      <a:pt x="992129" y="860196"/>
                      <a:pt x="980705" y="845777"/>
                      <a:pt x="963937" y="844487"/>
                    </a:cubicBezTo>
                    <a:close/>
                    <a:moveTo>
                      <a:pt x="903866" y="821086"/>
                    </a:moveTo>
                    <a:cubicBezTo>
                      <a:pt x="928788" y="821086"/>
                      <a:pt x="945602" y="800586"/>
                      <a:pt x="945602" y="770136"/>
                    </a:cubicBezTo>
                    <a:cubicBezTo>
                      <a:pt x="945602" y="739686"/>
                      <a:pt x="928788" y="719187"/>
                      <a:pt x="903866" y="719187"/>
                    </a:cubicBezTo>
                    <a:cubicBezTo>
                      <a:pt x="879267" y="719187"/>
                      <a:pt x="862130" y="739686"/>
                      <a:pt x="862130" y="770136"/>
                    </a:cubicBezTo>
                    <a:cubicBezTo>
                      <a:pt x="862130" y="800586"/>
                      <a:pt x="879267" y="821086"/>
                      <a:pt x="903866" y="821086"/>
                    </a:cubicBezTo>
                    <a:close/>
                    <a:moveTo>
                      <a:pt x="200849" y="844441"/>
                    </a:moveTo>
                    <a:cubicBezTo>
                      <a:pt x="170537" y="842184"/>
                      <a:pt x="170537" y="842184"/>
                      <a:pt x="170537" y="842184"/>
                    </a:cubicBezTo>
                    <a:cubicBezTo>
                      <a:pt x="140825" y="873601"/>
                      <a:pt x="140825" y="873601"/>
                      <a:pt x="140825" y="873601"/>
                    </a:cubicBezTo>
                    <a:cubicBezTo>
                      <a:pt x="111388" y="842184"/>
                      <a:pt x="111388" y="842184"/>
                      <a:pt x="111388" y="842184"/>
                    </a:cubicBezTo>
                    <a:cubicBezTo>
                      <a:pt x="81077" y="844441"/>
                      <a:pt x="81077" y="844441"/>
                      <a:pt x="81077" y="844441"/>
                    </a:cubicBezTo>
                    <a:cubicBezTo>
                      <a:pt x="64262" y="845731"/>
                      <a:pt x="52838" y="860150"/>
                      <a:pt x="52562" y="880972"/>
                    </a:cubicBezTo>
                    <a:lnTo>
                      <a:pt x="52239" y="881294"/>
                    </a:lnTo>
                    <a:cubicBezTo>
                      <a:pt x="52239" y="888342"/>
                      <a:pt x="52239" y="929065"/>
                      <a:pt x="52239" y="966240"/>
                    </a:cubicBezTo>
                    <a:cubicBezTo>
                      <a:pt x="229364" y="966240"/>
                      <a:pt x="229364" y="966240"/>
                      <a:pt x="229364" y="966240"/>
                    </a:cubicBezTo>
                    <a:cubicBezTo>
                      <a:pt x="229364" y="929065"/>
                      <a:pt x="229364" y="888342"/>
                      <a:pt x="229364" y="881294"/>
                    </a:cubicBezTo>
                    <a:lnTo>
                      <a:pt x="229364" y="880972"/>
                    </a:lnTo>
                    <a:cubicBezTo>
                      <a:pt x="229042" y="860150"/>
                      <a:pt x="217663" y="845731"/>
                      <a:pt x="200849" y="844441"/>
                    </a:cubicBezTo>
                    <a:close/>
                    <a:moveTo>
                      <a:pt x="140779" y="719141"/>
                    </a:moveTo>
                    <a:cubicBezTo>
                      <a:pt x="116179" y="719141"/>
                      <a:pt x="99042" y="739640"/>
                      <a:pt x="99042" y="770090"/>
                    </a:cubicBezTo>
                    <a:cubicBezTo>
                      <a:pt x="99042" y="800540"/>
                      <a:pt x="116133" y="821039"/>
                      <a:pt x="140779" y="821039"/>
                    </a:cubicBezTo>
                    <a:cubicBezTo>
                      <a:pt x="165700" y="821039"/>
                      <a:pt x="182515" y="800540"/>
                      <a:pt x="182515" y="770090"/>
                    </a:cubicBezTo>
                    <a:cubicBezTo>
                      <a:pt x="182515" y="739640"/>
                      <a:pt x="165700" y="719141"/>
                      <a:pt x="140779" y="719141"/>
                    </a:cubicBezTo>
                    <a:close/>
                    <a:moveTo>
                      <a:pt x="88585" y="377145"/>
                    </a:moveTo>
                    <a:cubicBezTo>
                      <a:pt x="113507" y="377145"/>
                      <a:pt x="130321" y="356645"/>
                      <a:pt x="130321" y="326195"/>
                    </a:cubicBezTo>
                    <a:cubicBezTo>
                      <a:pt x="130321" y="295746"/>
                      <a:pt x="113507" y="275246"/>
                      <a:pt x="88585" y="275246"/>
                    </a:cubicBezTo>
                    <a:cubicBezTo>
                      <a:pt x="63986" y="275246"/>
                      <a:pt x="46849" y="295746"/>
                      <a:pt x="46849" y="326195"/>
                    </a:cubicBezTo>
                    <a:cubicBezTo>
                      <a:pt x="46849" y="356599"/>
                      <a:pt x="63940" y="377145"/>
                      <a:pt x="88585" y="377145"/>
                    </a:cubicBezTo>
                    <a:close/>
                    <a:moveTo>
                      <a:pt x="177125" y="437399"/>
                    </a:moveTo>
                    <a:lnTo>
                      <a:pt x="177125" y="437077"/>
                    </a:lnTo>
                    <a:cubicBezTo>
                      <a:pt x="176802" y="416255"/>
                      <a:pt x="165424" y="401836"/>
                      <a:pt x="148610" y="400546"/>
                    </a:cubicBezTo>
                    <a:cubicBezTo>
                      <a:pt x="118298" y="398289"/>
                      <a:pt x="118298" y="398289"/>
                      <a:pt x="118298" y="398289"/>
                    </a:cubicBezTo>
                    <a:cubicBezTo>
                      <a:pt x="88585" y="429706"/>
                      <a:pt x="88585" y="429706"/>
                      <a:pt x="88585" y="429706"/>
                    </a:cubicBezTo>
                    <a:cubicBezTo>
                      <a:pt x="59149" y="398289"/>
                      <a:pt x="59149" y="398289"/>
                      <a:pt x="59149" y="398289"/>
                    </a:cubicBezTo>
                    <a:cubicBezTo>
                      <a:pt x="28837" y="400546"/>
                      <a:pt x="28837" y="400546"/>
                      <a:pt x="28837" y="400546"/>
                    </a:cubicBezTo>
                    <a:cubicBezTo>
                      <a:pt x="12023" y="401836"/>
                      <a:pt x="599" y="416255"/>
                      <a:pt x="322" y="437077"/>
                    </a:cubicBezTo>
                    <a:lnTo>
                      <a:pt x="0" y="437399"/>
                    </a:lnTo>
                    <a:cubicBezTo>
                      <a:pt x="0" y="444448"/>
                      <a:pt x="0" y="485170"/>
                      <a:pt x="0" y="522346"/>
                    </a:cubicBezTo>
                    <a:cubicBezTo>
                      <a:pt x="177125" y="522346"/>
                      <a:pt x="177125" y="522346"/>
                      <a:pt x="177125" y="522346"/>
                    </a:cubicBezTo>
                    <a:cubicBezTo>
                      <a:pt x="177125" y="485124"/>
                      <a:pt x="177125" y="444448"/>
                      <a:pt x="177125" y="437399"/>
                    </a:cubicBezTo>
                    <a:close/>
                    <a:moveTo>
                      <a:pt x="327439" y="716838"/>
                    </a:moveTo>
                    <a:lnTo>
                      <a:pt x="327900" y="716607"/>
                    </a:lnTo>
                    <a:lnTo>
                      <a:pt x="327439" y="716607"/>
                    </a:lnTo>
                    <a:lnTo>
                      <a:pt x="327439" y="716838"/>
                    </a:lnTo>
                    <a:close/>
                    <a:moveTo>
                      <a:pt x="294317" y="484571"/>
                    </a:moveTo>
                    <a:lnTo>
                      <a:pt x="294548" y="484157"/>
                    </a:lnTo>
                    <a:lnTo>
                      <a:pt x="294824" y="483742"/>
                    </a:lnTo>
                    <a:lnTo>
                      <a:pt x="302287" y="471581"/>
                    </a:lnTo>
                    <a:lnTo>
                      <a:pt x="302748" y="470844"/>
                    </a:lnTo>
                    <a:lnTo>
                      <a:pt x="303254" y="470106"/>
                    </a:lnTo>
                    <a:cubicBezTo>
                      <a:pt x="305834" y="466237"/>
                      <a:pt x="308552" y="462506"/>
                      <a:pt x="311316" y="458866"/>
                    </a:cubicBezTo>
                    <a:lnTo>
                      <a:pt x="250416" y="418374"/>
                    </a:lnTo>
                    <a:lnTo>
                      <a:pt x="228719" y="450989"/>
                    </a:lnTo>
                    <a:lnTo>
                      <a:pt x="290264" y="491942"/>
                    </a:lnTo>
                    <a:cubicBezTo>
                      <a:pt x="291645" y="489362"/>
                      <a:pt x="292982" y="486921"/>
                      <a:pt x="294317" y="484571"/>
                    </a:cubicBezTo>
                    <a:close/>
                    <a:moveTo>
                      <a:pt x="725498" y="486782"/>
                    </a:moveTo>
                    <a:cubicBezTo>
                      <a:pt x="726373" y="488349"/>
                      <a:pt x="727202" y="489915"/>
                      <a:pt x="728032" y="491481"/>
                    </a:cubicBezTo>
                    <a:lnTo>
                      <a:pt x="790958" y="449008"/>
                    </a:lnTo>
                    <a:lnTo>
                      <a:pt x="769030" y="416531"/>
                    </a:lnTo>
                    <a:lnTo>
                      <a:pt x="706979" y="458452"/>
                    </a:lnTo>
                    <a:cubicBezTo>
                      <a:pt x="713336" y="466882"/>
                      <a:pt x="719187" y="475634"/>
                      <a:pt x="724300" y="484663"/>
                    </a:cubicBezTo>
                    <a:cubicBezTo>
                      <a:pt x="724668" y="485216"/>
                      <a:pt x="725083" y="485953"/>
                      <a:pt x="725498" y="486782"/>
                    </a:cubicBezTo>
                    <a:close/>
                    <a:moveTo>
                      <a:pt x="528933" y="289527"/>
                    </a:moveTo>
                    <a:lnTo>
                      <a:pt x="489777" y="289527"/>
                    </a:lnTo>
                    <a:lnTo>
                      <a:pt x="489777" y="360653"/>
                    </a:lnTo>
                    <a:cubicBezTo>
                      <a:pt x="489869" y="360653"/>
                      <a:pt x="489961" y="360653"/>
                      <a:pt x="490053" y="360607"/>
                    </a:cubicBezTo>
                    <a:cubicBezTo>
                      <a:pt x="491343" y="360515"/>
                      <a:pt x="492633" y="360423"/>
                      <a:pt x="493877" y="360331"/>
                    </a:cubicBezTo>
                    <a:cubicBezTo>
                      <a:pt x="498990" y="360008"/>
                      <a:pt x="504149" y="359870"/>
                      <a:pt x="509309" y="359870"/>
                    </a:cubicBezTo>
                    <a:cubicBezTo>
                      <a:pt x="513224" y="359870"/>
                      <a:pt x="517186" y="359962"/>
                      <a:pt x="521056" y="360146"/>
                    </a:cubicBezTo>
                    <a:cubicBezTo>
                      <a:pt x="522115" y="360192"/>
                      <a:pt x="523128" y="360238"/>
                      <a:pt x="524188" y="360284"/>
                    </a:cubicBezTo>
                    <a:lnTo>
                      <a:pt x="524419" y="360284"/>
                    </a:lnTo>
                    <a:lnTo>
                      <a:pt x="524649" y="360284"/>
                    </a:lnTo>
                    <a:lnTo>
                      <a:pt x="524879" y="360284"/>
                    </a:lnTo>
                    <a:cubicBezTo>
                      <a:pt x="526261" y="360377"/>
                      <a:pt x="527597" y="360469"/>
                      <a:pt x="528979" y="360607"/>
                    </a:cubicBezTo>
                    <a:lnTo>
                      <a:pt x="528979" y="289527"/>
                    </a:lnTo>
                    <a:close/>
                    <a:moveTo>
                      <a:pt x="719509" y="738535"/>
                    </a:moveTo>
                    <a:cubicBezTo>
                      <a:pt x="718311" y="740470"/>
                      <a:pt x="717114" y="742358"/>
                      <a:pt x="715870" y="744293"/>
                    </a:cubicBezTo>
                    <a:lnTo>
                      <a:pt x="715732" y="744523"/>
                    </a:lnTo>
                    <a:lnTo>
                      <a:pt x="715594" y="744754"/>
                    </a:lnTo>
                    <a:cubicBezTo>
                      <a:pt x="710849" y="751848"/>
                      <a:pt x="705828" y="758574"/>
                      <a:pt x="700668" y="764885"/>
                    </a:cubicBezTo>
                    <a:lnTo>
                      <a:pt x="770551" y="811366"/>
                    </a:lnTo>
                    <a:lnTo>
                      <a:pt x="792248" y="778751"/>
                    </a:lnTo>
                    <a:lnTo>
                      <a:pt x="723056" y="732730"/>
                    </a:lnTo>
                    <a:cubicBezTo>
                      <a:pt x="721812" y="734619"/>
                      <a:pt x="720661" y="736600"/>
                      <a:pt x="719509" y="738535"/>
                    </a:cubicBezTo>
                    <a:close/>
                    <a:moveTo>
                      <a:pt x="299062" y="738443"/>
                    </a:moveTo>
                    <a:lnTo>
                      <a:pt x="298970" y="738258"/>
                    </a:lnTo>
                    <a:lnTo>
                      <a:pt x="298463" y="737429"/>
                    </a:lnTo>
                    <a:lnTo>
                      <a:pt x="297450" y="735817"/>
                    </a:lnTo>
                    <a:lnTo>
                      <a:pt x="297358" y="735679"/>
                    </a:lnTo>
                    <a:lnTo>
                      <a:pt x="297266" y="735540"/>
                    </a:lnTo>
                    <a:cubicBezTo>
                      <a:pt x="297220" y="735448"/>
                      <a:pt x="297127" y="735356"/>
                      <a:pt x="297082" y="735218"/>
                    </a:cubicBezTo>
                    <a:lnTo>
                      <a:pt x="229825" y="780639"/>
                    </a:lnTo>
                    <a:lnTo>
                      <a:pt x="251752" y="813116"/>
                    </a:lnTo>
                    <a:lnTo>
                      <a:pt x="319930" y="767096"/>
                    </a:lnTo>
                    <a:cubicBezTo>
                      <a:pt x="312421" y="758205"/>
                      <a:pt x="305420" y="748623"/>
                      <a:pt x="299108" y="738581"/>
                    </a:cubicBezTo>
                    <a:lnTo>
                      <a:pt x="299062" y="738443"/>
                    </a:lnTo>
                    <a:close/>
                    <a:moveTo>
                      <a:pt x="524188" y="854760"/>
                    </a:moveTo>
                    <a:cubicBezTo>
                      <a:pt x="523128" y="854806"/>
                      <a:pt x="522115" y="854898"/>
                      <a:pt x="521056" y="854898"/>
                    </a:cubicBezTo>
                    <a:cubicBezTo>
                      <a:pt x="517186" y="855082"/>
                      <a:pt x="513224" y="855175"/>
                      <a:pt x="509309" y="855175"/>
                    </a:cubicBezTo>
                    <a:cubicBezTo>
                      <a:pt x="504149" y="855175"/>
                      <a:pt x="498944" y="854990"/>
                      <a:pt x="493877" y="854714"/>
                    </a:cubicBezTo>
                    <a:cubicBezTo>
                      <a:pt x="492633" y="854668"/>
                      <a:pt x="491389" y="854576"/>
                      <a:pt x="490145" y="854484"/>
                    </a:cubicBezTo>
                    <a:cubicBezTo>
                      <a:pt x="490007" y="854484"/>
                      <a:pt x="489869" y="854484"/>
                      <a:pt x="489730" y="854438"/>
                    </a:cubicBezTo>
                    <a:lnTo>
                      <a:pt x="489730" y="940167"/>
                    </a:lnTo>
                    <a:lnTo>
                      <a:pt x="528887" y="940167"/>
                    </a:lnTo>
                    <a:lnTo>
                      <a:pt x="528887" y="854438"/>
                    </a:lnTo>
                    <a:cubicBezTo>
                      <a:pt x="527505" y="854530"/>
                      <a:pt x="526031" y="854668"/>
                      <a:pt x="524465" y="854760"/>
                    </a:cubicBezTo>
                    <a:lnTo>
                      <a:pt x="524188" y="854760"/>
                    </a:lnTo>
                    <a:close/>
                    <a:moveTo>
                      <a:pt x="625857" y="609872"/>
                    </a:moveTo>
                    <a:cubicBezTo>
                      <a:pt x="625857" y="594347"/>
                      <a:pt x="623922" y="577948"/>
                      <a:pt x="620329" y="561640"/>
                    </a:cubicBezTo>
                    <a:lnTo>
                      <a:pt x="529394" y="561640"/>
                    </a:lnTo>
                    <a:lnTo>
                      <a:pt x="529394" y="665842"/>
                    </a:lnTo>
                    <a:lnTo>
                      <a:pt x="618394" y="665842"/>
                    </a:lnTo>
                    <a:cubicBezTo>
                      <a:pt x="623231" y="647139"/>
                      <a:pt x="625857" y="628022"/>
                      <a:pt x="625857" y="609872"/>
                    </a:cubicBezTo>
                    <a:close/>
                    <a:moveTo>
                      <a:pt x="649534" y="522300"/>
                    </a:moveTo>
                    <a:lnTo>
                      <a:pt x="696983" y="522300"/>
                    </a:lnTo>
                    <a:cubicBezTo>
                      <a:pt x="694495" y="516864"/>
                      <a:pt x="691869" y="511520"/>
                      <a:pt x="688921" y="506315"/>
                    </a:cubicBezTo>
                    <a:cubicBezTo>
                      <a:pt x="688783" y="505992"/>
                      <a:pt x="688599" y="505716"/>
                      <a:pt x="688414" y="505393"/>
                    </a:cubicBezTo>
                    <a:cubicBezTo>
                      <a:pt x="683209" y="496226"/>
                      <a:pt x="677266" y="487474"/>
                      <a:pt x="670725" y="479274"/>
                    </a:cubicBezTo>
                    <a:cubicBezTo>
                      <a:pt x="645020" y="446935"/>
                      <a:pt x="609779" y="422520"/>
                      <a:pt x="569287" y="410220"/>
                    </a:cubicBezTo>
                    <a:cubicBezTo>
                      <a:pt x="606140" y="433438"/>
                      <a:pt x="633642" y="476418"/>
                      <a:pt x="649534" y="522300"/>
                    </a:cubicBezTo>
                    <a:close/>
                    <a:moveTo>
                      <a:pt x="308368" y="561594"/>
                    </a:moveTo>
                    <a:cubicBezTo>
                      <a:pt x="305604" y="573756"/>
                      <a:pt x="303853" y="586240"/>
                      <a:pt x="303346" y="599092"/>
                    </a:cubicBezTo>
                    <a:cubicBezTo>
                      <a:pt x="303208" y="601902"/>
                      <a:pt x="303162" y="604712"/>
                      <a:pt x="303162" y="607522"/>
                    </a:cubicBezTo>
                    <a:cubicBezTo>
                      <a:pt x="303162" y="613465"/>
                      <a:pt x="303393" y="619407"/>
                      <a:pt x="303945" y="625212"/>
                    </a:cubicBezTo>
                    <a:cubicBezTo>
                      <a:pt x="305097" y="639170"/>
                      <a:pt x="307723" y="652759"/>
                      <a:pt x="311546" y="665796"/>
                    </a:cubicBezTo>
                    <a:lnTo>
                      <a:pt x="360100" y="665796"/>
                    </a:lnTo>
                    <a:cubicBezTo>
                      <a:pt x="355816" y="647185"/>
                      <a:pt x="353513" y="628206"/>
                      <a:pt x="353513" y="609595"/>
                    </a:cubicBezTo>
                    <a:cubicBezTo>
                      <a:pt x="353513" y="594347"/>
                      <a:pt x="355171" y="578086"/>
                      <a:pt x="358442" y="561594"/>
                    </a:cubicBezTo>
                    <a:lnTo>
                      <a:pt x="308368" y="561594"/>
                    </a:lnTo>
                    <a:close/>
                    <a:moveTo>
                      <a:pt x="707071" y="665842"/>
                    </a:moveTo>
                    <a:cubicBezTo>
                      <a:pt x="710895" y="652805"/>
                      <a:pt x="713521" y="639216"/>
                      <a:pt x="714672" y="625258"/>
                    </a:cubicBezTo>
                    <a:cubicBezTo>
                      <a:pt x="715225" y="619453"/>
                      <a:pt x="715455" y="613511"/>
                      <a:pt x="715455" y="607568"/>
                    </a:cubicBezTo>
                    <a:cubicBezTo>
                      <a:pt x="715455" y="604758"/>
                      <a:pt x="715409" y="601948"/>
                      <a:pt x="715271" y="599138"/>
                    </a:cubicBezTo>
                    <a:cubicBezTo>
                      <a:pt x="714764" y="586286"/>
                      <a:pt x="713060" y="573756"/>
                      <a:pt x="710296" y="561640"/>
                    </a:cubicBezTo>
                    <a:lnTo>
                      <a:pt x="660176" y="561640"/>
                    </a:lnTo>
                    <a:cubicBezTo>
                      <a:pt x="663446" y="578132"/>
                      <a:pt x="665105" y="594393"/>
                      <a:pt x="665105" y="609641"/>
                    </a:cubicBezTo>
                    <a:cubicBezTo>
                      <a:pt x="665105" y="628252"/>
                      <a:pt x="662801" y="647231"/>
                      <a:pt x="658517" y="665842"/>
                    </a:cubicBezTo>
                    <a:lnTo>
                      <a:pt x="707071" y="665842"/>
                    </a:lnTo>
                    <a:close/>
                    <a:moveTo>
                      <a:pt x="392761" y="609872"/>
                    </a:moveTo>
                    <a:cubicBezTo>
                      <a:pt x="392761" y="628068"/>
                      <a:pt x="395387" y="647139"/>
                      <a:pt x="400224" y="665842"/>
                    </a:cubicBezTo>
                    <a:lnTo>
                      <a:pt x="490237" y="665842"/>
                    </a:lnTo>
                    <a:lnTo>
                      <a:pt x="490237" y="561640"/>
                    </a:lnTo>
                    <a:lnTo>
                      <a:pt x="398289" y="561640"/>
                    </a:lnTo>
                    <a:cubicBezTo>
                      <a:pt x="394696" y="577948"/>
                      <a:pt x="392761" y="594301"/>
                      <a:pt x="392761" y="609872"/>
                    </a:cubicBezTo>
                    <a:close/>
                    <a:moveTo>
                      <a:pt x="529394" y="428555"/>
                    </a:moveTo>
                    <a:lnTo>
                      <a:pt x="529394" y="522300"/>
                    </a:lnTo>
                    <a:lnTo>
                      <a:pt x="608489" y="522300"/>
                    </a:lnTo>
                    <a:cubicBezTo>
                      <a:pt x="591307" y="477938"/>
                      <a:pt x="562792" y="439841"/>
                      <a:pt x="529394" y="428555"/>
                    </a:cubicBezTo>
                    <a:close/>
                    <a:moveTo>
                      <a:pt x="449284" y="410266"/>
                    </a:moveTo>
                    <a:cubicBezTo>
                      <a:pt x="408792" y="422566"/>
                      <a:pt x="373551" y="446981"/>
                      <a:pt x="347892" y="479320"/>
                    </a:cubicBezTo>
                    <a:cubicBezTo>
                      <a:pt x="344253" y="483834"/>
                      <a:pt x="340844" y="488487"/>
                      <a:pt x="337620" y="493278"/>
                    </a:cubicBezTo>
                    <a:lnTo>
                      <a:pt x="330157" y="505439"/>
                    </a:lnTo>
                    <a:cubicBezTo>
                      <a:pt x="328176" y="508848"/>
                      <a:pt x="326334" y="512349"/>
                      <a:pt x="324583" y="515896"/>
                    </a:cubicBezTo>
                    <a:cubicBezTo>
                      <a:pt x="323524" y="518015"/>
                      <a:pt x="322556" y="520181"/>
                      <a:pt x="321589" y="522346"/>
                    </a:cubicBezTo>
                    <a:lnTo>
                      <a:pt x="369083" y="522346"/>
                    </a:lnTo>
                    <a:cubicBezTo>
                      <a:pt x="384976" y="476418"/>
                      <a:pt x="412431" y="433438"/>
                      <a:pt x="449284" y="410266"/>
                    </a:cubicBezTo>
                    <a:close/>
                    <a:moveTo>
                      <a:pt x="569149" y="804916"/>
                    </a:moveTo>
                    <a:cubicBezTo>
                      <a:pt x="606785" y="793538"/>
                      <a:pt x="639861" y="771656"/>
                      <a:pt x="665013" y="742727"/>
                    </a:cubicBezTo>
                    <a:cubicBezTo>
                      <a:pt x="670817" y="736093"/>
                      <a:pt x="676161" y="729045"/>
                      <a:pt x="681090" y="721675"/>
                    </a:cubicBezTo>
                    <a:cubicBezTo>
                      <a:pt x="682196" y="719970"/>
                      <a:pt x="683255" y="718312"/>
                      <a:pt x="684315" y="716607"/>
                    </a:cubicBezTo>
                    <a:cubicBezTo>
                      <a:pt x="686664" y="712876"/>
                      <a:pt x="688829" y="709006"/>
                      <a:pt x="690948" y="705091"/>
                    </a:cubicBezTo>
                    <a:lnTo>
                      <a:pt x="646356" y="705091"/>
                    </a:lnTo>
                    <a:cubicBezTo>
                      <a:pt x="629588" y="747333"/>
                      <a:pt x="602593" y="784186"/>
                      <a:pt x="569149" y="804916"/>
                    </a:cubicBezTo>
                    <a:close/>
                    <a:moveTo>
                      <a:pt x="410082" y="522300"/>
                    </a:moveTo>
                    <a:lnTo>
                      <a:pt x="490191" y="522300"/>
                    </a:lnTo>
                    <a:lnTo>
                      <a:pt x="490191" y="428232"/>
                    </a:lnTo>
                    <a:cubicBezTo>
                      <a:pt x="456379" y="439058"/>
                      <a:pt x="427449" y="477477"/>
                      <a:pt x="410082" y="522300"/>
                    </a:cubicBezTo>
                    <a:close/>
                    <a:moveTo>
                      <a:pt x="604712" y="705137"/>
                    </a:moveTo>
                    <a:lnTo>
                      <a:pt x="529394" y="705137"/>
                    </a:lnTo>
                    <a:lnTo>
                      <a:pt x="529394" y="786720"/>
                    </a:lnTo>
                    <a:cubicBezTo>
                      <a:pt x="560488" y="776632"/>
                      <a:pt x="587299" y="744339"/>
                      <a:pt x="604712" y="705137"/>
                    </a:cubicBezTo>
                    <a:close/>
                    <a:moveTo>
                      <a:pt x="490237" y="787043"/>
                    </a:moveTo>
                    <a:lnTo>
                      <a:pt x="490237" y="705137"/>
                    </a:lnTo>
                    <a:lnTo>
                      <a:pt x="413906" y="705137"/>
                    </a:lnTo>
                    <a:cubicBezTo>
                      <a:pt x="431503" y="744800"/>
                      <a:pt x="458728" y="777369"/>
                      <a:pt x="490237" y="787043"/>
                    </a:cubicBezTo>
                    <a:close/>
                    <a:moveTo>
                      <a:pt x="372308" y="705137"/>
                    </a:moveTo>
                    <a:lnTo>
                      <a:pt x="327715" y="705137"/>
                    </a:lnTo>
                    <a:cubicBezTo>
                      <a:pt x="329374" y="708177"/>
                      <a:pt x="331032" y="711217"/>
                      <a:pt x="332829" y="714212"/>
                    </a:cubicBezTo>
                    <a:cubicBezTo>
                      <a:pt x="333336" y="715041"/>
                      <a:pt x="333842" y="715824"/>
                      <a:pt x="334349" y="716653"/>
                    </a:cubicBezTo>
                    <a:cubicBezTo>
                      <a:pt x="340107" y="725867"/>
                      <a:pt x="346557" y="734619"/>
                      <a:pt x="353651" y="742773"/>
                    </a:cubicBezTo>
                    <a:cubicBezTo>
                      <a:pt x="378803" y="771702"/>
                      <a:pt x="411879" y="793538"/>
                      <a:pt x="449469" y="804916"/>
                    </a:cubicBezTo>
                    <a:cubicBezTo>
                      <a:pt x="416024" y="784140"/>
                      <a:pt x="389030" y="747333"/>
                      <a:pt x="372308" y="705137"/>
                    </a:cubicBezTo>
                    <a:close/>
                  </a:path>
                </a:pathLst>
              </a:custGeom>
              <a:solidFill>
                <a:schemeClr val="tx1"/>
              </a:solidFill>
              <a:ln w="4604"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206" name="Freihandform: Form 221">
                <a:extLst>
                  <a:ext uri="{FF2B5EF4-FFF2-40B4-BE49-F238E27FC236}">
                    <a16:creationId xmlns:a16="http://schemas.microsoft.com/office/drawing/2014/main" id="{D871976D-1F70-F32A-B12F-B05EC62F0A59}"/>
                  </a:ext>
                </a:extLst>
              </p:cNvPr>
              <p:cNvSpPr>
                <a:spLocks noChangeAspect="1"/>
              </p:cNvSpPr>
              <p:nvPr/>
            </p:nvSpPr>
            <p:spPr>
              <a:xfrm>
                <a:off x="7908380" y="2366923"/>
                <a:ext cx="257130" cy="257870"/>
              </a:xfrm>
              <a:custGeom>
                <a:avLst/>
                <a:gdLst>
                  <a:gd name="connsiteX0" fmla="*/ 564147 w 1128239"/>
                  <a:gd name="connsiteY0" fmla="*/ 0 h 1128239"/>
                  <a:gd name="connsiteX1" fmla="*/ 546720 w 1128239"/>
                  <a:gd name="connsiteY1" fmla="*/ 484 h 1128239"/>
                  <a:gd name="connsiteX2" fmla="*/ 159794 w 1128239"/>
                  <a:gd name="connsiteY2" fmla="*/ 171412 h 1128239"/>
                  <a:gd name="connsiteX3" fmla="*/ 0 w 1128239"/>
                  <a:gd name="connsiteY3" fmla="*/ 564093 h 1128239"/>
                  <a:gd name="connsiteX4" fmla="*/ 159794 w 1128239"/>
                  <a:gd name="connsiteY4" fmla="*/ 956989 h 1128239"/>
                  <a:gd name="connsiteX5" fmla="*/ 545860 w 1128239"/>
                  <a:gd name="connsiteY5" fmla="*/ 1127756 h 1128239"/>
                  <a:gd name="connsiteX6" fmla="*/ 564147 w 1128239"/>
                  <a:gd name="connsiteY6" fmla="*/ 1128240 h 1128239"/>
                  <a:gd name="connsiteX7" fmla="*/ 842805 w 1128239"/>
                  <a:gd name="connsiteY7" fmla="*/ 1054447 h 1128239"/>
                  <a:gd name="connsiteX8" fmla="*/ 1038850 w 1128239"/>
                  <a:gd name="connsiteY8" fmla="*/ 868460 h 1128239"/>
                  <a:gd name="connsiteX9" fmla="*/ 1048370 w 1128239"/>
                  <a:gd name="connsiteY9" fmla="*/ 853777 h 1128239"/>
                  <a:gd name="connsiteX10" fmla="*/ 1128240 w 1128239"/>
                  <a:gd name="connsiteY10" fmla="*/ 564147 h 1128239"/>
                  <a:gd name="connsiteX11" fmla="*/ 564147 w 1128239"/>
                  <a:gd name="connsiteY11" fmla="*/ 0 h 1128239"/>
                  <a:gd name="connsiteX12" fmla="*/ 837265 w 1128239"/>
                  <a:gd name="connsiteY12" fmla="*/ 796227 h 1128239"/>
                  <a:gd name="connsiteX13" fmla="*/ 862652 w 1128239"/>
                  <a:gd name="connsiteY13" fmla="*/ 600398 h 1128239"/>
                  <a:gd name="connsiteX14" fmla="*/ 1054501 w 1128239"/>
                  <a:gd name="connsiteY14" fmla="*/ 600398 h 1128239"/>
                  <a:gd name="connsiteX15" fmla="*/ 997274 w 1128239"/>
                  <a:gd name="connsiteY15" fmla="*/ 796227 h 1128239"/>
                  <a:gd name="connsiteX16" fmla="*/ 837265 w 1128239"/>
                  <a:gd name="connsiteY16" fmla="*/ 796227 h 1128239"/>
                  <a:gd name="connsiteX17" fmla="*/ 738785 w 1128239"/>
                  <a:gd name="connsiteY17" fmla="*/ 868406 h 1128239"/>
                  <a:gd name="connsiteX18" fmla="*/ 715443 w 1128239"/>
                  <a:gd name="connsiteY18" fmla="*/ 921061 h 1128239"/>
                  <a:gd name="connsiteX19" fmla="*/ 600559 w 1128239"/>
                  <a:gd name="connsiteY19" fmla="*/ 1046487 h 1128239"/>
                  <a:gd name="connsiteX20" fmla="*/ 600559 w 1128239"/>
                  <a:gd name="connsiteY20" fmla="*/ 868406 h 1128239"/>
                  <a:gd name="connsiteX21" fmla="*/ 738785 w 1128239"/>
                  <a:gd name="connsiteY21" fmla="*/ 868406 h 1128239"/>
                  <a:gd name="connsiteX22" fmla="*/ 736957 w 1128239"/>
                  <a:gd name="connsiteY22" fmla="*/ 1024328 h 1128239"/>
                  <a:gd name="connsiteX23" fmla="*/ 816773 w 1128239"/>
                  <a:gd name="connsiteY23" fmla="*/ 868460 h 1128239"/>
                  <a:gd name="connsiteX24" fmla="*/ 949836 w 1128239"/>
                  <a:gd name="connsiteY24" fmla="*/ 868460 h 1128239"/>
                  <a:gd name="connsiteX25" fmla="*/ 736957 w 1128239"/>
                  <a:gd name="connsiteY25" fmla="*/ 1024328 h 1128239"/>
                  <a:gd name="connsiteX26" fmla="*/ 600559 w 1128239"/>
                  <a:gd name="connsiteY26" fmla="*/ 796227 h 1128239"/>
                  <a:gd name="connsiteX27" fmla="*/ 600559 w 1128239"/>
                  <a:gd name="connsiteY27" fmla="*/ 600398 h 1128239"/>
                  <a:gd name="connsiteX28" fmla="*/ 789827 w 1128239"/>
                  <a:gd name="connsiteY28" fmla="*/ 600398 h 1128239"/>
                  <a:gd name="connsiteX29" fmla="*/ 761967 w 1128239"/>
                  <a:gd name="connsiteY29" fmla="*/ 796227 h 1128239"/>
                  <a:gd name="connsiteX30" fmla="*/ 600559 w 1128239"/>
                  <a:gd name="connsiteY30" fmla="*/ 796227 h 1128239"/>
                  <a:gd name="connsiteX31" fmla="*/ 600559 w 1128239"/>
                  <a:gd name="connsiteY31" fmla="*/ 527788 h 1128239"/>
                  <a:gd name="connsiteX32" fmla="*/ 600559 w 1128239"/>
                  <a:gd name="connsiteY32" fmla="*/ 334702 h 1128239"/>
                  <a:gd name="connsiteX33" fmla="*/ 762773 w 1128239"/>
                  <a:gd name="connsiteY33" fmla="*/ 334702 h 1128239"/>
                  <a:gd name="connsiteX34" fmla="*/ 789827 w 1128239"/>
                  <a:gd name="connsiteY34" fmla="*/ 527788 h 1128239"/>
                  <a:gd name="connsiteX35" fmla="*/ 600559 w 1128239"/>
                  <a:gd name="connsiteY35" fmla="*/ 527788 h 1128239"/>
                  <a:gd name="connsiteX36" fmla="*/ 600559 w 1128239"/>
                  <a:gd name="connsiteY36" fmla="*/ 262039 h 1128239"/>
                  <a:gd name="connsiteX37" fmla="*/ 600559 w 1128239"/>
                  <a:gd name="connsiteY37" fmla="*/ 81860 h 1128239"/>
                  <a:gd name="connsiteX38" fmla="*/ 715550 w 1128239"/>
                  <a:gd name="connsiteY38" fmla="*/ 207770 h 1128239"/>
                  <a:gd name="connsiteX39" fmla="*/ 739700 w 1128239"/>
                  <a:gd name="connsiteY39" fmla="*/ 262092 h 1128239"/>
                  <a:gd name="connsiteX40" fmla="*/ 600559 w 1128239"/>
                  <a:gd name="connsiteY40" fmla="*/ 262092 h 1128239"/>
                  <a:gd name="connsiteX41" fmla="*/ 817311 w 1128239"/>
                  <a:gd name="connsiteY41" fmla="*/ 262039 h 1128239"/>
                  <a:gd name="connsiteX42" fmla="*/ 736903 w 1128239"/>
                  <a:gd name="connsiteY42" fmla="*/ 103751 h 1128239"/>
                  <a:gd name="connsiteX43" fmla="*/ 951826 w 1128239"/>
                  <a:gd name="connsiteY43" fmla="*/ 262039 h 1128239"/>
                  <a:gd name="connsiteX44" fmla="*/ 817311 w 1128239"/>
                  <a:gd name="connsiteY44" fmla="*/ 262039 h 1128239"/>
                  <a:gd name="connsiteX45" fmla="*/ 1054501 w 1128239"/>
                  <a:gd name="connsiteY45" fmla="*/ 527788 h 1128239"/>
                  <a:gd name="connsiteX46" fmla="*/ 862652 w 1128239"/>
                  <a:gd name="connsiteY46" fmla="*/ 527788 h 1128239"/>
                  <a:gd name="connsiteX47" fmla="*/ 837803 w 1128239"/>
                  <a:gd name="connsiteY47" fmla="*/ 334702 h 1128239"/>
                  <a:gd name="connsiteX48" fmla="*/ 998619 w 1128239"/>
                  <a:gd name="connsiteY48" fmla="*/ 334702 h 1128239"/>
                  <a:gd name="connsiteX49" fmla="*/ 1054501 w 1128239"/>
                  <a:gd name="connsiteY49" fmla="*/ 527788 h 1128239"/>
                  <a:gd name="connsiteX50" fmla="*/ 527788 w 1128239"/>
                  <a:gd name="connsiteY50" fmla="*/ 868406 h 1128239"/>
                  <a:gd name="connsiteX51" fmla="*/ 527788 w 1128239"/>
                  <a:gd name="connsiteY51" fmla="*/ 1051704 h 1128239"/>
                  <a:gd name="connsiteX52" fmla="*/ 397845 w 1128239"/>
                  <a:gd name="connsiteY52" fmla="*/ 921115 h 1128239"/>
                  <a:gd name="connsiteX53" fmla="*/ 374341 w 1128239"/>
                  <a:gd name="connsiteY53" fmla="*/ 868406 h 1128239"/>
                  <a:gd name="connsiteX54" fmla="*/ 527788 w 1128239"/>
                  <a:gd name="connsiteY54" fmla="*/ 868406 h 1128239"/>
                  <a:gd name="connsiteX55" fmla="*/ 296515 w 1128239"/>
                  <a:gd name="connsiteY55" fmla="*/ 868406 h 1128239"/>
                  <a:gd name="connsiteX56" fmla="*/ 369500 w 1128239"/>
                  <a:gd name="connsiteY56" fmla="*/ 1015346 h 1128239"/>
                  <a:gd name="connsiteX57" fmla="*/ 178565 w 1128239"/>
                  <a:gd name="connsiteY57" fmla="*/ 868406 h 1128239"/>
                  <a:gd name="connsiteX58" fmla="*/ 296515 w 1128239"/>
                  <a:gd name="connsiteY58" fmla="*/ 868406 h 1128239"/>
                  <a:gd name="connsiteX59" fmla="*/ 527788 w 1128239"/>
                  <a:gd name="connsiteY59" fmla="*/ 600451 h 1128239"/>
                  <a:gd name="connsiteX60" fmla="*/ 527788 w 1128239"/>
                  <a:gd name="connsiteY60" fmla="*/ 796281 h 1128239"/>
                  <a:gd name="connsiteX61" fmla="*/ 350945 w 1128239"/>
                  <a:gd name="connsiteY61" fmla="*/ 796281 h 1128239"/>
                  <a:gd name="connsiteX62" fmla="*/ 323084 w 1128239"/>
                  <a:gd name="connsiteY62" fmla="*/ 600451 h 1128239"/>
                  <a:gd name="connsiteX63" fmla="*/ 527788 w 1128239"/>
                  <a:gd name="connsiteY63" fmla="*/ 600451 h 1128239"/>
                  <a:gd name="connsiteX64" fmla="*/ 250636 w 1128239"/>
                  <a:gd name="connsiteY64" fmla="*/ 600451 h 1128239"/>
                  <a:gd name="connsiteX65" fmla="*/ 276023 w 1128239"/>
                  <a:gd name="connsiteY65" fmla="*/ 796281 h 1128239"/>
                  <a:gd name="connsiteX66" fmla="*/ 131127 w 1128239"/>
                  <a:gd name="connsiteY66" fmla="*/ 796281 h 1128239"/>
                  <a:gd name="connsiteX67" fmla="*/ 74277 w 1128239"/>
                  <a:gd name="connsiteY67" fmla="*/ 600451 h 1128239"/>
                  <a:gd name="connsiteX68" fmla="*/ 250636 w 1128239"/>
                  <a:gd name="connsiteY68" fmla="*/ 600451 h 1128239"/>
                  <a:gd name="connsiteX69" fmla="*/ 275162 w 1128239"/>
                  <a:gd name="connsiteY69" fmla="*/ 334702 h 1128239"/>
                  <a:gd name="connsiteX70" fmla="*/ 250636 w 1128239"/>
                  <a:gd name="connsiteY70" fmla="*/ 527788 h 1128239"/>
                  <a:gd name="connsiteX71" fmla="*/ 74223 w 1128239"/>
                  <a:gd name="connsiteY71" fmla="*/ 527788 h 1128239"/>
                  <a:gd name="connsiteX72" fmla="*/ 129782 w 1128239"/>
                  <a:gd name="connsiteY72" fmla="*/ 334702 h 1128239"/>
                  <a:gd name="connsiteX73" fmla="*/ 275162 w 1128239"/>
                  <a:gd name="connsiteY73" fmla="*/ 334702 h 1128239"/>
                  <a:gd name="connsiteX74" fmla="*/ 176682 w 1128239"/>
                  <a:gd name="connsiteY74" fmla="*/ 262039 h 1128239"/>
                  <a:gd name="connsiteX75" fmla="*/ 369608 w 1128239"/>
                  <a:gd name="connsiteY75" fmla="*/ 112894 h 1128239"/>
                  <a:gd name="connsiteX76" fmla="*/ 295600 w 1128239"/>
                  <a:gd name="connsiteY76" fmla="*/ 262039 h 1128239"/>
                  <a:gd name="connsiteX77" fmla="*/ 176682 w 1128239"/>
                  <a:gd name="connsiteY77" fmla="*/ 262039 h 1128239"/>
                  <a:gd name="connsiteX78" fmla="*/ 527788 w 1128239"/>
                  <a:gd name="connsiteY78" fmla="*/ 334702 h 1128239"/>
                  <a:gd name="connsiteX79" fmla="*/ 527788 w 1128239"/>
                  <a:gd name="connsiteY79" fmla="*/ 527788 h 1128239"/>
                  <a:gd name="connsiteX80" fmla="*/ 323138 w 1128239"/>
                  <a:gd name="connsiteY80" fmla="*/ 527788 h 1128239"/>
                  <a:gd name="connsiteX81" fmla="*/ 350568 w 1128239"/>
                  <a:gd name="connsiteY81" fmla="*/ 334702 h 1128239"/>
                  <a:gd name="connsiteX82" fmla="*/ 527788 w 1128239"/>
                  <a:gd name="connsiteY82" fmla="*/ 334702 h 1128239"/>
                  <a:gd name="connsiteX83" fmla="*/ 527788 w 1128239"/>
                  <a:gd name="connsiteY83" fmla="*/ 76482 h 1128239"/>
                  <a:gd name="connsiteX84" fmla="*/ 527788 w 1128239"/>
                  <a:gd name="connsiteY84" fmla="*/ 262092 h 1128239"/>
                  <a:gd name="connsiteX85" fmla="*/ 373588 w 1128239"/>
                  <a:gd name="connsiteY85" fmla="*/ 262092 h 1128239"/>
                  <a:gd name="connsiteX86" fmla="*/ 397845 w 1128239"/>
                  <a:gd name="connsiteY86" fmla="*/ 207555 h 1128239"/>
                  <a:gd name="connsiteX87" fmla="*/ 527788 w 1128239"/>
                  <a:gd name="connsiteY87" fmla="*/ 76482 h 112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28239" h="1128239">
                    <a:moveTo>
                      <a:pt x="564147" y="0"/>
                    </a:moveTo>
                    <a:lnTo>
                      <a:pt x="546720" y="484"/>
                    </a:lnTo>
                    <a:cubicBezTo>
                      <a:pt x="399996" y="5056"/>
                      <a:pt x="262576" y="65779"/>
                      <a:pt x="159794" y="171412"/>
                    </a:cubicBezTo>
                    <a:cubicBezTo>
                      <a:pt x="56743" y="277367"/>
                      <a:pt x="0" y="416831"/>
                      <a:pt x="0" y="564093"/>
                    </a:cubicBezTo>
                    <a:cubicBezTo>
                      <a:pt x="0" y="711463"/>
                      <a:pt x="56743" y="850980"/>
                      <a:pt x="159794" y="956989"/>
                    </a:cubicBezTo>
                    <a:cubicBezTo>
                      <a:pt x="262415" y="1062569"/>
                      <a:pt x="399512" y="1123184"/>
                      <a:pt x="545860" y="1127756"/>
                    </a:cubicBezTo>
                    <a:cubicBezTo>
                      <a:pt x="549894" y="1128240"/>
                      <a:pt x="564147" y="1128240"/>
                      <a:pt x="564147" y="1128240"/>
                    </a:cubicBezTo>
                    <a:cubicBezTo>
                      <a:pt x="661820" y="1128240"/>
                      <a:pt x="758202" y="1102746"/>
                      <a:pt x="842805" y="1054447"/>
                    </a:cubicBezTo>
                    <a:cubicBezTo>
                      <a:pt x="921976" y="1009268"/>
                      <a:pt x="989583" y="945103"/>
                      <a:pt x="1038850" y="868460"/>
                    </a:cubicBezTo>
                    <a:lnTo>
                      <a:pt x="1048370" y="853777"/>
                    </a:lnTo>
                    <a:cubicBezTo>
                      <a:pt x="1100648" y="766377"/>
                      <a:pt x="1128240" y="666337"/>
                      <a:pt x="1128240" y="564147"/>
                    </a:cubicBezTo>
                    <a:cubicBezTo>
                      <a:pt x="1128293" y="253057"/>
                      <a:pt x="875237" y="0"/>
                      <a:pt x="564147" y="0"/>
                    </a:cubicBezTo>
                    <a:close/>
                    <a:moveTo>
                      <a:pt x="837265" y="796227"/>
                    </a:moveTo>
                    <a:cubicBezTo>
                      <a:pt x="851948" y="734106"/>
                      <a:pt x="860446" y="668435"/>
                      <a:pt x="862652" y="600398"/>
                    </a:cubicBezTo>
                    <a:lnTo>
                      <a:pt x="1054501" y="600398"/>
                    </a:lnTo>
                    <a:cubicBezTo>
                      <a:pt x="1049338" y="668865"/>
                      <a:pt x="1029706" y="736042"/>
                      <a:pt x="997274" y="796227"/>
                    </a:cubicBezTo>
                    <a:lnTo>
                      <a:pt x="837265" y="796227"/>
                    </a:lnTo>
                    <a:close/>
                    <a:moveTo>
                      <a:pt x="738785" y="868406"/>
                    </a:moveTo>
                    <a:cubicBezTo>
                      <a:pt x="731847" y="886532"/>
                      <a:pt x="724048" y="904173"/>
                      <a:pt x="715443" y="921061"/>
                    </a:cubicBezTo>
                    <a:cubicBezTo>
                      <a:pt x="682580" y="985011"/>
                      <a:pt x="642403" y="1028631"/>
                      <a:pt x="600559" y="1046487"/>
                    </a:cubicBezTo>
                    <a:lnTo>
                      <a:pt x="600559" y="868406"/>
                    </a:lnTo>
                    <a:lnTo>
                      <a:pt x="738785" y="868406"/>
                    </a:lnTo>
                    <a:close/>
                    <a:moveTo>
                      <a:pt x="736957" y="1024328"/>
                    </a:moveTo>
                    <a:cubicBezTo>
                      <a:pt x="768690" y="982645"/>
                      <a:pt x="795743" y="929882"/>
                      <a:pt x="816773" y="868460"/>
                    </a:cubicBezTo>
                    <a:lnTo>
                      <a:pt x="949836" y="868460"/>
                    </a:lnTo>
                    <a:cubicBezTo>
                      <a:pt x="894062" y="939133"/>
                      <a:pt x="820538" y="992864"/>
                      <a:pt x="736957" y="1024328"/>
                    </a:cubicBezTo>
                    <a:close/>
                    <a:moveTo>
                      <a:pt x="600559" y="796227"/>
                    </a:moveTo>
                    <a:lnTo>
                      <a:pt x="600559" y="600398"/>
                    </a:lnTo>
                    <a:lnTo>
                      <a:pt x="789827" y="600398"/>
                    </a:lnTo>
                    <a:cubicBezTo>
                      <a:pt x="787460" y="669457"/>
                      <a:pt x="777941" y="736580"/>
                      <a:pt x="761967" y="796227"/>
                    </a:cubicBezTo>
                    <a:lnTo>
                      <a:pt x="600559" y="796227"/>
                    </a:lnTo>
                    <a:close/>
                    <a:moveTo>
                      <a:pt x="600559" y="527788"/>
                    </a:moveTo>
                    <a:lnTo>
                      <a:pt x="600559" y="334702"/>
                    </a:lnTo>
                    <a:lnTo>
                      <a:pt x="762773" y="334702"/>
                    </a:lnTo>
                    <a:cubicBezTo>
                      <a:pt x="778210" y="394295"/>
                      <a:pt x="787460" y="460450"/>
                      <a:pt x="789827" y="527788"/>
                    </a:cubicBezTo>
                    <a:lnTo>
                      <a:pt x="600559" y="527788"/>
                    </a:lnTo>
                    <a:close/>
                    <a:moveTo>
                      <a:pt x="600559" y="262039"/>
                    </a:moveTo>
                    <a:lnTo>
                      <a:pt x="600559" y="81860"/>
                    </a:lnTo>
                    <a:cubicBezTo>
                      <a:pt x="642672" y="100039"/>
                      <a:pt x="682849" y="143766"/>
                      <a:pt x="715550" y="207770"/>
                    </a:cubicBezTo>
                    <a:cubicBezTo>
                      <a:pt x="724102" y="223959"/>
                      <a:pt x="732062" y="241869"/>
                      <a:pt x="739700" y="262092"/>
                    </a:cubicBezTo>
                    <a:lnTo>
                      <a:pt x="600559" y="262092"/>
                    </a:lnTo>
                    <a:close/>
                    <a:moveTo>
                      <a:pt x="817311" y="262039"/>
                    </a:moveTo>
                    <a:cubicBezTo>
                      <a:pt x="796496" y="199702"/>
                      <a:pt x="769227" y="146079"/>
                      <a:pt x="736903" y="103751"/>
                    </a:cubicBezTo>
                    <a:cubicBezTo>
                      <a:pt x="821398" y="135376"/>
                      <a:pt x="895675" y="189967"/>
                      <a:pt x="951826" y="262039"/>
                    </a:cubicBezTo>
                    <a:lnTo>
                      <a:pt x="817311" y="262039"/>
                    </a:lnTo>
                    <a:close/>
                    <a:moveTo>
                      <a:pt x="1054501" y="527788"/>
                    </a:moveTo>
                    <a:lnTo>
                      <a:pt x="862652" y="527788"/>
                    </a:lnTo>
                    <a:cubicBezTo>
                      <a:pt x="860500" y="459858"/>
                      <a:pt x="852163" y="395048"/>
                      <a:pt x="837803" y="334702"/>
                    </a:cubicBezTo>
                    <a:lnTo>
                      <a:pt x="998619" y="334702"/>
                    </a:lnTo>
                    <a:cubicBezTo>
                      <a:pt x="1030190" y="394026"/>
                      <a:pt x="1049392" y="460235"/>
                      <a:pt x="1054501" y="527788"/>
                    </a:cubicBezTo>
                    <a:close/>
                    <a:moveTo>
                      <a:pt x="527788" y="868406"/>
                    </a:moveTo>
                    <a:lnTo>
                      <a:pt x="527788" y="1051704"/>
                    </a:lnTo>
                    <a:cubicBezTo>
                      <a:pt x="480350" y="1038688"/>
                      <a:pt x="434795" y="993133"/>
                      <a:pt x="397845" y="921115"/>
                    </a:cubicBezTo>
                    <a:cubicBezTo>
                      <a:pt x="389454" y="904657"/>
                      <a:pt x="381602" y="887016"/>
                      <a:pt x="374341" y="868406"/>
                    </a:cubicBezTo>
                    <a:lnTo>
                      <a:pt x="527788" y="868406"/>
                    </a:lnTo>
                    <a:close/>
                    <a:moveTo>
                      <a:pt x="296515" y="868406"/>
                    </a:moveTo>
                    <a:cubicBezTo>
                      <a:pt x="315931" y="925633"/>
                      <a:pt x="340672" y="975330"/>
                      <a:pt x="369500" y="1015346"/>
                    </a:cubicBezTo>
                    <a:cubicBezTo>
                      <a:pt x="294901" y="983021"/>
                      <a:pt x="229069" y="932464"/>
                      <a:pt x="178565" y="868406"/>
                    </a:cubicBezTo>
                    <a:lnTo>
                      <a:pt x="296515" y="868406"/>
                    </a:lnTo>
                    <a:close/>
                    <a:moveTo>
                      <a:pt x="527788" y="600451"/>
                    </a:moveTo>
                    <a:lnTo>
                      <a:pt x="527788" y="796281"/>
                    </a:lnTo>
                    <a:lnTo>
                      <a:pt x="350945" y="796281"/>
                    </a:lnTo>
                    <a:cubicBezTo>
                      <a:pt x="335347" y="736688"/>
                      <a:pt x="325827" y="669565"/>
                      <a:pt x="323084" y="600451"/>
                    </a:cubicBezTo>
                    <a:lnTo>
                      <a:pt x="527788" y="600451"/>
                    </a:lnTo>
                    <a:close/>
                    <a:moveTo>
                      <a:pt x="250636" y="600451"/>
                    </a:moveTo>
                    <a:cubicBezTo>
                      <a:pt x="252788" y="668489"/>
                      <a:pt x="261339" y="734160"/>
                      <a:pt x="276023" y="796281"/>
                    </a:cubicBezTo>
                    <a:lnTo>
                      <a:pt x="131127" y="796281"/>
                    </a:lnTo>
                    <a:cubicBezTo>
                      <a:pt x="98533" y="735881"/>
                      <a:pt x="79063" y="668704"/>
                      <a:pt x="74277" y="600451"/>
                    </a:cubicBezTo>
                    <a:lnTo>
                      <a:pt x="250636" y="600451"/>
                    </a:lnTo>
                    <a:close/>
                    <a:moveTo>
                      <a:pt x="275162" y="334702"/>
                    </a:moveTo>
                    <a:cubicBezTo>
                      <a:pt x="261017" y="395478"/>
                      <a:pt x="252788" y="460289"/>
                      <a:pt x="250636" y="527788"/>
                    </a:cubicBezTo>
                    <a:lnTo>
                      <a:pt x="74223" y="527788"/>
                    </a:lnTo>
                    <a:cubicBezTo>
                      <a:pt x="79010" y="460450"/>
                      <a:pt x="97996" y="394241"/>
                      <a:pt x="129782" y="334702"/>
                    </a:cubicBezTo>
                    <a:lnTo>
                      <a:pt x="275162" y="334702"/>
                    </a:lnTo>
                    <a:close/>
                    <a:moveTo>
                      <a:pt x="176682" y="262039"/>
                    </a:moveTo>
                    <a:cubicBezTo>
                      <a:pt x="227778" y="196959"/>
                      <a:pt x="294255" y="145649"/>
                      <a:pt x="369608" y="112894"/>
                    </a:cubicBezTo>
                    <a:cubicBezTo>
                      <a:pt x="340134" y="153716"/>
                      <a:pt x="315070" y="204166"/>
                      <a:pt x="295600" y="262039"/>
                    </a:cubicBezTo>
                    <a:lnTo>
                      <a:pt x="176682" y="262039"/>
                    </a:lnTo>
                    <a:close/>
                    <a:moveTo>
                      <a:pt x="527788" y="334702"/>
                    </a:moveTo>
                    <a:lnTo>
                      <a:pt x="527788" y="527788"/>
                    </a:lnTo>
                    <a:lnTo>
                      <a:pt x="323138" y="527788"/>
                    </a:lnTo>
                    <a:cubicBezTo>
                      <a:pt x="325827" y="460020"/>
                      <a:pt x="335240" y="393918"/>
                      <a:pt x="350568" y="334702"/>
                    </a:cubicBezTo>
                    <a:lnTo>
                      <a:pt x="527788" y="334702"/>
                    </a:lnTo>
                    <a:close/>
                    <a:moveTo>
                      <a:pt x="527788" y="76482"/>
                    </a:moveTo>
                    <a:lnTo>
                      <a:pt x="527788" y="262092"/>
                    </a:lnTo>
                    <a:lnTo>
                      <a:pt x="373588" y="262092"/>
                    </a:lnTo>
                    <a:cubicBezTo>
                      <a:pt x="381225" y="241869"/>
                      <a:pt x="389239" y="223905"/>
                      <a:pt x="397845" y="207555"/>
                    </a:cubicBezTo>
                    <a:cubicBezTo>
                      <a:pt x="434741" y="135215"/>
                      <a:pt x="480297" y="89498"/>
                      <a:pt x="527788" y="76482"/>
                    </a:cubicBezTo>
                    <a:close/>
                  </a:path>
                </a:pathLst>
              </a:custGeom>
              <a:solidFill>
                <a:schemeClr val="tx1"/>
              </a:solidFill>
              <a:ln w="4604"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sp>
            <p:nvSpPr>
              <p:cNvPr id="207" name="Freihandform: Form 222">
                <a:extLst>
                  <a:ext uri="{FF2B5EF4-FFF2-40B4-BE49-F238E27FC236}">
                    <a16:creationId xmlns:a16="http://schemas.microsoft.com/office/drawing/2014/main" id="{EA535170-03BB-0611-AABA-DC39FB830B14}"/>
                  </a:ext>
                </a:extLst>
              </p:cNvPr>
              <p:cNvSpPr>
                <a:spLocks noChangeAspect="1"/>
              </p:cNvSpPr>
              <p:nvPr/>
            </p:nvSpPr>
            <p:spPr>
              <a:xfrm>
                <a:off x="7636856" y="2363495"/>
                <a:ext cx="212811" cy="260841"/>
              </a:xfrm>
              <a:custGeom>
                <a:avLst/>
                <a:gdLst>
                  <a:gd name="connsiteX0" fmla="*/ 352591 w 705182"/>
                  <a:gd name="connsiteY0" fmla="*/ 0 h 861853"/>
                  <a:gd name="connsiteX1" fmla="*/ 0 w 705182"/>
                  <a:gd name="connsiteY1" fmla="*/ 160357 h 861853"/>
                  <a:gd name="connsiteX2" fmla="*/ 0 w 705182"/>
                  <a:gd name="connsiteY2" fmla="*/ 391748 h 861853"/>
                  <a:gd name="connsiteX3" fmla="*/ 352591 w 705182"/>
                  <a:gd name="connsiteY3" fmla="*/ 861854 h 861853"/>
                  <a:gd name="connsiteX4" fmla="*/ 705182 w 705182"/>
                  <a:gd name="connsiteY4" fmla="*/ 391748 h 861853"/>
                  <a:gd name="connsiteX5" fmla="*/ 705182 w 705182"/>
                  <a:gd name="connsiteY5" fmla="*/ 160357 h 861853"/>
                  <a:gd name="connsiteX6" fmla="*/ 352591 w 705182"/>
                  <a:gd name="connsiteY6" fmla="*/ 0 h 861853"/>
                  <a:gd name="connsiteX7" fmla="*/ 352591 w 705182"/>
                  <a:gd name="connsiteY7" fmla="*/ 430535 h 861853"/>
                  <a:gd name="connsiteX8" fmla="*/ 626824 w 705182"/>
                  <a:gd name="connsiteY8" fmla="*/ 430535 h 861853"/>
                  <a:gd name="connsiteX9" fmla="*/ 352591 w 705182"/>
                  <a:gd name="connsiteY9" fmla="*/ 780547 h 861853"/>
                  <a:gd name="connsiteX10" fmla="*/ 352591 w 705182"/>
                  <a:gd name="connsiteY10" fmla="*/ 430904 h 861853"/>
                  <a:gd name="connsiteX11" fmla="*/ 78359 w 705182"/>
                  <a:gd name="connsiteY11" fmla="*/ 430904 h 861853"/>
                  <a:gd name="connsiteX12" fmla="*/ 78359 w 705182"/>
                  <a:gd name="connsiteY12" fmla="*/ 207621 h 861853"/>
                  <a:gd name="connsiteX13" fmla="*/ 352591 w 705182"/>
                  <a:gd name="connsiteY13" fmla="*/ 85775 h 861853"/>
                  <a:gd name="connsiteX14" fmla="*/ 352591 w 705182"/>
                  <a:gd name="connsiteY14" fmla="*/ 430535 h 86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5182" h="861853">
                    <a:moveTo>
                      <a:pt x="352591" y="0"/>
                    </a:moveTo>
                    <a:lnTo>
                      <a:pt x="0" y="160357"/>
                    </a:lnTo>
                    <a:lnTo>
                      <a:pt x="0" y="391748"/>
                    </a:lnTo>
                    <a:cubicBezTo>
                      <a:pt x="0" y="609365"/>
                      <a:pt x="150222" y="812287"/>
                      <a:pt x="352591" y="861854"/>
                    </a:cubicBezTo>
                    <a:cubicBezTo>
                      <a:pt x="554914" y="812287"/>
                      <a:pt x="705182" y="609365"/>
                      <a:pt x="705182" y="391748"/>
                    </a:cubicBezTo>
                    <a:lnTo>
                      <a:pt x="705182" y="160357"/>
                    </a:lnTo>
                    <a:lnTo>
                      <a:pt x="352591" y="0"/>
                    </a:lnTo>
                    <a:close/>
                    <a:moveTo>
                      <a:pt x="352591" y="430535"/>
                    </a:moveTo>
                    <a:lnTo>
                      <a:pt x="626824" y="430535"/>
                    </a:lnTo>
                    <a:cubicBezTo>
                      <a:pt x="606048" y="591952"/>
                      <a:pt x="498529" y="735724"/>
                      <a:pt x="352591" y="780547"/>
                    </a:cubicBezTo>
                    <a:lnTo>
                      <a:pt x="352591" y="430904"/>
                    </a:lnTo>
                    <a:lnTo>
                      <a:pt x="78359" y="430904"/>
                    </a:lnTo>
                    <a:lnTo>
                      <a:pt x="78359" y="207621"/>
                    </a:lnTo>
                    <a:lnTo>
                      <a:pt x="352591" y="85775"/>
                    </a:lnTo>
                    <a:lnTo>
                      <a:pt x="352591" y="430535"/>
                    </a:lnTo>
                    <a:close/>
                  </a:path>
                </a:pathLst>
              </a:custGeom>
              <a:solidFill>
                <a:schemeClr val="tx1"/>
              </a:solidFill>
              <a:ln w="4604" cap="flat">
                <a:noFill/>
                <a:prstDash val="solid"/>
                <a:miter/>
              </a:ln>
            </p:spPr>
            <p:txBody>
              <a:bodyPr rtlCol="0" anchor="ctr"/>
              <a:lstStyle/>
              <a:p>
                <a:pPr defTabSz="913943" fontAlgn="base">
                  <a:spcBef>
                    <a:spcPct val="50000"/>
                  </a:spcBef>
                  <a:spcAft>
                    <a:spcPct val="0"/>
                  </a:spcAft>
                  <a:defRPr/>
                </a:pPr>
                <a:endParaRPr lang="en-US" sz="1799">
                  <a:solidFill>
                    <a:schemeClr val="bg1">
                      <a:lumMod val="85000"/>
                      <a:lumOff val="15000"/>
                    </a:schemeClr>
                  </a:solidFill>
                  <a:latin typeface="Arial" pitchFamily="34" charset="0"/>
                  <a:ea typeface="ＭＳ Ｐゴシック" charset="-128"/>
                </a:endParaRPr>
              </a:p>
            </p:txBody>
          </p:sp>
        </p:grpSp>
      </p:grpSp>
      <p:cxnSp>
        <p:nvCxnSpPr>
          <p:cNvPr id="14" name="Straight Connector 13">
            <a:extLst>
              <a:ext uri="{FF2B5EF4-FFF2-40B4-BE49-F238E27FC236}">
                <a16:creationId xmlns:a16="http://schemas.microsoft.com/office/drawing/2014/main" id="{5A356693-0349-D287-E3B2-F6792C468BDD}"/>
              </a:ext>
            </a:extLst>
          </p:cNvPr>
          <p:cNvCxnSpPr>
            <a:cxnSpLocks/>
          </p:cNvCxnSpPr>
          <p:nvPr/>
        </p:nvCxnSpPr>
        <p:spPr>
          <a:xfrm>
            <a:off x="3321743" y="1894339"/>
            <a:ext cx="1161132" cy="0"/>
          </a:xfrm>
          <a:prstGeom prst="line">
            <a:avLst/>
          </a:prstGeom>
          <a:ln w="9525">
            <a:solidFill>
              <a:srgbClr val="333353">
                <a:alpha val="60000"/>
              </a:srgbClr>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F33BE85-459D-4A2A-6AA2-8170CE8B3FB8}"/>
              </a:ext>
            </a:extLst>
          </p:cNvPr>
          <p:cNvCxnSpPr>
            <a:cxnSpLocks/>
          </p:cNvCxnSpPr>
          <p:nvPr/>
        </p:nvCxnSpPr>
        <p:spPr>
          <a:xfrm>
            <a:off x="3321743" y="3086800"/>
            <a:ext cx="1161132" cy="0"/>
          </a:xfrm>
          <a:prstGeom prst="line">
            <a:avLst/>
          </a:prstGeom>
          <a:ln w="9525">
            <a:solidFill>
              <a:srgbClr val="333353">
                <a:alpha val="60000"/>
              </a:srgbClr>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FB8536C-A0B6-3498-4970-4F25C515A48F}"/>
              </a:ext>
            </a:extLst>
          </p:cNvPr>
          <p:cNvCxnSpPr>
            <a:cxnSpLocks/>
          </p:cNvCxnSpPr>
          <p:nvPr/>
        </p:nvCxnSpPr>
        <p:spPr>
          <a:xfrm>
            <a:off x="3321743" y="4294650"/>
            <a:ext cx="1160808" cy="0"/>
          </a:xfrm>
          <a:prstGeom prst="line">
            <a:avLst/>
          </a:prstGeom>
          <a:ln w="9525">
            <a:solidFill>
              <a:srgbClr val="333353">
                <a:alpha val="60000"/>
              </a:srgbClr>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DCD76D5-27D9-3F13-7BE1-62D307E21E5C}"/>
              </a:ext>
            </a:extLst>
          </p:cNvPr>
          <p:cNvCxnSpPr>
            <a:cxnSpLocks/>
          </p:cNvCxnSpPr>
          <p:nvPr/>
        </p:nvCxnSpPr>
        <p:spPr>
          <a:xfrm>
            <a:off x="3321743" y="5410166"/>
            <a:ext cx="1160808" cy="0"/>
          </a:xfrm>
          <a:prstGeom prst="line">
            <a:avLst/>
          </a:prstGeom>
          <a:ln w="9525">
            <a:solidFill>
              <a:srgbClr val="333353">
                <a:alpha val="60000"/>
              </a:srgbClr>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43F7143B-9C37-048F-9593-1BB8580F3A0C}"/>
              </a:ext>
            </a:extLst>
          </p:cNvPr>
          <p:cNvSpPr/>
          <p:nvPr/>
        </p:nvSpPr>
        <p:spPr>
          <a:xfrm>
            <a:off x="4443439" y="1854257"/>
            <a:ext cx="80164" cy="80164"/>
          </a:xfrm>
          <a:prstGeom prst="ellipse">
            <a:avLst/>
          </a:prstGeom>
          <a:solidFill>
            <a:schemeClr val="accent1"/>
          </a:solidFill>
          <a:ln>
            <a:solidFill>
              <a:srgbClr val="000028"/>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36" name="Oval 35">
            <a:extLst>
              <a:ext uri="{FF2B5EF4-FFF2-40B4-BE49-F238E27FC236}">
                <a16:creationId xmlns:a16="http://schemas.microsoft.com/office/drawing/2014/main" id="{1724DEBB-4A2D-9F6E-FD8C-3F9379337E3D}"/>
              </a:ext>
            </a:extLst>
          </p:cNvPr>
          <p:cNvSpPr/>
          <p:nvPr/>
        </p:nvSpPr>
        <p:spPr>
          <a:xfrm>
            <a:off x="4442469" y="3051529"/>
            <a:ext cx="80164" cy="80164"/>
          </a:xfrm>
          <a:prstGeom prst="ellipse">
            <a:avLst/>
          </a:prstGeom>
          <a:solidFill>
            <a:schemeClr val="accent1"/>
          </a:solidFill>
          <a:ln>
            <a:solidFill>
              <a:srgbClr val="000028"/>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37" name="Oval 36">
            <a:extLst>
              <a:ext uri="{FF2B5EF4-FFF2-40B4-BE49-F238E27FC236}">
                <a16:creationId xmlns:a16="http://schemas.microsoft.com/office/drawing/2014/main" id="{E0B0BE97-55A9-E8EB-E87A-F96F23F7A3D0}"/>
              </a:ext>
            </a:extLst>
          </p:cNvPr>
          <p:cNvSpPr/>
          <p:nvPr/>
        </p:nvSpPr>
        <p:spPr>
          <a:xfrm>
            <a:off x="4442469" y="4253795"/>
            <a:ext cx="80164" cy="80164"/>
          </a:xfrm>
          <a:prstGeom prst="ellipse">
            <a:avLst/>
          </a:prstGeom>
          <a:solidFill>
            <a:schemeClr val="accent1"/>
          </a:solidFill>
          <a:ln>
            <a:solidFill>
              <a:srgbClr val="000028"/>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38" name="Oval 37">
            <a:extLst>
              <a:ext uri="{FF2B5EF4-FFF2-40B4-BE49-F238E27FC236}">
                <a16:creationId xmlns:a16="http://schemas.microsoft.com/office/drawing/2014/main" id="{59FD8684-7427-8635-D0E6-67BEA03D3D34}"/>
              </a:ext>
            </a:extLst>
          </p:cNvPr>
          <p:cNvSpPr/>
          <p:nvPr/>
        </p:nvSpPr>
        <p:spPr>
          <a:xfrm>
            <a:off x="4433752" y="5364138"/>
            <a:ext cx="80164" cy="80164"/>
          </a:xfrm>
          <a:prstGeom prst="ellipse">
            <a:avLst/>
          </a:prstGeom>
          <a:solidFill>
            <a:schemeClr val="accent1"/>
          </a:solidFill>
          <a:ln>
            <a:solidFill>
              <a:srgbClr val="000028"/>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Tree>
    <p:extLst>
      <p:ext uri="{BB962C8B-B14F-4D97-AF65-F5344CB8AC3E}">
        <p14:creationId xmlns:p14="http://schemas.microsoft.com/office/powerpoint/2010/main" val="296300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028"/>
        </a:solidFill>
        <a:effectLst/>
      </p:bgPr>
    </p:bg>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6B64445E-817B-4906-37CB-3493950DF9C2}"/>
              </a:ext>
            </a:extLst>
          </p:cNvPr>
          <p:cNvGraphicFramePr>
            <a:graphicFrameLocks noChangeAspect="1"/>
          </p:cNvGraphicFramePr>
          <p:nvPr>
            <p:custDataLst>
              <p:tags r:id="rId1"/>
            </p:custDataLst>
            <p:extLst>
              <p:ext uri="{D42A27DB-BD31-4B8C-83A1-F6EECF244321}">
                <p14:modId xmlns:p14="http://schemas.microsoft.com/office/powerpoint/2010/main" val="32795352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4" name="think-cell data - do not delete" hidden="1">
                        <a:extLst>
                          <a:ext uri="{FF2B5EF4-FFF2-40B4-BE49-F238E27FC236}">
                            <a16:creationId xmlns:a16="http://schemas.microsoft.com/office/drawing/2014/main" id="{6B64445E-817B-4906-37CB-3493950DF9C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Grafik 14" descr="Ein Bild, das Person, Text, Gerät, Elektronik enthält.&#10;&#10;Automatisch generierte Beschreibung">
            <a:extLst>
              <a:ext uri="{FF2B5EF4-FFF2-40B4-BE49-F238E27FC236}">
                <a16:creationId xmlns:a16="http://schemas.microsoft.com/office/drawing/2014/main" id="{DED94BC9-1D87-6818-65CE-61EA0A430BE3}"/>
              </a:ext>
            </a:extLst>
          </p:cNvPr>
          <p:cNvPicPr>
            <a:picLocks noChangeAspect="1"/>
          </p:cNvPicPr>
          <p:nvPr/>
        </p:nvPicPr>
        <p:blipFill rotWithShape="1">
          <a:blip r:embed="rId6">
            <a:alphaModFix amt="70000"/>
          </a:blip>
          <a:srcRect l="4329" t="7779" r="27694" b="410"/>
          <a:stretch/>
        </p:blipFill>
        <p:spPr>
          <a:xfrm>
            <a:off x="0" y="-4"/>
            <a:ext cx="7611162" cy="6858004"/>
          </a:xfrm>
          <a:prstGeom prst="rect">
            <a:avLst/>
          </a:prstGeom>
        </p:spPr>
      </p:pic>
      <p:sp>
        <p:nvSpPr>
          <p:cNvPr id="9" name="Titel 5">
            <a:extLst>
              <a:ext uri="{FF2B5EF4-FFF2-40B4-BE49-F238E27FC236}">
                <a16:creationId xmlns:a16="http://schemas.microsoft.com/office/drawing/2014/main" id="{0B13008E-1321-5ACD-6D6B-E18C998EEEDB}"/>
              </a:ext>
            </a:extLst>
          </p:cNvPr>
          <p:cNvSpPr txBox="1">
            <a:spLocks/>
          </p:cNvSpPr>
          <p:nvPr/>
        </p:nvSpPr>
        <p:spPr bwMode="black">
          <a:xfrm>
            <a:off x="7985118" y="2046571"/>
            <a:ext cx="3744000" cy="2788969"/>
          </a:xfrm>
          <a:prstGeom prst="rect">
            <a:avLst/>
          </a:prstGeom>
          <a:noFill/>
        </p:spPr>
        <p:txBody>
          <a:bodyPr vert="horz" wrap="square" lIns="0" tIns="0" rIns="0" bIns="0" rtlCol="0" anchor="t" anchorCtr="0">
            <a:spAutoFit/>
          </a:bodyPr>
          <a:lstStyle>
            <a:lvl1pPr marL="0" algn="l" defTabSz="914400" rtl="0" eaLnBrk="1" latinLnBrk="0" hangingPunct="1">
              <a:lnSpc>
                <a:spcPct val="100000"/>
              </a:lnSpc>
              <a:spcBef>
                <a:spcPct val="0"/>
              </a:spcBef>
              <a:buNone/>
              <a:defRPr sz="4800" b="0" kern="1200">
                <a:solidFill>
                  <a:schemeClr val="bg1"/>
                </a:solidFill>
                <a:latin typeface="+mj-lt"/>
                <a:ea typeface="+mj-ea"/>
                <a:cs typeface="+mj-cs"/>
              </a:defRPr>
            </a:lvl1pPr>
          </a:lstStyle>
          <a:p>
            <a:r>
              <a:rPr lang="en-US" sz="2400" b="1">
                <a:gradFill>
                  <a:gsLst>
                    <a:gs pos="100000">
                      <a:srgbClr val="00E6DC"/>
                    </a:gs>
                    <a:gs pos="0">
                      <a:srgbClr val="00FFB9"/>
                    </a:gs>
                  </a:gsLst>
                  <a:lin ang="0" scaled="0"/>
                </a:gradFill>
                <a:latin typeface="+mn-lt"/>
                <a:ea typeface="+mn-ea"/>
                <a:cs typeface="+mn-cs"/>
              </a:rPr>
              <a:t>SIMATIC PCS neo </a:t>
            </a:r>
            <a:br>
              <a:rPr lang="en-US" sz="2400" b="1">
                <a:gradFill>
                  <a:gsLst>
                    <a:gs pos="100000">
                      <a:srgbClr val="00E6DC"/>
                    </a:gs>
                    <a:gs pos="0">
                      <a:srgbClr val="00FFB9"/>
                    </a:gs>
                  </a:gsLst>
                  <a:lin ang="0" scaled="0"/>
                </a:gradFill>
                <a:latin typeface="+mn-lt"/>
                <a:ea typeface="+mn-ea"/>
                <a:cs typeface="+mn-cs"/>
              </a:rPr>
            </a:br>
            <a:r>
              <a:rPr lang="en-US" sz="2400" b="1" err="1">
                <a:gradFill>
                  <a:gsLst>
                    <a:gs pos="100000">
                      <a:srgbClr val="00E6DC"/>
                    </a:gs>
                    <a:gs pos="0">
                      <a:srgbClr val="00FFB9"/>
                    </a:gs>
                  </a:gsLst>
                  <a:lin ang="0" scaled="0"/>
                </a:gradFill>
                <a:latin typeface="+mn-lt"/>
                <a:ea typeface="+mn-ea"/>
                <a:cs typeface="+mn-cs"/>
              </a:rPr>
              <a:t>GenAI</a:t>
            </a:r>
            <a:r>
              <a:rPr lang="en-US" sz="2400" b="1">
                <a:gradFill>
                  <a:gsLst>
                    <a:gs pos="100000">
                      <a:srgbClr val="00E6DC"/>
                    </a:gs>
                    <a:gs pos="0">
                      <a:srgbClr val="00FFB9"/>
                    </a:gs>
                  </a:gsLst>
                  <a:lin ang="0" scaled="0"/>
                </a:gradFill>
                <a:latin typeface="+mn-lt"/>
                <a:ea typeface="+mn-ea"/>
                <a:cs typeface="+mn-cs"/>
              </a:rPr>
              <a:t> SFC Generation</a:t>
            </a:r>
          </a:p>
          <a:p>
            <a:endParaRPr lang="en-US" sz="2400" b="1">
              <a:gradFill>
                <a:gsLst>
                  <a:gs pos="100000">
                    <a:srgbClr val="00E6DC"/>
                  </a:gs>
                  <a:gs pos="0">
                    <a:srgbClr val="00FFB9"/>
                  </a:gs>
                </a:gsLst>
                <a:lin ang="0" scaled="0"/>
              </a:gradFill>
              <a:latin typeface="+mn-lt"/>
              <a:ea typeface="+mn-ea"/>
              <a:cs typeface="+mn-cs"/>
            </a:endParaRPr>
          </a:p>
          <a:p>
            <a:pPr marL="182880" indent="-182880">
              <a:lnSpc>
                <a:spcPct val="110000"/>
              </a:lnSpc>
              <a:buFont typeface="Arial" panose="020B0604020202020204" pitchFamily="34" charset="0"/>
              <a:buChar char="•"/>
            </a:pPr>
            <a:r>
              <a:rPr lang="en-US" sz="1600">
                <a:latin typeface="+mn-lt"/>
              </a:rPr>
              <a:t>Automated creation </a:t>
            </a:r>
            <a:r>
              <a:rPr lang="en-US" sz="1600">
                <a:solidFill>
                  <a:schemeClr val="bg1"/>
                </a:solidFill>
                <a:latin typeface="+mn-lt"/>
              </a:rPr>
              <a:t>of Sequential Function Charts (SFCs) within SIMATIC PCS neo</a:t>
            </a:r>
          </a:p>
          <a:p>
            <a:pPr marL="182880" indent="-182880">
              <a:lnSpc>
                <a:spcPct val="110000"/>
              </a:lnSpc>
              <a:spcBef>
                <a:spcPts val="600"/>
              </a:spcBef>
              <a:buFont typeface="Arial" panose="020B0604020202020204" pitchFamily="34" charset="0"/>
              <a:buChar char="•"/>
            </a:pPr>
            <a:r>
              <a:rPr lang="en-US" sz="1600">
                <a:solidFill>
                  <a:schemeClr val="bg1"/>
                </a:solidFill>
                <a:latin typeface="+mn-lt"/>
              </a:rPr>
              <a:t>Visual representation of the process logic, allowing to manage complex workflows with ease</a:t>
            </a:r>
          </a:p>
        </p:txBody>
      </p:sp>
      <p:grpSp>
        <p:nvGrpSpPr>
          <p:cNvPr id="14" name="Group 13">
            <a:extLst>
              <a:ext uri="{FF2B5EF4-FFF2-40B4-BE49-F238E27FC236}">
                <a16:creationId xmlns:a16="http://schemas.microsoft.com/office/drawing/2014/main" id="{A34893E6-7FEC-4FDF-81DC-9F7FE2E53F76}"/>
              </a:ext>
            </a:extLst>
          </p:cNvPr>
          <p:cNvGrpSpPr/>
          <p:nvPr/>
        </p:nvGrpSpPr>
        <p:grpSpPr>
          <a:xfrm>
            <a:off x="10980958" y="479425"/>
            <a:ext cx="822960" cy="822960"/>
            <a:chOff x="411162" y="2917681"/>
            <a:chExt cx="822960" cy="822960"/>
          </a:xfrm>
        </p:grpSpPr>
        <p:sp>
          <p:nvSpPr>
            <p:cNvPr id="16" name="Rectangle 15">
              <a:extLst>
                <a:ext uri="{FF2B5EF4-FFF2-40B4-BE49-F238E27FC236}">
                  <a16:creationId xmlns:a16="http://schemas.microsoft.com/office/drawing/2014/main" id="{1AC8D7ED-D4C4-ADF0-0D1F-AF18A8D1ADC8}"/>
                </a:ext>
              </a:extLst>
            </p:cNvPr>
            <p:cNvSpPr/>
            <p:nvPr/>
          </p:nvSpPr>
          <p:spPr>
            <a:xfrm>
              <a:off x="411162" y="2917681"/>
              <a:ext cx="822960" cy="822960"/>
            </a:xfrm>
            <a:prstGeom prst="rect">
              <a:avLst/>
            </a:prstGeom>
            <a:gradFill>
              <a:gsLst>
                <a:gs pos="0">
                  <a:srgbClr val="00FFB9"/>
                </a:gs>
                <a:gs pos="99000">
                  <a:srgbClr val="00E6DC"/>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b" anchorCtr="0"/>
            <a:lstStyle/>
            <a:p>
              <a:pPr algn="l"/>
              <a:endParaRPr lang="en-US"/>
            </a:p>
          </p:txBody>
        </p:sp>
        <p:sp>
          <p:nvSpPr>
            <p:cNvPr id="17" name="TextBox 16">
              <a:extLst>
                <a:ext uri="{FF2B5EF4-FFF2-40B4-BE49-F238E27FC236}">
                  <a16:creationId xmlns:a16="http://schemas.microsoft.com/office/drawing/2014/main" id="{B89FDA1F-937E-46AC-F38F-12D8F3FFC79F}"/>
                </a:ext>
              </a:extLst>
            </p:cNvPr>
            <p:cNvSpPr txBox="1">
              <a:spLocks noChangeAspect="1"/>
            </p:cNvSpPr>
            <p:nvPr/>
          </p:nvSpPr>
          <p:spPr>
            <a:xfrm>
              <a:off x="514052" y="2989304"/>
              <a:ext cx="628948" cy="677108"/>
            </a:xfrm>
            <a:prstGeom prst="rect">
              <a:avLst/>
            </a:prstGeom>
            <a:noFill/>
          </p:spPr>
          <p:txBody>
            <a:bodyPr wrap="square" lIns="0" tIns="0" rIns="0" bIns="0" rtlCol="0">
              <a:spAutoFit/>
            </a:bodyPr>
            <a:lstStyle/>
            <a:p>
              <a:pPr algn="l"/>
              <a:endParaRPr lang="en-US" sz="2000"/>
            </a:p>
            <a:p>
              <a:pPr algn="l"/>
              <a:r>
                <a:rPr lang="en-US" sz="1200" b="1">
                  <a:solidFill>
                    <a:srgbClr val="000028"/>
                  </a:solidFill>
                </a:rPr>
                <a:t>New Product</a:t>
              </a:r>
            </a:p>
          </p:txBody>
        </p:sp>
      </p:grpSp>
      <p:pic>
        <p:nvPicPr>
          <p:cNvPr id="25" name="Siemens Logo">
            <a:extLst>
              <a:ext uri="{FF2B5EF4-FFF2-40B4-BE49-F238E27FC236}">
                <a16:creationId xmlns:a16="http://schemas.microsoft.com/office/drawing/2014/main" id="{50F41A11-13C6-178A-9F86-A2F7597F087E}"/>
              </a:ext>
              <a:ext uri="{C183D7F6-B498-43B3-948B-1728B52AA6E4}">
                <adec:decorative xmlns:adec="http://schemas.microsoft.com/office/drawing/2017/decorative" val="0"/>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2496441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0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5.xml><?xml version="1.0" encoding="utf-8"?>
<p:tagLst xmlns:a="http://schemas.openxmlformats.org/drawingml/2006/main" xmlns:r="http://schemas.openxmlformats.org/officeDocument/2006/relationships" xmlns:p="http://schemas.openxmlformats.org/presentationml/2006/main">
  <p:tag name="SHAPENAME" val="Subtitle"/>
</p:tagLst>
</file>

<file path=ppt/tags/tag116.xml><?xml version="1.0" encoding="utf-8"?>
<p:tagLst xmlns:a="http://schemas.openxmlformats.org/drawingml/2006/main" xmlns:r="http://schemas.openxmlformats.org/officeDocument/2006/relationships" xmlns:p="http://schemas.openxmlformats.org/presentationml/2006/main">
  <p:tag name="SHAPENAME" val="Titl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Subtitle"/>
</p:tagLst>
</file>

<file path=ppt/tags/tag121.xml><?xml version="1.0" encoding="utf-8"?>
<p:tagLst xmlns:a="http://schemas.openxmlformats.org/drawingml/2006/main" xmlns:r="http://schemas.openxmlformats.org/officeDocument/2006/relationships" xmlns:p="http://schemas.openxmlformats.org/presentationml/2006/main">
  <p:tag name="SHAPENAME" val="Titl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5.xml><?xml version="1.0" encoding="utf-8"?>
<p:tagLst xmlns:a="http://schemas.openxmlformats.org/drawingml/2006/main" xmlns:r="http://schemas.openxmlformats.org/officeDocument/2006/relationships" xmlns:p="http://schemas.openxmlformats.org/presentationml/2006/main">
  <p:tag name="SHAPENAME" val="Titl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Grid"/>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1.xml><?xml version="1.0" encoding="utf-8"?>
<p:tagLst xmlns:a="http://schemas.openxmlformats.org/drawingml/2006/main" xmlns:r="http://schemas.openxmlformats.org/officeDocument/2006/relationships" xmlns:p="http://schemas.openxmlformats.org/presentationml/2006/main">
  <p:tag name="NAME" val="ACET"/>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ANGLE" val="5"/>
</p:tagLst>
</file>

<file path=ppt/tags/tag138.xml><?xml version="1.0" encoding="utf-8"?>
<p:tagLst xmlns:a="http://schemas.openxmlformats.org/drawingml/2006/main" xmlns:r="http://schemas.openxmlformats.org/officeDocument/2006/relationships" xmlns:p="http://schemas.openxmlformats.org/presentationml/2006/main">
  <p:tag name="ANGLE" val="5"/>
</p:tagLst>
</file>

<file path=ppt/tags/tag139.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ANGLE" val="4"/>
</p:tagLst>
</file>

<file path=ppt/tags/tag141.xml><?xml version="1.0" encoding="utf-8"?>
<p:tagLst xmlns:a="http://schemas.openxmlformats.org/drawingml/2006/main" xmlns:r="http://schemas.openxmlformats.org/officeDocument/2006/relationships" xmlns:p="http://schemas.openxmlformats.org/presentationml/2006/main">
  <p:tag name="ANGLE" val="3"/>
</p:tagLst>
</file>

<file path=ppt/tags/tag142.xml><?xml version="1.0" encoding="utf-8"?>
<p:tagLst xmlns:a="http://schemas.openxmlformats.org/drawingml/2006/main" xmlns:r="http://schemas.openxmlformats.org/officeDocument/2006/relationships" xmlns:p="http://schemas.openxmlformats.org/presentationml/2006/main">
  <p:tag name="ANGLE" val="3"/>
</p:tagLst>
</file>

<file path=ppt/tags/tag143.xml><?xml version="1.0" encoding="utf-8"?>
<p:tagLst xmlns:a="http://schemas.openxmlformats.org/drawingml/2006/main" xmlns:r="http://schemas.openxmlformats.org/officeDocument/2006/relationships" xmlns:p="http://schemas.openxmlformats.org/presentationml/2006/main">
  <p:tag name="ANGLE" val="2"/>
</p:tagLst>
</file>

<file path=ppt/tags/tag144.xml><?xml version="1.0" encoding="utf-8"?>
<p:tagLst xmlns:a="http://schemas.openxmlformats.org/drawingml/2006/main" xmlns:r="http://schemas.openxmlformats.org/officeDocument/2006/relationships" xmlns:p="http://schemas.openxmlformats.org/presentationml/2006/main">
  <p:tag name="ANGLE" val="2"/>
</p:tagLst>
</file>

<file path=ppt/tags/tag145.xml><?xml version="1.0" encoding="utf-8"?>
<p:tagLst xmlns:a="http://schemas.openxmlformats.org/drawingml/2006/main" xmlns:r="http://schemas.openxmlformats.org/officeDocument/2006/relationships" xmlns:p="http://schemas.openxmlformats.org/presentationml/2006/main">
  <p:tag name="ANGLE" val="1"/>
</p:tagLst>
</file>

<file path=ppt/tags/tag146.xml><?xml version="1.0" encoding="utf-8"?>
<p:tagLst xmlns:a="http://schemas.openxmlformats.org/drawingml/2006/main" xmlns:r="http://schemas.openxmlformats.org/officeDocument/2006/relationships" xmlns:p="http://schemas.openxmlformats.org/presentationml/2006/main">
  <p:tag name="ANGLE"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DEwDvj6zwGGj4TqFh._CiQ"/>
</p:tagLst>
</file>

<file path=ppt/tags/tag14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Subtitle"/>
</p:tagLst>
</file>

<file path=ppt/tags/tag151.xml><?xml version="1.0" encoding="utf-8"?>
<p:tagLst xmlns:a="http://schemas.openxmlformats.org/drawingml/2006/main" xmlns:r="http://schemas.openxmlformats.org/officeDocument/2006/relationships" xmlns:p="http://schemas.openxmlformats.org/presentationml/2006/main">
  <p:tag name="SHAPENAME" val="Titl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5. Source"/>
</p:tagLst>
</file>

<file path=ppt/tags/tag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4"/>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8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3"/>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2"/>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SHAPENAME" val="5. Sourc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NGLE"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SHAPENAME" val="Grid"/>
</p:tagLst>
</file>

<file path=ppt/tags/tag24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44.xml><?xml version="1.0" encoding="utf-8"?>
<p:tagLst xmlns:a="http://schemas.openxmlformats.org/drawingml/2006/main" xmlns:r="http://schemas.openxmlformats.org/officeDocument/2006/relationships" xmlns:p="http://schemas.openxmlformats.org/presentationml/2006/main">
  <p:tag name="NAME" val="ACET"/>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
</p:tagLst>
</file>

<file path=ppt/tags/tag247.xml><?xml version="1.0" encoding="utf-8"?>
<p:tagLst xmlns:a="http://schemas.openxmlformats.org/drawingml/2006/main" xmlns:r="http://schemas.openxmlformats.org/officeDocument/2006/relationships" xmlns:p="http://schemas.openxmlformats.org/presentationml/2006/main">
  <p:tag name="NAME" val="Moon"/>
</p:tagLst>
</file>

<file path=ppt/tags/tag248.xml><?xml version="1.0" encoding="utf-8"?>
<p:tagLst xmlns:a="http://schemas.openxmlformats.org/drawingml/2006/main" xmlns:r="http://schemas.openxmlformats.org/officeDocument/2006/relationships" xmlns:p="http://schemas.openxmlformats.org/presentationml/2006/main">
  <p:tag name="NAME" val="Moon"/>
</p:tagLst>
</file>

<file path=ppt/tags/tag249.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ANGLE" val="5"/>
</p:tagLst>
</file>

<file path=ppt/tags/tag251.xml><?xml version="1.0" encoding="utf-8"?>
<p:tagLst xmlns:a="http://schemas.openxmlformats.org/drawingml/2006/main" xmlns:r="http://schemas.openxmlformats.org/officeDocument/2006/relationships" xmlns:p="http://schemas.openxmlformats.org/presentationml/2006/main">
  <p:tag name="ANGLE" val="5"/>
</p:tagLst>
</file>

<file path=ppt/tags/tag252.xml><?xml version="1.0" encoding="utf-8"?>
<p:tagLst xmlns:a="http://schemas.openxmlformats.org/drawingml/2006/main" xmlns:r="http://schemas.openxmlformats.org/officeDocument/2006/relationships" xmlns:p="http://schemas.openxmlformats.org/presentationml/2006/main">
  <p:tag name="ANGLE" val="4"/>
</p:tagLst>
</file>

<file path=ppt/tags/tag253.xml><?xml version="1.0" encoding="utf-8"?>
<p:tagLst xmlns:a="http://schemas.openxmlformats.org/drawingml/2006/main" xmlns:r="http://schemas.openxmlformats.org/officeDocument/2006/relationships" xmlns:p="http://schemas.openxmlformats.org/presentationml/2006/main">
  <p:tag name="ANGLE" val="4"/>
</p:tagLst>
</file>

<file path=ppt/tags/tag254.xml><?xml version="1.0" encoding="utf-8"?>
<p:tagLst xmlns:a="http://schemas.openxmlformats.org/drawingml/2006/main" xmlns:r="http://schemas.openxmlformats.org/officeDocument/2006/relationships" xmlns:p="http://schemas.openxmlformats.org/presentationml/2006/main">
  <p:tag name="ANGLE" val="3"/>
</p:tagLst>
</file>

<file path=ppt/tags/tag255.xml><?xml version="1.0" encoding="utf-8"?>
<p:tagLst xmlns:a="http://schemas.openxmlformats.org/drawingml/2006/main" xmlns:r="http://schemas.openxmlformats.org/officeDocument/2006/relationships" xmlns:p="http://schemas.openxmlformats.org/presentationml/2006/main">
  <p:tag name="ANGLE" val="3"/>
</p:tagLst>
</file>

<file path=ppt/tags/tag256.xml><?xml version="1.0" encoding="utf-8"?>
<p:tagLst xmlns:a="http://schemas.openxmlformats.org/drawingml/2006/main" xmlns:r="http://schemas.openxmlformats.org/officeDocument/2006/relationships" xmlns:p="http://schemas.openxmlformats.org/presentationml/2006/main">
  <p:tag name="ANGLE" val="2"/>
</p:tagLst>
</file>

<file path=ppt/tags/tag257.xml><?xml version="1.0" encoding="utf-8"?>
<p:tagLst xmlns:a="http://schemas.openxmlformats.org/drawingml/2006/main" xmlns:r="http://schemas.openxmlformats.org/officeDocument/2006/relationships" xmlns:p="http://schemas.openxmlformats.org/presentationml/2006/main">
  <p:tag name="ANGLE" val="2"/>
</p:tagLst>
</file>

<file path=ppt/tags/tag258.xml><?xml version="1.0" encoding="utf-8"?>
<p:tagLst xmlns:a="http://schemas.openxmlformats.org/drawingml/2006/main" xmlns:r="http://schemas.openxmlformats.org/officeDocument/2006/relationships" xmlns:p="http://schemas.openxmlformats.org/presentationml/2006/main">
  <p:tag name="ANGLE" val="1"/>
</p:tagLst>
</file>

<file path=ppt/tags/tag259.xml><?xml version="1.0" encoding="utf-8"?>
<p:tagLst xmlns:a="http://schemas.openxmlformats.org/drawingml/2006/main" xmlns:r="http://schemas.openxmlformats.org/officeDocument/2006/relationships" xmlns:p="http://schemas.openxmlformats.org/presentationml/2006/main">
  <p:tag name="ANGLE"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DEwDvj6zwGGj4TqFh._CiQ"/>
</p:tagLst>
</file>

<file path=ppt/tags/tag2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3.xml><?xml version="1.0" encoding="utf-8"?>
<p:tagLst xmlns:a="http://schemas.openxmlformats.org/drawingml/2006/main" xmlns:r="http://schemas.openxmlformats.org/officeDocument/2006/relationships" xmlns:p="http://schemas.openxmlformats.org/presentationml/2006/main">
  <p:tag name="SHAPENAME" val="Subtitle"/>
</p:tagLst>
</file>

<file path=ppt/tags/tag264.xml><?xml version="1.0" encoding="utf-8"?>
<p:tagLst xmlns:a="http://schemas.openxmlformats.org/drawingml/2006/main" xmlns:r="http://schemas.openxmlformats.org/officeDocument/2006/relationships" xmlns:p="http://schemas.openxmlformats.org/presentationml/2006/main">
  <p:tag name="SHAPENAME" val="Titl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xml><?xml version="1.0" encoding="utf-8"?>
<p:tagLst xmlns:a="http://schemas.openxmlformats.org/drawingml/2006/main" xmlns:r="http://schemas.openxmlformats.org/officeDocument/2006/relationships" xmlns:p="http://schemas.openxmlformats.org/presentationml/2006/main">
  <p:tag name="SHAPENAME" val="5. Source"/>
</p:tagLst>
</file>

<file path=ppt/tags/tag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9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2.xml><?xml version="1.0" encoding="utf-8"?>
<p:tagLst xmlns:a="http://schemas.openxmlformats.org/drawingml/2006/main" xmlns:r="http://schemas.openxmlformats.org/officeDocument/2006/relationships" xmlns:p="http://schemas.openxmlformats.org/presentationml/2006/main">
  <p:tag name="SHAPENAME" val="5. Source"/>
</p:tagLst>
</file>

<file path=ppt/tags/tag3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30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31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6.xml><?xml version="1.0" encoding="utf-8"?>
<p:tagLst xmlns:a="http://schemas.openxmlformats.org/drawingml/2006/main" xmlns:r="http://schemas.openxmlformats.org/officeDocument/2006/relationships" xmlns:p="http://schemas.openxmlformats.org/presentationml/2006/main">
  <p:tag name="SHAPENAME" val="5. Source"/>
</p:tagLst>
</file>

<file path=ppt/tags/tag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3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4.xml><?xml version="1.0" encoding="utf-8"?>
<p:tagLst xmlns:a="http://schemas.openxmlformats.org/drawingml/2006/main" xmlns:r="http://schemas.openxmlformats.org/officeDocument/2006/relationships" xmlns:p="http://schemas.openxmlformats.org/presentationml/2006/main">
  <p:tag name="SHAPENAME" val="5. Source"/>
</p:tagLst>
</file>

<file path=ppt/tags/tag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40.xml><?xml version="1.0" encoding="utf-8"?>
<p:tagLst xmlns:a="http://schemas.openxmlformats.org/drawingml/2006/main" xmlns:r="http://schemas.openxmlformats.org/officeDocument/2006/relationships" xmlns:p="http://schemas.openxmlformats.org/presentationml/2006/main">
  <p:tag name="SHAPENAME" val="5. Source"/>
</p:tagLst>
</file>

<file path=ppt/tags/tag3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3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SHAPENAME" val="5. Source"/>
</p:tagLst>
</file>

<file path=ppt/tags/tag3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5pS3.1fcq90r22rh1vjL5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GrMywnJY8XSKXfgGW16Nnw"/>
</p:tagLst>
</file>

<file path=ppt/tags/tag3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9.xml><?xml version="1.0" encoding="utf-8"?>
<p:tagLst xmlns:a="http://schemas.openxmlformats.org/drawingml/2006/main" xmlns:r="http://schemas.openxmlformats.org/officeDocument/2006/relationships" xmlns:p="http://schemas.openxmlformats.org/presentationml/2006/main">
  <p:tag name="NAME" val="CustomIcon"/>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NAME" val="CustomIcon"/>
</p:tagLst>
</file>

<file path=ppt/tags/tag371.xml><?xml version="1.0" encoding="utf-8"?>
<p:tagLst xmlns:a="http://schemas.openxmlformats.org/drawingml/2006/main" xmlns:r="http://schemas.openxmlformats.org/officeDocument/2006/relationships" xmlns:p="http://schemas.openxmlformats.org/presentationml/2006/main">
  <p:tag name="NAME" val="CustomIcon"/>
</p:tagLst>
</file>

<file path=ppt/tags/tag37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7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7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75.xml><?xml version="1.0" encoding="utf-8"?>
<p:tagLst xmlns:a="http://schemas.openxmlformats.org/drawingml/2006/main" xmlns:r="http://schemas.openxmlformats.org/officeDocument/2006/relationships" xmlns:p="http://schemas.openxmlformats.org/presentationml/2006/main">
  <p:tag name="NAME" val="CustomIcon"/>
</p:tagLst>
</file>

<file path=ppt/tags/tag37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51"/>
  <p:tag name="MIO_SHOW_DATE" val="False"/>
  <p:tag name="MIO_SHOW_FOOTER" val="True"/>
  <p:tag name="MIO_SHOW_PAGENUMBER" val="False"/>
  <p:tag name="MIO_AVOID_BLANK_LAYOUT" val="True"/>
  <p:tag name="MIO_CD_LAYOUT_VALID_AREA" val="False"/>
  <p:tag name="MIO_EMBED_FONT" val="False"/>
  <p:tag name="MIO_MATCH_COLOR_SCHEME" val="False"/>
  <p:tag name="MIO_NUMBER_OF_VALID_LAYOUTS" val="70"/>
  <p:tag name="MIO_EKGUID" val="2939f653-c771-413e-bf24-b5c3f94be300"/>
  <p:tag name="MIO_DBID" val="90654431-81D8-474F-85F9-88ADAD5450B4"/>
  <p:tag name="MIO_OBJECTNAME" val="Siemens 2023 EN"/>
  <p:tag name="MIO_VERSION" val="11.05.2023 20:17:08"/>
  <p:tag name="MIO_LASTDOWNLOADED" val="13.05.2024 11:11:20.487"/>
  <p:tag name="MIO_CDID" val="9a81763f-7785-40f4-9475-c4fb3f54d8ae"/>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NAME" val="ACET"/>
</p:tagLst>
</file>

<file path=ppt/tags/tag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sie-ppt-standard-eng-v3-2_DISW-Dark-2021-1" id="{8718F24A-7BE8-5046-A9D7-F8E3D46A2D6F}" vid="{01D5457E-08A7-6D4F-A8E2-DD5DE941D8CD}"/>
    </a:ext>
  </a:extLst>
</a:theme>
</file>

<file path=ppt/theme/theme2.xml><?xml version="1.0" encoding="utf-8"?>
<a:theme xmlns:a="http://schemas.openxmlformats.org/drawingml/2006/main" name="Siemens 2023 EN">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C1B6"/>
      </a:hlink>
      <a:folHlink>
        <a:srgbClr val="00C1B6"/>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a:solidFill>
              <a:schemeClr val="tx1"/>
            </a:solidFill>
          </a:defRPr>
        </a:defPPr>
      </a:lstStyle>
    </a:txDef>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
  <a:themeElements>
    <a:clrScheme name="Scheme1">
      <a:dk1>
        <a:srgbClr val="000000"/>
      </a:dk1>
      <a:lt1>
        <a:srgbClr val="FFFFFF"/>
      </a:lt1>
      <a:dk2>
        <a:srgbClr val="FFFFFF"/>
      </a:dk2>
      <a:lt2>
        <a:srgbClr val="FFFFFF"/>
      </a:lt2>
      <a:accent1>
        <a:srgbClr val="005A64"/>
      </a:accent1>
      <a:accent2>
        <a:srgbClr val="3C9673"/>
      </a:accent2>
      <a:accent3>
        <a:srgbClr val="BECD32"/>
      </a:accent3>
      <a:accent4>
        <a:srgbClr val="E5EBAD"/>
      </a:accent4>
      <a:accent5>
        <a:srgbClr val="DDDDDD"/>
      </a:accent5>
      <a:accent6>
        <a:srgbClr val="00B6CB"/>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5A64"/>
        </a:accent1>
        <a:accent2>
          <a:srgbClr val="3C9673"/>
        </a:accent2>
        <a:accent3>
          <a:srgbClr val="BECD32"/>
        </a:accent3>
        <a:accent4>
          <a:srgbClr val="E5EBAD"/>
        </a:accent4>
        <a:accent5>
          <a:srgbClr val="DDDDDD"/>
        </a:accent5>
        <a:accent6>
          <a:srgbClr val="00B6CB"/>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G1394_OFF.potx" id="{BDFE2E69-8648-4BFC-A3F4-A698C8B55CDE}" vid="{CC1093D1-4F3E-43D3-A8B7-7B8EB69B6693}"/>
    </a:ext>
  </a:extLst>
</a:theme>
</file>

<file path=ppt/theme/theme4.xml><?xml version="1.0" encoding="utf-8"?>
<a:theme xmlns:a="http://schemas.openxmlformats.org/drawingml/2006/main" name="BIOTECH 2022">
  <a:themeElements>
    <a:clrScheme name="BIOTECH">
      <a:dk1>
        <a:srgbClr val="181010"/>
      </a:dk1>
      <a:lt1>
        <a:sysClr val="window" lastClr="FFFFFF"/>
      </a:lt1>
      <a:dk2>
        <a:srgbClr val="747070"/>
      </a:dk2>
      <a:lt2>
        <a:srgbClr val="FFFFFF"/>
      </a:lt2>
      <a:accent1>
        <a:srgbClr val="3C9673"/>
      </a:accent1>
      <a:accent2>
        <a:srgbClr val="005A64"/>
      </a:accent2>
      <a:accent3>
        <a:srgbClr val="BECD32"/>
      </a:accent3>
      <a:accent4>
        <a:srgbClr val="8AC0AB"/>
      </a:accent4>
      <a:accent5>
        <a:srgbClr val="669CA2"/>
      </a:accent5>
      <a:accent6>
        <a:srgbClr val="D8E184"/>
      </a:accent6>
      <a:hlink>
        <a:srgbClr val="3C9673"/>
      </a:hlink>
      <a:folHlink>
        <a:srgbClr val="BECD32"/>
      </a:folHlink>
    </a:clrScheme>
    <a:fontScheme name="Office classico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lgn="l">
          <a:defRPr dirty="0" err="1"/>
        </a:defPPr>
      </a:lstStyle>
    </a:txDef>
  </a:objectDefaults>
  <a:extraClrSchemeLst/>
  <a:extLst>
    <a:ext uri="{05A4C25C-085E-4340-85A3-A5531E510DB2}">
      <thm15:themeFamily xmlns:thm15="http://schemas.microsoft.com/office/thememl/2012/main" name="27020102 BioNTech_SE_16-9_MasterTemplate" id="{D7C71319-D3C8-4101-A538-28B4B99E9D8C}" vid="{9639B246-C933-435B-9E8D-A032DE4A5CF1}"/>
    </a:ext>
  </a:extLst>
</a:theme>
</file>

<file path=ppt/theme/theme5.xml><?xml version="1.0" encoding="utf-8"?>
<a:theme xmlns:a="http://schemas.openxmlformats.org/drawingml/2006/main" name="1_Contrast">
  <a:themeElements>
    <a:clrScheme name="Scheme2">
      <a:dk1>
        <a:srgbClr val="FFFFFF"/>
      </a:dk1>
      <a:lt1>
        <a:srgbClr val="005A64"/>
      </a:lt1>
      <a:dk2>
        <a:srgbClr val="000000"/>
      </a:dk2>
      <a:lt2>
        <a:srgbClr val="000000"/>
      </a:lt2>
      <a:accent1>
        <a:srgbClr val="FFFFFF"/>
      </a:accent1>
      <a:accent2>
        <a:srgbClr val="BECD32"/>
      </a:accent2>
      <a:accent3>
        <a:srgbClr val="3C9673"/>
      </a:accent3>
      <a:accent4>
        <a:srgbClr val="E5EBAD"/>
      </a:accent4>
      <a:accent5>
        <a:srgbClr val="DDDDDD"/>
      </a:accent5>
      <a:accent6>
        <a:srgbClr val="00B6CB"/>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5A64"/>
        </a:lt1>
        <a:dk2>
          <a:srgbClr val="000000"/>
        </a:dk2>
        <a:lt2>
          <a:srgbClr val="000000"/>
        </a:lt2>
        <a:accent1>
          <a:srgbClr val="FFFFFF"/>
        </a:accent1>
        <a:accent2>
          <a:srgbClr val="BECD32"/>
        </a:accent2>
        <a:accent3>
          <a:srgbClr val="3C9673"/>
        </a:accent3>
        <a:accent4>
          <a:srgbClr val="E5EBAD"/>
        </a:accent4>
        <a:accent5>
          <a:srgbClr val="DDDDDD"/>
        </a:accent5>
        <a:accent6>
          <a:srgbClr val="00B6CB"/>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G1394_OFF.potx" id="{BDFE2E69-8648-4BFC-A3F4-A698C8B55CDE}" vid="{ED474F23-E135-459C-A5CC-82DE5192EDB0}"/>
    </a:ext>
  </a:extLst>
</a:theme>
</file>

<file path=ppt/theme/theme6.xml><?xml version="1.0" encoding="utf-8"?>
<a:theme xmlns:a="http://schemas.openxmlformats.org/drawingml/2006/main" name="2_Contrast">
  <a:themeElements>
    <a:clrScheme name="Scheme2">
      <a:dk1>
        <a:srgbClr val="FFFFFF"/>
      </a:dk1>
      <a:lt1>
        <a:srgbClr val="005A64"/>
      </a:lt1>
      <a:dk2>
        <a:srgbClr val="000000"/>
      </a:dk2>
      <a:lt2>
        <a:srgbClr val="000000"/>
      </a:lt2>
      <a:accent1>
        <a:srgbClr val="FFFFFF"/>
      </a:accent1>
      <a:accent2>
        <a:srgbClr val="BECD32"/>
      </a:accent2>
      <a:accent3>
        <a:srgbClr val="3C9673"/>
      </a:accent3>
      <a:accent4>
        <a:srgbClr val="E5EBAD"/>
      </a:accent4>
      <a:accent5>
        <a:srgbClr val="DDDDDD"/>
      </a:accent5>
      <a:accent6>
        <a:srgbClr val="00B6CB"/>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5A64"/>
        </a:lt1>
        <a:dk2>
          <a:srgbClr val="000000"/>
        </a:dk2>
        <a:lt2>
          <a:srgbClr val="000000"/>
        </a:lt2>
        <a:accent1>
          <a:srgbClr val="FFFFFF"/>
        </a:accent1>
        <a:accent2>
          <a:srgbClr val="BECD32"/>
        </a:accent2>
        <a:accent3>
          <a:srgbClr val="3C9673"/>
        </a:accent3>
        <a:accent4>
          <a:srgbClr val="E5EBAD"/>
        </a:accent4>
        <a:accent5>
          <a:srgbClr val="DDDDDD"/>
        </a:accent5>
        <a:accent6>
          <a:srgbClr val="00B6CB"/>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G1394_OFF.potx" id="{BDFE2E69-8648-4BFC-A3F4-A698C8B55CDE}" vid="{ED474F23-E135-459C-A5CC-82DE5192EDB0}"/>
    </a:ext>
  </a:extLst>
</a:theme>
</file>

<file path=ppt/theme/theme7.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924CDC9FC681B43A0CE3E459E1E3839" ma:contentTypeVersion="7" ma:contentTypeDescription="Create a new document." ma:contentTypeScope="" ma:versionID="326115ab10c0a45006692ad7aed86eab">
  <xsd:schema xmlns:xsd="http://www.w3.org/2001/XMLSchema" xmlns:xs="http://www.w3.org/2001/XMLSchema" xmlns:p="http://schemas.microsoft.com/office/2006/metadata/properties" xmlns:ns2="47315b3f-0617-401a-8a5d-d3ca01584283" targetNamespace="http://schemas.microsoft.com/office/2006/metadata/properties" ma:root="true" ma:fieldsID="daae5965bd553f4498eb32dde5d0e7c8" ns2:_="">
    <xsd:import namespace="47315b3f-0617-401a-8a5d-d3ca0158428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315b3f-0617-401a-8a5d-d3ca015842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F8932EF-170B-40EE-9B1E-DAE55A1DE872}">
  <ds:schemaRefs>
    <ds:schemaRef ds:uri="http://schemas.microsoft.com/sharepoint/v3/contenttype/forms"/>
  </ds:schemaRefs>
</ds:datastoreItem>
</file>

<file path=customXml/itemProps2.xml><?xml version="1.0" encoding="utf-8"?>
<ds:datastoreItem xmlns:ds="http://schemas.openxmlformats.org/officeDocument/2006/customXml" ds:itemID="{1D627633-2AB6-4C13-84D6-C057811B5CAA}">
  <ds:schemaRefs>
    <ds:schemaRef ds:uri="47315b3f-0617-401a-8a5d-d3ca0158428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8506719-9700-4318-A2C7-17E1574544DA}">
  <ds:schemaRefs>
    <ds:schemaRef ds:uri="47315b3f-0617-401a-8a5d-d3ca0158428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9d258917-277f-42cd-a3cd-14c4e9ee58bc}" enabled="1" method="Standard" siteId="{38ae3bcd-9579-4fd4-adda-b42e1495d55a}" removed="0"/>
</clbl:labelList>
</file>

<file path=docProps/app.xml><?xml version="1.0" encoding="utf-8"?>
<Properties xmlns="http://schemas.openxmlformats.org/officeDocument/2006/extended-properties" xmlns:vt="http://schemas.openxmlformats.org/officeDocument/2006/docPropsVTypes">
  <Template>Siemens 2020</Template>
  <TotalTime>0</TotalTime>
  <Words>2469</Words>
  <Application>Microsoft Office PowerPoint</Application>
  <PresentationFormat>Breitbild</PresentationFormat>
  <Paragraphs>325</Paragraphs>
  <Slides>22</Slides>
  <Notes>19</Notes>
  <HiddenSlides>0</HiddenSlides>
  <MMClips>2</MMClips>
  <ScaleCrop>false</ScaleCrop>
  <HeadingPairs>
    <vt:vector size="8" baseType="variant">
      <vt:variant>
        <vt:lpstr>Verwendete Schriftarten</vt:lpstr>
      </vt:variant>
      <vt:variant>
        <vt:i4>12</vt:i4>
      </vt:variant>
      <vt:variant>
        <vt:lpstr>Design</vt:lpstr>
      </vt:variant>
      <vt:variant>
        <vt:i4>6</vt:i4>
      </vt:variant>
      <vt:variant>
        <vt:lpstr>Eingebettete OLE-Server</vt:lpstr>
      </vt:variant>
      <vt:variant>
        <vt:i4>1</vt:i4>
      </vt:variant>
      <vt:variant>
        <vt:lpstr>Folientitel</vt:lpstr>
      </vt:variant>
      <vt:variant>
        <vt:i4>22</vt:i4>
      </vt:variant>
    </vt:vector>
  </HeadingPairs>
  <TitlesOfParts>
    <vt:vector size="41" baseType="lpstr">
      <vt:lpstr>-apple-system</vt:lpstr>
      <vt:lpstr>Aptos</vt:lpstr>
      <vt:lpstr>Arial</vt:lpstr>
      <vt:lpstr>Calibri</vt:lpstr>
      <vt:lpstr>Calibri Light</vt:lpstr>
      <vt:lpstr>Courier New</vt:lpstr>
      <vt:lpstr>Ink Free</vt:lpstr>
      <vt:lpstr>Lucida Grande</vt:lpstr>
      <vt:lpstr>Segoe UI</vt:lpstr>
      <vt:lpstr>SiemensSans</vt:lpstr>
      <vt:lpstr>Symbol</vt:lpstr>
      <vt:lpstr>Wingdings</vt:lpstr>
      <vt:lpstr>Siemens 2020</vt:lpstr>
      <vt:lpstr>Siemens 2023 EN</vt:lpstr>
      <vt:lpstr>5_White</vt:lpstr>
      <vt:lpstr>BIOTECH 2022</vt:lpstr>
      <vt:lpstr>1_Contrast</vt:lpstr>
      <vt:lpstr>2_Contrast</vt:lpstr>
      <vt:lpstr>think-cell Slide</vt:lpstr>
      <vt:lpstr>Welcome to the Siemens Press Conference @ ACHEMA 2024</vt:lpstr>
      <vt:lpstr>ACHEMA 2024  Transforming the  process industries  for a sustainable tomorrow</vt:lpstr>
      <vt:lpstr>Challenges for the process industries grow at an extreme rate</vt:lpstr>
      <vt:lpstr>The Gamechanger  Combining  the real and digital worlds</vt:lpstr>
      <vt:lpstr> …helping customers in process industries to overcome their most pressing challenges</vt:lpstr>
      <vt:lpstr>Decarbonizing the chemical industry  From wood to textile: Lenzing revolutionizes cycle processes with Digital Twin </vt:lpstr>
      <vt:lpstr>PowerPoint-Präsentation</vt:lpstr>
      <vt:lpstr>Software-defined Process Automation is the way the industry will evolve from classic automation pyramid to a user-oriented architecture   </vt:lpstr>
      <vt:lpstr>PowerPoint-Präsentation</vt:lpstr>
      <vt:lpstr>PowerPoint-Präsentation</vt:lpstr>
      <vt:lpstr>PowerPoint-Präsentation</vt:lpstr>
      <vt:lpstr>Siemens Xcelerator to accelerate the digital transformation of our customers – easy, fast &amp; scalable </vt:lpstr>
      <vt:lpstr>The Siemens Xcelerator Ecosystem consists of a wide set of stakeholders which contribute to the growth and value of the platform</vt:lpstr>
      <vt:lpstr>Digital and Modular   </vt:lpstr>
      <vt:lpstr>The process for mRNA vaccine production</vt:lpstr>
      <vt:lpstr>The “Napkin Moment”</vt:lpstr>
      <vt:lpstr>BioNTainer: A platform for localized and sustainable mRNA production</vt:lpstr>
      <vt:lpstr>Developing BioNTainer Configurations for Commercial and Clinical Applications …  </vt:lpstr>
      <vt:lpstr>Capabilities are “building-blocks” that span platforms and can be flexibly applied to differing use cases </vt:lpstr>
      <vt:lpstr>Capabilities are “building-blocks” that span platforms and can be flexibly applied to differing use cases </vt:lpstr>
      <vt:lpstr>ACHEMA 2024  Transforming the  process industries  for a sustainable tomorrow</vt:lpstr>
      <vt:lpstr>Welcome to the Siemens Press Conference @ ACHEMA 2024</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Converge 2022</dc:title>
  <dc:subject/>
  <dc:creator>Denning, Lici (DI SW ST&amp;MK BM E&amp;CC)</dc:creator>
  <cp:keywords>Template</cp:keywords>
  <dc:description>Version 3.2
December 2020</dc:description>
  <cp:lastModifiedBy>Event01</cp:lastModifiedBy>
  <cp:revision>4</cp:revision>
  <dcterms:created xsi:type="dcterms:W3CDTF">2021-08-20T19:50:13Z</dcterms:created>
  <dcterms:modified xsi:type="dcterms:W3CDTF">2024-06-11T14:20:3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24CDC9FC681B43A0CE3E459E1E3839</vt:lpwstr>
  </property>
  <property fmtid="{D5CDD505-2E9C-101B-9397-08002B2CF9AE}" pid="3" name="MediaServiceImageTags">
    <vt:lpwstr/>
  </property>
  <property fmtid="{D5CDD505-2E9C-101B-9397-08002B2CF9AE}" pid="4" name="MSIP_Label_9d258917-277f-42cd-a3cd-14c4e9ee58bc_Enabled">
    <vt:lpwstr>true</vt:lpwstr>
  </property>
  <property fmtid="{D5CDD505-2E9C-101B-9397-08002B2CF9AE}" pid="5" name="MSIP_Label_9d258917-277f-42cd-a3cd-14c4e9ee58bc_SetDate">
    <vt:lpwstr>2023-06-26T15:21:47Z</vt:lpwstr>
  </property>
  <property fmtid="{D5CDD505-2E9C-101B-9397-08002B2CF9AE}" pid="6" name="MSIP_Label_9d258917-277f-42cd-a3cd-14c4e9ee58bc_Method">
    <vt:lpwstr>Standard</vt:lpwstr>
  </property>
  <property fmtid="{D5CDD505-2E9C-101B-9397-08002B2CF9AE}" pid="7" name="MSIP_Label_9d258917-277f-42cd-a3cd-14c4e9ee58bc_Name">
    <vt:lpwstr>restricted</vt:lpwstr>
  </property>
  <property fmtid="{D5CDD505-2E9C-101B-9397-08002B2CF9AE}" pid="8" name="MSIP_Label_9d258917-277f-42cd-a3cd-14c4e9ee58bc_SiteId">
    <vt:lpwstr>38ae3bcd-9579-4fd4-adda-b42e1495d55a</vt:lpwstr>
  </property>
  <property fmtid="{D5CDD505-2E9C-101B-9397-08002B2CF9AE}" pid="9" name="MSIP_Label_9d258917-277f-42cd-a3cd-14c4e9ee58bc_ActionId">
    <vt:lpwstr>1423d961-354c-41ca-a7b8-72baad2d456a</vt:lpwstr>
  </property>
  <property fmtid="{D5CDD505-2E9C-101B-9397-08002B2CF9AE}" pid="10" name="MSIP_Label_9d258917-277f-42cd-a3cd-14c4e9ee58bc_ContentBits">
    <vt:lpwstr>0</vt:lpwstr>
  </property>
  <property fmtid="{D5CDD505-2E9C-101B-9397-08002B2CF9AE}" pid="11" name="Document_Confidentiality">
    <vt:lpwstr>Restricted</vt:lpwstr>
  </property>
</Properties>
</file>